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notesSlides/notesSlide1.xml" ContentType="application/vnd.openxmlformats-officedocument.presentationml.notesSlide+xml"/>
  <Override PartName="/ppt/theme/themeOverride2.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heme/themeOverride3.xml" ContentType="application/vnd.openxmlformats-officedocument.themeOverride+xml"/>
  <Override PartName="/ppt/tags/tag9.xml" ContentType="application/vnd.openxmlformats-officedocument.presentationml.tags+xml"/>
  <Override PartName="/ppt/notesSlides/notesSlide3.xml" ContentType="application/vnd.openxmlformats-officedocument.presentationml.notesSlide+xml"/>
  <Override PartName="/ppt/theme/themeOverride4.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heme/themeOverride5.xml" ContentType="application/vnd.openxmlformats-officedocument.themeOverr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6.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7.xml" ContentType="application/vnd.openxmlformats-officedocument.themeOverride+xml"/>
  <Override PartName="/ppt/notesSlides/notesSlide6.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8.xml" ContentType="application/vnd.openxmlformats-officedocument.themeOverride+xml"/>
  <Override PartName="/ppt/notesSlides/notesSlide7.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9.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theme/themeOverride10.xml" ContentType="application/vnd.openxmlformats-officedocument.themeOverride+xml"/>
  <Override PartName="/ppt/notesSlides/notesSlide9.xml" ContentType="application/vnd.openxmlformats-officedocument.presentationml.notesSlid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1.xml" ContentType="application/vnd.openxmlformats-officedocument.themeOverrid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1.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2.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12.xml" ContentType="application/vnd.openxmlformats-officedocument.themeOverride+xml"/>
  <Override PartName="/ppt/notesSlides/notesSlide10.xml" ContentType="application/vnd.openxmlformats-officedocument.presentationml.notesSlide+xml"/>
  <Override PartName="/ppt/charts/chart2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4.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6.xml" ContentType="application/vnd.openxmlformats-officedocument.drawingml.chart+xml"/>
  <Override PartName="/ppt/charts/style25.xml" ContentType="application/vnd.ms-office.chartstyle+xml"/>
  <Override PartName="/ppt/charts/colors25.xml" ContentType="application/vnd.ms-office.chartcolorstyle+xml"/>
  <Override PartName="/ppt/theme/themeOverride13.xml" ContentType="application/vnd.openxmlformats-officedocument.themeOverride+xml"/>
  <Override PartName="/ppt/notesSlides/notesSlide11.xml" ContentType="application/vnd.openxmlformats-officedocument.presentationml.notesSlide+xml"/>
  <Override PartName="/ppt/charts/chart2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8.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9.xml" ContentType="application/vnd.openxmlformats-officedocument.drawingml.chart+xml"/>
  <Override PartName="/ppt/charts/style28.xml" ContentType="application/vnd.ms-office.chartstyle+xml"/>
  <Override PartName="/ppt/charts/colors28.xml" ContentType="application/vnd.ms-office.chartcolorstyle+xml"/>
  <Override PartName="/ppt/theme/themeOverride14.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theme/themeOverride15.xml" ContentType="application/vnd.openxmlformats-officedocument.themeOverride+xml"/>
  <Override PartName="/ppt/notesSlides/notesSlide13.xml" ContentType="application/vnd.openxmlformats-officedocument.presentationml.notesSlide+xml"/>
  <Override PartName="/ppt/charts/chart30.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1.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2.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3.xml" ContentType="application/vnd.openxmlformats-officedocument.drawingml.chart+xml"/>
  <Override PartName="/ppt/charts/style32.xml" ContentType="application/vnd.ms-office.chartstyle+xml"/>
  <Override PartName="/ppt/charts/colors32.xml" ContentType="application/vnd.ms-office.chartcolorstyle+xml"/>
  <Override PartName="/ppt/theme/themeOverride16.xml" ContentType="application/vnd.openxmlformats-officedocument.themeOverride+xml"/>
  <Override PartName="/ppt/charts/chart34.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5.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6.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7.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17.xml" ContentType="application/vnd.openxmlformats-officedocument.themeOverride+xml"/>
  <Override PartName="/ppt/charts/chart38.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9.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40.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1.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18.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heme/themeOverride19.xml" ContentType="application/vnd.openxmlformats-officedocument.themeOverride+xml"/>
  <Override PartName="/ppt/notesSlides/notesSlide15.xml" ContentType="application/vnd.openxmlformats-officedocument.presentationml.notesSlide+xml"/>
  <Override PartName="/ppt/charts/chart42.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3.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4.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5.xml" ContentType="application/vnd.openxmlformats-officedocument.drawingml.chart+xml"/>
  <Override PartName="/ppt/charts/style44.xml" ContentType="application/vnd.ms-office.chartstyle+xml"/>
  <Override PartName="/ppt/charts/colors44.xml" ContentType="application/vnd.ms-office.chartcolorstyle+xml"/>
  <Override PartName="/ppt/theme/themeOverride20.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6.xml" ContentType="application/vnd.openxmlformats-officedocument.presentationml.notesSlide+xml"/>
  <Override PartName="/ppt/theme/themeOverride21.xml" ContentType="application/vnd.openxmlformats-officedocument.themeOverride+xml"/>
  <Override PartName="/ppt/tags/tag44.xml" ContentType="application/vnd.openxmlformats-officedocument.presentationml.tags+xml"/>
  <Override PartName="/ppt/notesSlides/notesSlide17.xml" ContentType="application/vnd.openxmlformats-officedocument.presentationml.notesSlide+xml"/>
  <Override PartName="/ppt/theme/themeOverride22.xml" ContentType="application/vnd.openxmlformats-officedocument.themeOverride+xml"/>
  <Override PartName="/ppt/tags/tag45.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handoutMasterIdLst>
    <p:handoutMasterId r:id="rId26"/>
  </p:handoutMasterIdLst>
  <p:sldIdLst>
    <p:sldId id="802" r:id="rId2"/>
    <p:sldId id="804" r:id="rId3"/>
    <p:sldId id="851" r:id="rId4"/>
    <p:sldId id="825" r:id="rId5"/>
    <p:sldId id="852" r:id="rId6"/>
    <p:sldId id="855" r:id="rId7"/>
    <p:sldId id="821" r:id="rId8"/>
    <p:sldId id="847" r:id="rId9"/>
    <p:sldId id="826" r:id="rId10"/>
    <p:sldId id="853" r:id="rId11"/>
    <p:sldId id="854" r:id="rId12"/>
    <p:sldId id="838" r:id="rId13"/>
    <p:sldId id="832" r:id="rId14"/>
    <p:sldId id="827" r:id="rId15"/>
    <p:sldId id="815" r:id="rId16"/>
    <p:sldId id="833" r:id="rId17"/>
    <p:sldId id="835" r:id="rId18"/>
    <p:sldId id="828" r:id="rId19"/>
    <p:sldId id="836" r:id="rId20"/>
    <p:sldId id="843" r:id="rId21"/>
    <p:sldId id="850" r:id="rId22"/>
    <p:sldId id="856" r:id="rId23"/>
    <p:sldId id="803" r:id="rId2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ie Zhang" initials="JZ" lastIdx="1" clrIdx="0">
    <p:extLst>
      <p:ext uri="{19B8F6BF-5375-455C-9EA6-DF929625EA0E}">
        <p15:presenceInfo xmlns:p15="http://schemas.microsoft.com/office/powerpoint/2012/main" userId="eef0886dff18446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030A0"/>
    <a:srgbClr val="277E85"/>
    <a:srgbClr val="C00000"/>
    <a:srgbClr val="308D94"/>
    <a:srgbClr val="7F7F7F"/>
    <a:srgbClr val="B57222"/>
    <a:srgbClr val="000000"/>
    <a:srgbClr val="A6A6A6"/>
    <a:srgbClr val="55A5AB"/>
    <a:srgbClr val="5F5F5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05" autoAdjust="0"/>
    <p:restoredTop sz="94768" autoAdjust="0"/>
  </p:normalViewPr>
  <p:slideViewPr>
    <p:cSldViewPr snapToGrid="0">
      <p:cViewPr varScale="1">
        <p:scale>
          <a:sx n="131" d="100"/>
          <a:sy n="131" d="100"/>
        </p:scale>
        <p:origin x="100" y="744"/>
      </p:cViewPr>
      <p:guideLst/>
    </p:cSldViewPr>
  </p:slideViewPr>
  <p:notesTextViewPr>
    <p:cViewPr>
      <p:scale>
        <a:sx n="1" d="1"/>
        <a:sy n="1" d="1"/>
      </p:scale>
      <p:origin x="0" y="0"/>
    </p:cViewPr>
  </p:notesTextViewPr>
  <p:notesViewPr>
    <p:cSldViewPr snapToGrid="0" showGuides="1">
      <p:cViewPr varScale="1">
        <p:scale>
          <a:sx n="122" d="100"/>
          <a:sy n="122" d="100"/>
        </p:scale>
        <p:origin x="3632"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17.xml"/><Relationship Id="rId1" Type="http://schemas.microsoft.com/office/2011/relationships/chartStyle" Target="style17.xml"/></Relationships>
</file>

<file path=ppt/charts/_rels/chart19.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19.xml"/><Relationship Id="rId1" Type="http://schemas.microsoft.com/office/2011/relationships/chartStyle" Target="style19.xml"/></Relationships>
</file>

<file path=ppt/charts/_rels/chart21.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20.xml"/><Relationship Id="rId1" Type="http://schemas.microsoft.com/office/2011/relationships/chartStyle" Target="style20.xml"/></Relationships>
</file>

<file path=ppt/charts/_rels/chart22.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21.xml"/><Relationship Id="rId1" Type="http://schemas.microsoft.com/office/2011/relationships/chartStyle" Target="style21.xml"/></Relationships>
</file>

<file path=ppt/charts/_rels/chart23.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22.xml"/><Relationship Id="rId1" Type="http://schemas.microsoft.com/office/2011/relationships/chartStyle" Target="style22.xml"/></Relationships>
</file>

<file path=ppt/charts/_rels/chart24.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23.xml"/><Relationship Id="rId1" Type="http://schemas.microsoft.com/office/2011/relationships/chartStyle" Target="style23.xml"/></Relationships>
</file>

<file path=ppt/charts/_rels/chart25.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24.xml"/><Relationship Id="rId1" Type="http://schemas.microsoft.com/office/2011/relationships/chartStyle" Target="style24.xml"/></Relationships>
</file>

<file path=ppt/charts/_rels/chart26.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25.xml"/><Relationship Id="rId1" Type="http://schemas.microsoft.com/office/2011/relationships/chartStyle" Target="style25.xml"/></Relationships>
</file>

<file path=ppt/charts/_rels/chart27.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26.xml"/><Relationship Id="rId1" Type="http://schemas.microsoft.com/office/2011/relationships/chartStyle" Target="style26.xml"/></Relationships>
</file>

<file path=ppt/charts/_rels/chart28.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27.xml"/><Relationship Id="rId1" Type="http://schemas.microsoft.com/office/2011/relationships/chartStyle" Target="style27.xml"/></Relationships>
</file>

<file path=ppt/charts/_rels/chart29.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28.xml"/><Relationship Id="rId1" Type="http://schemas.microsoft.com/office/2011/relationships/chartStyle" Target="style28.xml"/></Relationships>
</file>

<file path=ppt/charts/_rels/chart3.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29.xml"/><Relationship Id="rId1" Type="http://schemas.microsoft.com/office/2011/relationships/chartStyle" Target="style29.xml"/></Relationships>
</file>

<file path=ppt/charts/_rels/chart31.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30.xml"/><Relationship Id="rId1" Type="http://schemas.microsoft.com/office/2011/relationships/chartStyle" Target="style30.xml"/></Relationships>
</file>

<file path=ppt/charts/_rels/chart32.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31.xml"/><Relationship Id="rId1" Type="http://schemas.microsoft.com/office/2011/relationships/chartStyle" Target="style31.xml"/></Relationships>
</file>

<file path=ppt/charts/_rels/chart33.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32.xml"/><Relationship Id="rId1" Type="http://schemas.microsoft.com/office/2011/relationships/chartStyle" Target="style32.xml"/></Relationships>
</file>

<file path=ppt/charts/_rels/chart34.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33.xml"/><Relationship Id="rId1" Type="http://schemas.microsoft.com/office/2011/relationships/chartStyle" Target="style33.xml"/></Relationships>
</file>

<file path=ppt/charts/_rels/chart35.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34.xml"/><Relationship Id="rId1" Type="http://schemas.microsoft.com/office/2011/relationships/chartStyle" Target="style34.xml"/></Relationships>
</file>

<file path=ppt/charts/_rels/chart36.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35.xml"/><Relationship Id="rId1" Type="http://schemas.microsoft.com/office/2011/relationships/chartStyle" Target="style35.xml"/></Relationships>
</file>

<file path=ppt/charts/_rels/chart37.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36.xml"/><Relationship Id="rId1" Type="http://schemas.microsoft.com/office/2011/relationships/chartStyle" Target="style36.xml"/></Relationships>
</file>

<file path=ppt/charts/_rels/chart38.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37.xml"/><Relationship Id="rId1" Type="http://schemas.microsoft.com/office/2011/relationships/chartStyle" Target="style37.xml"/></Relationships>
</file>

<file path=ppt/charts/_rels/chart39.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38.xml"/><Relationship Id="rId1" Type="http://schemas.microsoft.com/office/2011/relationships/chartStyle" Target="style38.xml"/></Relationships>
</file>

<file path=ppt/charts/_rels/chart4.xml.rels><?xml version="1.0" encoding="UTF-8" standalone="yes"?>
<Relationships xmlns="http://schemas.openxmlformats.org/package/2006/relationships"><Relationship Id="rId1" Type="http://schemas.openxmlformats.org/officeDocument/2006/relationships/oleObject" Target="file:///C:\&#20844;&#21496;\&#24037;&#19994;&#30789;\&#25968;&#25454;&#24211;\&#24037;&#19994;&#30789;&#25968;&#25454;&#24213;&#34920;.xlsm" TargetMode="External"/></Relationships>
</file>

<file path=ppt/charts/_rels/chart40.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39.xml"/><Relationship Id="rId1" Type="http://schemas.microsoft.com/office/2011/relationships/chartStyle" Target="style39.xml"/></Relationships>
</file>

<file path=ppt/charts/_rels/chart41.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40.xml"/><Relationship Id="rId1" Type="http://schemas.microsoft.com/office/2011/relationships/chartStyle" Target="style40.xml"/></Relationships>
</file>

<file path=ppt/charts/_rels/chart42.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41.xml"/><Relationship Id="rId1" Type="http://schemas.microsoft.com/office/2011/relationships/chartStyle" Target="style41.xml"/></Relationships>
</file>

<file path=ppt/charts/_rels/chart43.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42.xml"/><Relationship Id="rId1" Type="http://schemas.microsoft.com/office/2011/relationships/chartStyle" Target="style42.xml"/></Relationships>
</file>

<file path=ppt/charts/_rels/chart44.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43.xml"/><Relationship Id="rId1" Type="http://schemas.microsoft.com/office/2011/relationships/chartStyle" Target="style43.xml"/></Relationships>
</file>

<file path=ppt/charts/_rels/chart45.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44.xml"/><Relationship Id="rId1" Type="http://schemas.microsoft.com/office/2011/relationships/chartStyle" Target="style44.xml"/></Relationships>
</file>

<file path=ppt/charts/_rels/chart5.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file:///C:\&#20844;&#21496;\&#24037;&#19994;&#30789;\&#25968;&#25454;&#24211;\&#24037;&#19994;&#30789;&#25968;&#25454;&#24213;&#34920;.xlsm"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r>
              <a:rPr lang="zh-CN" sz="1400"/>
              <a:t>工业硅主力合约</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套利价差!$C$4</c:f>
              <c:strCache>
                <c:ptCount val="1"/>
                <c:pt idx="0">
                  <c:v>2022</c:v>
                </c:pt>
              </c:strCache>
            </c:strRef>
          </c:tx>
          <c:spPr>
            <a:ln w="19050" cap="rnd">
              <a:solidFill>
                <a:srgbClr val="7F7F7F">
                  <a:alpha val="60000"/>
                </a:srgbClr>
              </a:solidFill>
              <a:round/>
            </a:ln>
            <a:effectLst/>
          </c:spPr>
          <c:marker>
            <c:symbol val="none"/>
          </c:marker>
          <c:cat>
            <c:strRef>
              <c:f>套利价差!$B$5:$B$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C$5:$C$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18310</c:v>
                </c:pt>
                <c:pt idx="357">
                  <c:v>17060</c:v>
                </c:pt>
                <c:pt idx="358">
                  <c:v>#N/A</c:v>
                </c:pt>
                <c:pt idx="359">
                  <c:v>#N/A</c:v>
                </c:pt>
                <c:pt idx="360">
                  <c:v>17170</c:v>
                </c:pt>
                <c:pt idx="361">
                  <c:v>17165</c:v>
                </c:pt>
                <c:pt idx="362">
                  <c:v>17425</c:v>
                </c:pt>
                <c:pt idx="363">
                  <c:v>17515</c:v>
                </c:pt>
                <c:pt idx="364">
                  <c:v>17895</c:v>
                </c:pt>
                <c:pt idx="365">
                  <c:v>#N/A</c:v>
                </c:pt>
              </c:numCache>
            </c:numRef>
          </c:val>
          <c:smooth val="0"/>
          <c:extLst>
            <c:ext xmlns:c16="http://schemas.microsoft.com/office/drawing/2014/chart" uri="{C3380CC4-5D6E-409C-BE32-E72D297353CC}">
              <c16:uniqueId val="{00000000-A367-44C5-AABE-1DDA3F63840B}"/>
            </c:ext>
          </c:extLst>
        </c:ser>
        <c:ser>
          <c:idx val="1"/>
          <c:order val="1"/>
          <c:tx>
            <c:strRef>
              <c:f>套利价差!$D$4</c:f>
              <c:strCache>
                <c:ptCount val="1"/>
                <c:pt idx="0">
                  <c:v>2023</c:v>
                </c:pt>
              </c:strCache>
            </c:strRef>
          </c:tx>
          <c:spPr>
            <a:ln w="19050" cap="rnd">
              <a:solidFill>
                <a:srgbClr val="277E85">
                  <a:alpha val="60000"/>
                </a:srgbClr>
              </a:solidFill>
              <a:round/>
            </a:ln>
            <a:effectLst/>
          </c:spPr>
          <c:marker>
            <c:symbol val="none"/>
          </c:marker>
          <c:cat>
            <c:strRef>
              <c:f>套利价差!$B$5:$B$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D$5:$D$370</c:f>
              <c:numCache>
                <c:formatCode>#,##0.00_);[Red]\(#,##0.00\)</c:formatCode>
                <c:ptCount val="366"/>
                <c:pt idx="0">
                  <c:v>#N/A</c:v>
                </c:pt>
                <c:pt idx="1">
                  <c:v>#N/A</c:v>
                </c:pt>
                <c:pt idx="2">
                  <c:v>17770</c:v>
                </c:pt>
                <c:pt idx="3">
                  <c:v>17640</c:v>
                </c:pt>
                <c:pt idx="4">
                  <c:v>17585</c:v>
                </c:pt>
                <c:pt idx="5">
                  <c:v>17820</c:v>
                </c:pt>
                <c:pt idx="6">
                  <c:v>#N/A</c:v>
                </c:pt>
                <c:pt idx="7">
                  <c:v>#N/A</c:v>
                </c:pt>
                <c:pt idx="8">
                  <c:v>17695</c:v>
                </c:pt>
                <c:pt idx="9">
                  <c:v>17475</c:v>
                </c:pt>
                <c:pt idx="10">
                  <c:v>17350</c:v>
                </c:pt>
                <c:pt idx="11">
                  <c:v>17445</c:v>
                </c:pt>
                <c:pt idx="12">
                  <c:v>17520</c:v>
                </c:pt>
                <c:pt idx="13">
                  <c:v>#N/A</c:v>
                </c:pt>
                <c:pt idx="14">
                  <c:v>#N/A</c:v>
                </c:pt>
                <c:pt idx="15">
                  <c:v>17515</c:v>
                </c:pt>
                <c:pt idx="16">
                  <c:v>17615</c:v>
                </c:pt>
                <c:pt idx="17">
                  <c:v>17710</c:v>
                </c:pt>
                <c:pt idx="18">
                  <c:v>18330</c:v>
                </c:pt>
                <c:pt idx="19">
                  <c:v>18590</c:v>
                </c:pt>
                <c:pt idx="20">
                  <c:v>#N/A</c:v>
                </c:pt>
                <c:pt idx="21">
                  <c:v>#N/A</c:v>
                </c:pt>
                <c:pt idx="22">
                  <c:v>#N/A</c:v>
                </c:pt>
                <c:pt idx="23">
                  <c:v>#N/A</c:v>
                </c:pt>
                <c:pt idx="24">
                  <c:v>#N/A</c:v>
                </c:pt>
                <c:pt idx="25">
                  <c:v>#N/A</c:v>
                </c:pt>
                <c:pt idx="26">
                  <c:v>#N/A</c:v>
                </c:pt>
                <c:pt idx="27">
                  <c:v>#N/A</c:v>
                </c:pt>
                <c:pt idx="28">
                  <c:v>#N/A</c:v>
                </c:pt>
                <c:pt idx="29">
                  <c:v>18075</c:v>
                </c:pt>
                <c:pt idx="30">
                  <c:v>17860</c:v>
                </c:pt>
                <c:pt idx="31">
                  <c:v>17900</c:v>
                </c:pt>
                <c:pt idx="32">
                  <c:v>17625</c:v>
                </c:pt>
                <c:pt idx="33">
                  <c:v>17745</c:v>
                </c:pt>
                <c:pt idx="34">
                  <c:v>#N/A</c:v>
                </c:pt>
                <c:pt idx="35">
                  <c:v>#N/A</c:v>
                </c:pt>
                <c:pt idx="36">
                  <c:v>17765</c:v>
                </c:pt>
                <c:pt idx="37">
                  <c:v>17715</c:v>
                </c:pt>
                <c:pt idx="38">
                  <c:v>17875</c:v>
                </c:pt>
                <c:pt idx="39">
                  <c:v>18020</c:v>
                </c:pt>
                <c:pt idx="40">
                  <c:v>17955</c:v>
                </c:pt>
                <c:pt idx="41">
                  <c:v>#N/A</c:v>
                </c:pt>
                <c:pt idx="42">
                  <c:v>#N/A</c:v>
                </c:pt>
                <c:pt idx="43">
                  <c:v>17920</c:v>
                </c:pt>
                <c:pt idx="44">
                  <c:v>17945</c:v>
                </c:pt>
                <c:pt idx="45">
                  <c:v>17885</c:v>
                </c:pt>
                <c:pt idx="46">
                  <c:v>17630</c:v>
                </c:pt>
                <c:pt idx="47">
                  <c:v>17375</c:v>
                </c:pt>
                <c:pt idx="48">
                  <c:v>#N/A</c:v>
                </c:pt>
                <c:pt idx="49">
                  <c:v>#N/A</c:v>
                </c:pt>
                <c:pt idx="50">
                  <c:v>17470</c:v>
                </c:pt>
                <c:pt idx="51">
                  <c:v>17675</c:v>
                </c:pt>
                <c:pt idx="52">
                  <c:v>17575</c:v>
                </c:pt>
                <c:pt idx="53">
                  <c:v>17620</c:v>
                </c:pt>
                <c:pt idx="54">
                  <c:v>17635</c:v>
                </c:pt>
                <c:pt idx="55">
                  <c:v>#N/A</c:v>
                </c:pt>
                <c:pt idx="56">
                  <c:v>#N/A</c:v>
                </c:pt>
                <c:pt idx="57">
                  <c:v>17480</c:v>
                </c:pt>
                <c:pt idx="58">
                  <c:v>17520</c:v>
                </c:pt>
                <c:pt idx="60">
                  <c:v>17540</c:v>
                </c:pt>
                <c:pt idx="61">
                  <c:v>17525</c:v>
                </c:pt>
                <c:pt idx="62">
                  <c:v>17490</c:v>
                </c:pt>
                <c:pt idx="63">
                  <c:v>#N/A</c:v>
                </c:pt>
                <c:pt idx="64">
                  <c:v>#N/A</c:v>
                </c:pt>
                <c:pt idx="65">
                  <c:v>17300</c:v>
                </c:pt>
                <c:pt idx="66">
                  <c:v>17130</c:v>
                </c:pt>
                <c:pt idx="67">
                  <c:v>17175</c:v>
                </c:pt>
                <c:pt idx="68">
                  <c:v>17075</c:v>
                </c:pt>
                <c:pt idx="69">
                  <c:v>16960</c:v>
                </c:pt>
                <c:pt idx="70">
                  <c:v>#N/A</c:v>
                </c:pt>
                <c:pt idx="71">
                  <c:v>#N/A</c:v>
                </c:pt>
                <c:pt idx="72">
                  <c:v>16970</c:v>
                </c:pt>
                <c:pt idx="73">
                  <c:v>16905</c:v>
                </c:pt>
                <c:pt idx="74">
                  <c:v>16740</c:v>
                </c:pt>
                <c:pt idx="75">
                  <c:v>15975</c:v>
                </c:pt>
                <c:pt idx="76">
                  <c:v>16120</c:v>
                </c:pt>
                <c:pt idx="77">
                  <c:v>#N/A</c:v>
                </c:pt>
                <c:pt idx="78">
                  <c:v>#N/A</c:v>
                </c:pt>
                <c:pt idx="79">
                  <c:v>16080</c:v>
                </c:pt>
                <c:pt idx="80">
                  <c:v>15870</c:v>
                </c:pt>
                <c:pt idx="81">
                  <c:v>15965</c:v>
                </c:pt>
                <c:pt idx="82">
                  <c:v>15895</c:v>
                </c:pt>
                <c:pt idx="83">
                  <c:v>15895</c:v>
                </c:pt>
                <c:pt idx="84">
                  <c:v>#N/A</c:v>
                </c:pt>
                <c:pt idx="85">
                  <c:v>#N/A</c:v>
                </c:pt>
                <c:pt idx="86">
                  <c:v>15915</c:v>
                </c:pt>
                <c:pt idx="87">
                  <c:v>15910</c:v>
                </c:pt>
                <c:pt idx="88">
                  <c:v>15750</c:v>
                </c:pt>
                <c:pt idx="89">
                  <c:v>15730</c:v>
                </c:pt>
                <c:pt idx="90">
                  <c:v>15515</c:v>
                </c:pt>
                <c:pt idx="91">
                  <c:v>#N/A</c:v>
                </c:pt>
                <c:pt idx="92">
                  <c:v>#N/A</c:v>
                </c:pt>
                <c:pt idx="93">
                  <c:v>15310</c:v>
                </c:pt>
                <c:pt idx="94">
                  <c:v>15070</c:v>
                </c:pt>
                <c:pt idx="95">
                  <c:v>#N/A</c:v>
                </c:pt>
                <c:pt idx="96">
                  <c:v>15225</c:v>
                </c:pt>
                <c:pt idx="97">
                  <c:v>15225</c:v>
                </c:pt>
                <c:pt idx="98">
                  <c:v>#N/A</c:v>
                </c:pt>
                <c:pt idx="99">
                  <c:v>#N/A</c:v>
                </c:pt>
                <c:pt idx="100">
                  <c:v>14930</c:v>
                </c:pt>
                <c:pt idx="101">
                  <c:v>14965</c:v>
                </c:pt>
                <c:pt idx="102">
                  <c:v>15155</c:v>
                </c:pt>
                <c:pt idx="103">
                  <c:v>15065</c:v>
                </c:pt>
                <c:pt idx="104">
                  <c:v>15085</c:v>
                </c:pt>
                <c:pt idx="105">
                  <c:v>#N/A</c:v>
                </c:pt>
                <c:pt idx="106">
                  <c:v>#N/A</c:v>
                </c:pt>
                <c:pt idx="107">
                  <c:v>15395</c:v>
                </c:pt>
                <c:pt idx="108">
                  <c:v>15480</c:v>
                </c:pt>
                <c:pt idx="109">
                  <c:v>15440</c:v>
                </c:pt>
                <c:pt idx="110">
                  <c:v>15160</c:v>
                </c:pt>
                <c:pt idx="111">
                  <c:v>15140</c:v>
                </c:pt>
                <c:pt idx="112">
                  <c:v>#N/A</c:v>
                </c:pt>
                <c:pt idx="113">
                  <c:v>#N/A</c:v>
                </c:pt>
                <c:pt idx="114">
                  <c:v>15120</c:v>
                </c:pt>
                <c:pt idx="115">
                  <c:v>15400</c:v>
                </c:pt>
                <c:pt idx="116">
                  <c:v>15325</c:v>
                </c:pt>
                <c:pt idx="117">
                  <c:v>15175</c:v>
                </c:pt>
                <c:pt idx="118">
                  <c:v>15190</c:v>
                </c:pt>
                <c:pt idx="119">
                  <c:v>#N/A</c:v>
                </c:pt>
                <c:pt idx="120">
                  <c:v>#N/A</c:v>
                </c:pt>
                <c:pt idx="121">
                  <c:v>#N/A</c:v>
                </c:pt>
                <c:pt idx="122">
                  <c:v>#N/A</c:v>
                </c:pt>
                <c:pt idx="123">
                  <c:v>#N/A</c:v>
                </c:pt>
                <c:pt idx="124">
                  <c:v>15190</c:v>
                </c:pt>
                <c:pt idx="125">
                  <c:v>15225</c:v>
                </c:pt>
                <c:pt idx="126">
                  <c:v>#N/A</c:v>
                </c:pt>
                <c:pt idx="127">
                  <c:v>#N/A</c:v>
                </c:pt>
                <c:pt idx="128">
                  <c:v>15235</c:v>
                </c:pt>
                <c:pt idx="129">
                  <c:v>15100</c:v>
                </c:pt>
                <c:pt idx="130">
                  <c:v>14565</c:v>
                </c:pt>
                <c:pt idx="131">
                  <c:v>14400</c:v>
                </c:pt>
                <c:pt idx="132">
                  <c:v>14150</c:v>
                </c:pt>
                <c:pt idx="133">
                  <c:v>#N/A</c:v>
                </c:pt>
                <c:pt idx="134">
                  <c:v>#N/A</c:v>
                </c:pt>
                <c:pt idx="135">
                  <c:v>14085</c:v>
                </c:pt>
                <c:pt idx="136">
                  <c:v>14050</c:v>
                </c:pt>
                <c:pt idx="137">
                  <c:v>13860</c:v>
                </c:pt>
                <c:pt idx="138">
                  <c:v>13620</c:v>
                </c:pt>
                <c:pt idx="139">
                  <c:v>13250</c:v>
                </c:pt>
                <c:pt idx="140">
                  <c:v>#N/A</c:v>
                </c:pt>
                <c:pt idx="141">
                  <c:v>#N/A</c:v>
                </c:pt>
                <c:pt idx="142">
                  <c:v>12880</c:v>
                </c:pt>
                <c:pt idx="143">
                  <c:v>13150</c:v>
                </c:pt>
                <c:pt idx="144">
                  <c:v>13090</c:v>
                </c:pt>
                <c:pt idx="145">
                  <c:v>12635</c:v>
                </c:pt>
                <c:pt idx="146">
                  <c:v>12860</c:v>
                </c:pt>
                <c:pt idx="147">
                  <c:v>#N/A</c:v>
                </c:pt>
                <c:pt idx="148">
                  <c:v>#N/A</c:v>
                </c:pt>
                <c:pt idx="149">
                  <c:v>12880</c:v>
                </c:pt>
                <c:pt idx="150">
                  <c:v>12880</c:v>
                </c:pt>
                <c:pt idx="151">
                  <c:v>12815</c:v>
                </c:pt>
                <c:pt idx="152">
                  <c:v>12975</c:v>
                </c:pt>
                <c:pt idx="153">
                  <c:v>13220</c:v>
                </c:pt>
                <c:pt idx="154">
                  <c:v>#N/A</c:v>
                </c:pt>
                <c:pt idx="155">
                  <c:v>#N/A</c:v>
                </c:pt>
                <c:pt idx="156">
                  <c:v>13020</c:v>
                </c:pt>
                <c:pt idx="157">
                  <c:v>12990</c:v>
                </c:pt>
                <c:pt idx="158">
                  <c:v>12705</c:v>
                </c:pt>
                <c:pt idx="159">
                  <c:v>12765</c:v>
                </c:pt>
                <c:pt idx="160">
                  <c:v>12730</c:v>
                </c:pt>
                <c:pt idx="161">
                  <c:v>#N/A</c:v>
                </c:pt>
                <c:pt idx="162">
                  <c:v>#N/A</c:v>
                </c:pt>
                <c:pt idx="163">
                  <c:v>12545</c:v>
                </c:pt>
                <c:pt idx="164">
                  <c:v>12535</c:v>
                </c:pt>
                <c:pt idx="165">
                  <c:v>12540</c:v>
                </c:pt>
                <c:pt idx="166">
                  <c:v>12370</c:v>
                </c:pt>
                <c:pt idx="167">
                  <c:v>12495</c:v>
                </c:pt>
                <c:pt idx="168">
                  <c:v>#N/A</c:v>
                </c:pt>
                <c:pt idx="169">
                  <c:v>#N/A</c:v>
                </c:pt>
                <c:pt idx="170">
                  <c:v>13240</c:v>
                </c:pt>
                <c:pt idx="171">
                  <c:v>13760</c:v>
                </c:pt>
                <c:pt idx="172">
                  <c:v>13380</c:v>
                </c:pt>
                <c:pt idx="173">
                  <c:v>#N/A</c:v>
                </c:pt>
                <c:pt idx="174">
                  <c:v>#N/A</c:v>
                </c:pt>
                <c:pt idx="175">
                  <c:v>#N/A</c:v>
                </c:pt>
                <c:pt idx="176">
                  <c:v>#N/A</c:v>
                </c:pt>
                <c:pt idx="177">
                  <c:v>13065</c:v>
                </c:pt>
                <c:pt idx="178">
                  <c:v>13120</c:v>
                </c:pt>
                <c:pt idx="179">
                  <c:v>13140</c:v>
                </c:pt>
                <c:pt idx="180">
                  <c:v>13375</c:v>
                </c:pt>
                <c:pt idx="181">
                  <c:v>13275</c:v>
                </c:pt>
                <c:pt idx="182">
                  <c:v>#N/A</c:v>
                </c:pt>
                <c:pt idx="183">
                  <c:v>#N/A</c:v>
                </c:pt>
                <c:pt idx="184">
                  <c:v>13380</c:v>
                </c:pt>
                <c:pt idx="185">
                  <c:v>13235</c:v>
                </c:pt>
                <c:pt idx="186">
                  <c:v>13100</c:v>
                </c:pt>
                <c:pt idx="187">
                  <c:v>13215</c:v>
                </c:pt>
                <c:pt idx="188">
                  <c:v>13220</c:v>
                </c:pt>
                <c:pt idx="189">
                  <c:v>#N/A</c:v>
                </c:pt>
                <c:pt idx="190">
                  <c:v>#N/A</c:v>
                </c:pt>
                <c:pt idx="191">
                  <c:v>13330</c:v>
                </c:pt>
                <c:pt idx="192">
                  <c:v>13380</c:v>
                </c:pt>
                <c:pt idx="193">
                  <c:v>13950</c:v>
                </c:pt>
                <c:pt idx="194">
                  <c:v>13650</c:v>
                </c:pt>
                <c:pt idx="195">
                  <c:v>13665</c:v>
                </c:pt>
                <c:pt idx="196">
                  <c:v>#N/A</c:v>
                </c:pt>
                <c:pt idx="197">
                  <c:v>#N/A</c:v>
                </c:pt>
                <c:pt idx="198">
                  <c:v>13260</c:v>
                </c:pt>
                <c:pt idx="199">
                  <c:v>13325</c:v>
                </c:pt>
                <c:pt idx="200">
                  <c:v>13495</c:v>
                </c:pt>
                <c:pt idx="201">
                  <c:v>13640</c:v>
                </c:pt>
                <c:pt idx="202">
                  <c:v>13365</c:v>
                </c:pt>
                <c:pt idx="203">
                  <c:v>#N/A</c:v>
                </c:pt>
                <c:pt idx="204">
                  <c:v>#N/A</c:v>
                </c:pt>
                <c:pt idx="205">
                  <c:v>13440</c:v>
                </c:pt>
                <c:pt idx="206">
                  <c:v>13555</c:v>
                </c:pt>
                <c:pt idx="207">
                  <c:v>13615</c:v>
                </c:pt>
                <c:pt idx="208">
                  <c:v>13570</c:v>
                </c:pt>
                <c:pt idx="209">
                  <c:v>13610</c:v>
                </c:pt>
                <c:pt idx="210">
                  <c:v>#N/A</c:v>
                </c:pt>
                <c:pt idx="211">
                  <c:v>#N/A</c:v>
                </c:pt>
                <c:pt idx="212">
                  <c:v>13725</c:v>
                </c:pt>
                <c:pt idx="213">
                  <c:v>13745</c:v>
                </c:pt>
                <c:pt idx="214">
                  <c:v>13860</c:v>
                </c:pt>
                <c:pt idx="215">
                  <c:v>13290</c:v>
                </c:pt>
                <c:pt idx="216">
                  <c:v>13330</c:v>
                </c:pt>
                <c:pt idx="217">
                  <c:v>#N/A</c:v>
                </c:pt>
                <c:pt idx="218">
                  <c:v>#N/A</c:v>
                </c:pt>
                <c:pt idx="219">
                  <c:v>13200</c:v>
                </c:pt>
                <c:pt idx="220">
                  <c:v>13185</c:v>
                </c:pt>
                <c:pt idx="221">
                  <c:v>13595</c:v>
                </c:pt>
                <c:pt idx="222">
                  <c:v>13625</c:v>
                </c:pt>
                <c:pt idx="223">
                  <c:v>13645</c:v>
                </c:pt>
                <c:pt idx="224">
                  <c:v>#N/A</c:v>
                </c:pt>
                <c:pt idx="225">
                  <c:v>#N/A</c:v>
                </c:pt>
                <c:pt idx="226">
                  <c:v>13660</c:v>
                </c:pt>
                <c:pt idx="227">
                  <c:v>13635</c:v>
                </c:pt>
                <c:pt idx="228">
                  <c:v>13460</c:v>
                </c:pt>
                <c:pt idx="229">
                  <c:v>13515</c:v>
                </c:pt>
                <c:pt idx="230">
                  <c:v>13530</c:v>
                </c:pt>
                <c:pt idx="231">
                  <c:v>#N/A</c:v>
                </c:pt>
                <c:pt idx="232">
                  <c:v>#N/A</c:v>
                </c:pt>
                <c:pt idx="233">
                  <c:v>13625</c:v>
                </c:pt>
                <c:pt idx="234">
                  <c:v>13695</c:v>
                </c:pt>
                <c:pt idx="235">
                  <c:v>13665</c:v>
                </c:pt>
                <c:pt idx="236">
                  <c:v>13725</c:v>
                </c:pt>
                <c:pt idx="237">
                  <c:v>13795</c:v>
                </c:pt>
                <c:pt idx="238">
                  <c:v>#N/A</c:v>
                </c:pt>
                <c:pt idx="239">
                  <c:v>#N/A</c:v>
                </c:pt>
                <c:pt idx="240">
                  <c:v>13420</c:v>
                </c:pt>
                <c:pt idx="241">
                  <c:v>13510</c:v>
                </c:pt>
                <c:pt idx="242">
                  <c:v>13540</c:v>
                </c:pt>
                <c:pt idx="243">
                  <c:v>13540</c:v>
                </c:pt>
                <c:pt idx="244">
                  <c:v>13805</c:v>
                </c:pt>
                <c:pt idx="245">
                  <c:v>#N/A</c:v>
                </c:pt>
                <c:pt idx="246">
                  <c:v>#N/A</c:v>
                </c:pt>
                <c:pt idx="247">
                  <c:v>13845</c:v>
                </c:pt>
                <c:pt idx="248">
                  <c:v>13915</c:v>
                </c:pt>
                <c:pt idx="249">
                  <c:v>14115</c:v>
                </c:pt>
                <c:pt idx="250">
                  <c:v>14125</c:v>
                </c:pt>
                <c:pt idx="251">
                  <c:v>14240</c:v>
                </c:pt>
                <c:pt idx="252">
                  <c:v>#N/A</c:v>
                </c:pt>
                <c:pt idx="253">
                  <c:v>#N/A</c:v>
                </c:pt>
                <c:pt idx="254">
                  <c:v>14415</c:v>
                </c:pt>
                <c:pt idx="255">
                  <c:v>14435</c:v>
                </c:pt>
                <c:pt idx="256">
                  <c:v>14390</c:v>
                </c:pt>
                <c:pt idx="257">
                  <c:v>14590</c:v>
                </c:pt>
                <c:pt idx="258">
                  <c:v>14825</c:v>
                </c:pt>
                <c:pt idx="259">
                  <c:v>#N/A</c:v>
                </c:pt>
                <c:pt idx="260">
                  <c:v>#N/A</c:v>
                </c:pt>
                <c:pt idx="261">
                  <c:v>14995</c:v>
                </c:pt>
                <c:pt idx="262">
                  <c:v>14710</c:v>
                </c:pt>
                <c:pt idx="263">
                  <c:v>14860</c:v>
                </c:pt>
                <c:pt idx="264">
                  <c:v>14585</c:v>
                </c:pt>
                <c:pt idx="265">
                  <c:v>14600</c:v>
                </c:pt>
                <c:pt idx="266">
                  <c:v>#N/A</c:v>
                </c:pt>
                <c:pt idx="267">
                  <c:v>#N/A</c:v>
                </c:pt>
                <c:pt idx="268">
                  <c:v>14530</c:v>
                </c:pt>
                <c:pt idx="269">
                  <c:v>14525</c:v>
                </c:pt>
                <c:pt idx="270">
                  <c:v>14195</c:v>
                </c:pt>
                <c:pt idx="271">
                  <c:v>13960</c:v>
                </c:pt>
                <c:pt idx="272">
                  <c:v>#N/A</c:v>
                </c:pt>
                <c:pt idx="273">
                  <c:v>#N/A</c:v>
                </c:pt>
                <c:pt idx="274">
                  <c:v>#N/A</c:v>
                </c:pt>
                <c:pt idx="275">
                  <c:v>#N/A</c:v>
                </c:pt>
                <c:pt idx="276">
                  <c:v>#N/A</c:v>
                </c:pt>
                <c:pt idx="277">
                  <c:v>#N/A</c:v>
                </c:pt>
                <c:pt idx="278">
                  <c:v>#N/A</c:v>
                </c:pt>
                <c:pt idx="279">
                  <c:v>#N/A</c:v>
                </c:pt>
                <c:pt idx="280">
                  <c:v>#N/A</c:v>
                </c:pt>
                <c:pt idx="281">
                  <c:v>#N/A</c:v>
                </c:pt>
                <c:pt idx="282">
                  <c:v>14155</c:v>
                </c:pt>
                <c:pt idx="283">
                  <c:v>14265</c:v>
                </c:pt>
                <c:pt idx="284">
                  <c:v>14190</c:v>
                </c:pt>
                <c:pt idx="285">
                  <c:v>14210</c:v>
                </c:pt>
                <c:pt idx="286">
                  <c:v>14690</c:v>
                </c:pt>
                <c:pt idx="287">
                  <c:v>#N/A</c:v>
                </c:pt>
                <c:pt idx="288">
                  <c:v>#N/A</c:v>
                </c:pt>
                <c:pt idx="289">
                  <c:v>14540</c:v>
                </c:pt>
                <c:pt idx="290">
                  <c:v>14630</c:v>
                </c:pt>
                <c:pt idx="291">
                  <c:v>14780</c:v>
                </c:pt>
                <c:pt idx="292">
                  <c:v>14540</c:v>
                </c:pt>
                <c:pt idx="293">
                  <c:v>14515</c:v>
                </c:pt>
                <c:pt idx="294">
                  <c:v>#N/A</c:v>
                </c:pt>
                <c:pt idx="295">
                  <c:v>#N/A</c:v>
                </c:pt>
                <c:pt idx="296">
                  <c:v>14525</c:v>
                </c:pt>
                <c:pt idx="297">
                  <c:v>14450</c:v>
                </c:pt>
                <c:pt idx="298">
                  <c:v>14440</c:v>
                </c:pt>
                <c:pt idx="299">
                  <c:v>14150</c:v>
                </c:pt>
                <c:pt idx="300">
                  <c:v>13995</c:v>
                </c:pt>
                <c:pt idx="301">
                  <c:v>#N/A</c:v>
                </c:pt>
                <c:pt idx="302">
                  <c:v>#N/A</c:v>
                </c:pt>
                <c:pt idx="303">
                  <c:v>14210</c:v>
                </c:pt>
                <c:pt idx="304">
                  <c:v>14260</c:v>
                </c:pt>
                <c:pt idx="305">
                  <c:v>13990</c:v>
                </c:pt>
                <c:pt idx="306">
                  <c:v>14075</c:v>
                </c:pt>
                <c:pt idx="307">
                  <c:v>14120</c:v>
                </c:pt>
                <c:pt idx="308">
                  <c:v>#N/A</c:v>
                </c:pt>
                <c:pt idx="309">
                  <c:v>#N/A</c:v>
                </c:pt>
                <c:pt idx="310">
                  <c:v>14255</c:v>
                </c:pt>
                <c:pt idx="311">
                  <c:v>14130</c:v>
                </c:pt>
                <c:pt idx="312">
                  <c:v>14175</c:v>
                </c:pt>
                <c:pt idx="313">
                  <c:v>14130</c:v>
                </c:pt>
                <c:pt idx="314">
                  <c:v>14090</c:v>
                </c:pt>
                <c:pt idx="315">
                  <c:v>#N/A</c:v>
                </c:pt>
                <c:pt idx="316">
                  <c:v>#N/A</c:v>
                </c:pt>
                <c:pt idx="317">
                  <c:v>14040</c:v>
                </c:pt>
                <c:pt idx="318">
                  <c:v>14055</c:v>
                </c:pt>
                <c:pt idx="319">
                  <c:v>14120</c:v>
                </c:pt>
                <c:pt idx="320">
                  <c:v>14175</c:v>
                </c:pt>
                <c:pt idx="321">
                  <c:v>14265</c:v>
                </c:pt>
                <c:pt idx="322">
                  <c:v>#N/A</c:v>
                </c:pt>
                <c:pt idx="323">
                  <c:v>#N/A</c:v>
                </c:pt>
                <c:pt idx="324">
                  <c:v>14370</c:v>
                </c:pt>
                <c:pt idx="325">
                  <c:v>14285</c:v>
                </c:pt>
                <c:pt idx="326">
                  <c:v>14185</c:v>
                </c:pt>
                <c:pt idx="327">
                  <c:v>14195</c:v>
                </c:pt>
                <c:pt idx="328">
                  <c:v>14200</c:v>
                </c:pt>
                <c:pt idx="329">
                  <c:v>#N/A</c:v>
                </c:pt>
                <c:pt idx="330">
                  <c:v>#N/A</c:v>
                </c:pt>
                <c:pt idx="331">
                  <c:v>13940</c:v>
                </c:pt>
                <c:pt idx="332">
                  <c:v>13975</c:v>
                </c:pt>
                <c:pt idx="333">
                  <c:v>13970</c:v>
                </c:pt>
                <c:pt idx="334">
                  <c:v>14005</c:v>
                </c:pt>
                <c:pt idx="335">
                  <c:v>13940</c:v>
                </c:pt>
                <c:pt idx="336">
                  <c:v>#N/A</c:v>
                </c:pt>
                <c:pt idx="337">
                  <c:v>#N/A</c:v>
                </c:pt>
                <c:pt idx="338">
                  <c:v>13930</c:v>
                </c:pt>
                <c:pt idx="339">
                  <c:v>13410</c:v>
                </c:pt>
                <c:pt idx="340">
                  <c:v>13700</c:v>
                </c:pt>
                <c:pt idx="341">
                  <c:v>13700</c:v>
                </c:pt>
                <c:pt idx="342">
                  <c:v>13875</c:v>
                </c:pt>
                <c:pt idx="343">
                  <c:v>#N/A</c:v>
                </c:pt>
                <c:pt idx="344">
                  <c:v>#N/A</c:v>
                </c:pt>
                <c:pt idx="345">
                  <c:v>13770</c:v>
                </c:pt>
                <c:pt idx="346">
                  <c:v>13785</c:v>
                </c:pt>
                <c:pt idx="347">
                  <c:v>13720</c:v>
                </c:pt>
                <c:pt idx="348">
                  <c:v>13750</c:v>
                </c:pt>
                <c:pt idx="349">
                  <c:v>13810</c:v>
                </c:pt>
                <c:pt idx="350">
                  <c:v>#N/A</c:v>
                </c:pt>
                <c:pt idx="351">
                  <c:v>#N/A</c:v>
                </c:pt>
                <c:pt idx="352">
                  <c:v>13875</c:v>
                </c:pt>
                <c:pt idx="353">
                  <c:v>14235</c:v>
                </c:pt>
                <c:pt idx="354">
                  <c:v>14280</c:v>
                </c:pt>
                <c:pt idx="355">
                  <c:v>14160</c:v>
                </c:pt>
                <c:pt idx="356">
                  <c:v>14195</c:v>
                </c:pt>
                <c:pt idx="357">
                  <c:v>#N/A</c:v>
                </c:pt>
                <c:pt idx="358">
                  <c:v>#N/A</c:v>
                </c:pt>
                <c:pt idx="359">
                  <c:v>14245</c:v>
                </c:pt>
                <c:pt idx="360">
                  <c:v>14235</c:v>
                </c:pt>
                <c:pt idx="361">
                  <c:v>14235</c:v>
                </c:pt>
                <c:pt idx="362">
                  <c:v>14240</c:v>
                </c:pt>
                <c:pt idx="363">
                  <c:v>14160</c:v>
                </c:pt>
                <c:pt idx="364">
                  <c:v>#N/A</c:v>
                </c:pt>
                <c:pt idx="365">
                  <c:v>#N/A</c:v>
                </c:pt>
              </c:numCache>
            </c:numRef>
          </c:val>
          <c:smooth val="0"/>
          <c:extLst>
            <c:ext xmlns:c16="http://schemas.microsoft.com/office/drawing/2014/chart" uri="{C3380CC4-5D6E-409C-BE32-E72D297353CC}">
              <c16:uniqueId val="{00000001-A367-44C5-AABE-1DDA3F63840B}"/>
            </c:ext>
          </c:extLst>
        </c:ser>
        <c:ser>
          <c:idx val="2"/>
          <c:order val="2"/>
          <c:tx>
            <c:strRef>
              <c:f>套利价差!$E$4</c:f>
              <c:strCache>
                <c:ptCount val="1"/>
                <c:pt idx="0">
                  <c:v>2024</c:v>
                </c:pt>
              </c:strCache>
            </c:strRef>
          </c:tx>
          <c:spPr>
            <a:ln w="28575" cap="rnd">
              <a:solidFill>
                <a:schemeClr val="tx1"/>
              </a:solidFill>
              <a:round/>
            </a:ln>
            <a:effectLst/>
          </c:spPr>
          <c:marker>
            <c:symbol val="none"/>
          </c:marker>
          <c:cat>
            <c:strRef>
              <c:f>套利价差!$B$5:$B$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E$5:$E$370</c:f>
              <c:numCache>
                <c:formatCode>#,##0.00_);[Red]\(#,##0.00\)</c:formatCode>
                <c:ptCount val="366"/>
                <c:pt idx="0">
                  <c:v>#N/A</c:v>
                </c:pt>
                <c:pt idx="1">
                  <c:v>14365</c:v>
                </c:pt>
                <c:pt idx="2">
                  <c:v>14290</c:v>
                </c:pt>
                <c:pt idx="3">
                  <c:v>14250</c:v>
                </c:pt>
                <c:pt idx="4">
                  <c:v>13960</c:v>
                </c:pt>
                <c:pt idx="5">
                  <c:v>#N/A</c:v>
                </c:pt>
                <c:pt idx="6">
                  <c:v>#N/A</c:v>
                </c:pt>
                <c:pt idx="7">
                  <c:v>13900</c:v>
                </c:pt>
                <c:pt idx="8">
                  <c:v>13840</c:v>
                </c:pt>
                <c:pt idx="9">
                  <c:v>13930</c:v>
                </c:pt>
                <c:pt idx="10">
                  <c:v>13875</c:v>
                </c:pt>
                <c:pt idx="11">
                  <c:v>13610</c:v>
                </c:pt>
                <c:pt idx="12">
                  <c:v>#N/A</c:v>
                </c:pt>
                <c:pt idx="13">
                  <c:v>#N/A</c:v>
                </c:pt>
                <c:pt idx="14">
                  <c:v>13675</c:v>
                </c:pt>
                <c:pt idx="15">
                  <c:v>13540</c:v>
                </c:pt>
                <c:pt idx="16">
                  <c:v>13425</c:v>
                </c:pt>
                <c:pt idx="17">
                  <c:v>13270</c:v>
                </c:pt>
                <c:pt idx="18">
                  <c:v>13475</c:v>
                </c:pt>
                <c:pt idx="19">
                  <c:v>#N/A</c:v>
                </c:pt>
                <c:pt idx="20">
                  <c:v>#N/A</c:v>
                </c:pt>
                <c:pt idx="21">
                  <c:v>13420</c:v>
                </c:pt>
                <c:pt idx="22">
                  <c:v>13370</c:v>
                </c:pt>
                <c:pt idx="23">
                  <c:v>13385</c:v>
                </c:pt>
                <c:pt idx="24">
                  <c:v>13435</c:v>
                </c:pt>
                <c:pt idx="25">
                  <c:v>13365</c:v>
                </c:pt>
                <c:pt idx="26">
                  <c:v>#N/A</c:v>
                </c:pt>
                <c:pt idx="27">
                  <c:v>#N/A</c:v>
                </c:pt>
                <c:pt idx="28">
                  <c:v>13255</c:v>
                </c:pt>
                <c:pt idx="29">
                  <c:v>13310</c:v>
                </c:pt>
                <c:pt idx="30">
                  <c:v>13160</c:v>
                </c:pt>
                <c:pt idx="31">
                  <c:v>13210</c:v>
                </c:pt>
                <c:pt idx="32">
                  <c:v>13225</c:v>
                </c:pt>
                <c:pt idx="33">
                  <c:v>#N/A</c:v>
                </c:pt>
                <c:pt idx="34">
                  <c:v>#N/A</c:v>
                </c:pt>
                <c:pt idx="35">
                  <c:v>13250</c:v>
                </c:pt>
                <c:pt idx="36">
                  <c:v>13205</c:v>
                </c:pt>
                <c:pt idx="37">
                  <c:v>13440</c:v>
                </c:pt>
                <c:pt idx="38">
                  <c:v>13500</c:v>
                </c:pt>
                <c:pt idx="39">
                  <c:v>#N/A</c:v>
                </c:pt>
                <c:pt idx="40">
                  <c:v>#N/A</c:v>
                </c:pt>
                <c:pt idx="41">
                  <c:v>#N/A</c:v>
                </c:pt>
                <c:pt idx="42">
                  <c:v>#N/A</c:v>
                </c:pt>
                <c:pt idx="43">
                  <c:v>#N/A</c:v>
                </c:pt>
                <c:pt idx="44">
                  <c:v>#N/A</c:v>
                </c:pt>
                <c:pt idx="45">
                  <c:v>#N/A</c:v>
                </c:pt>
                <c:pt idx="46">
                  <c:v>#N/A</c:v>
                </c:pt>
                <c:pt idx="47">
                  <c:v>#N/A</c:v>
                </c:pt>
                <c:pt idx="48">
                  <c:v>#N/A</c:v>
                </c:pt>
                <c:pt idx="49">
                  <c:v>13340</c:v>
                </c:pt>
                <c:pt idx="50">
                  <c:v>13310</c:v>
                </c:pt>
                <c:pt idx="51">
                  <c:v>13395</c:v>
                </c:pt>
                <c:pt idx="52">
                  <c:v>13360</c:v>
                </c:pt>
                <c:pt idx="53">
                  <c:v>13425</c:v>
                </c:pt>
                <c:pt idx="54">
                  <c:v>#N/A</c:v>
                </c:pt>
                <c:pt idx="55">
                  <c:v>#N/A</c:v>
                </c:pt>
                <c:pt idx="56">
                  <c:v>13265</c:v>
                </c:pt>
                <c:pt idx="57">
                  <c:v>13370</c:v>
                </c:pt>
                <c:pt idx="58">
                  <c:v>13275</c:v>
                </c:pt>
                <c:pt idx="59">
                  <c:v>13160</c:v>
                </c:pt>
                <c:pt idx="60">
                  <c:v>13300</c:v>
                </c:pt>
                <c:pt idx="61">
                  <c:v>#N/A</c:v>
                </c:pt>
                <c:pt idx="62">
                  <c:v>#N/A</c:v>
                </c:pt>
                <c:pt idx="63">
                  <c:v>13390</c:v>
                </c:pt>
                <c:pt idx="64">
                  <c:v>13325</c:v>
                </c:pt>
                <c:pt idx="65">
                  <c:v>13290</c:v>
                </c:pt>
                <c:pt idx="66">
                  <c:v>13260</c:v>
                </c:pt>
                <c:pt idx="67">
                  <c:v>13265</c:v>
                </c:pt>
                <c:pt idx="68">
                  <c:v>#N/A</c:v>
                </c:pt>
                <c:pt idx="69">
                  <c:v>#N/A</c:v>
                </c:pt>
                <c:pt idx="70">
                  <c:v>13190</c:v>
                </c:pt>
                <c:pt idx="71">
                  <c:v>13280</c:v>
                </c:pt>
                <c:pt idx="72">
                  <c:v>13250</c:v>
                </c:pt>
                <c:pt idx="73">
                  <c:v>13230</c:v>
                </c:pt>
                <c:pt idx="74">
                  <c:v>12790</c:v>
                </c:pt>
                <c:pt idx="75">
                  <c:v>#N/A</c:v>
                </c:pt>
                <c:pt idx="76">
                  <c:v>#N/A</c:v>
                </c:pt>
                <c:pt idx="77">
                  <c:v>12705</c:v>
                </c:pt>
                <c:pt idx="78">
                  <c:v>12660</c:v>
                </c:pt>
                <c:pt idx="79">
                  <c:v>12690</c:v>
                </c:pt>
                <c:pt idx="80">
                  <c:v>12670</c:v>
                </c:pt>
                <c:pt idx="81">
                  <c:v>12505</c:v>
                </c:pt>
                <c:pt idx="82">
                  <c:v>#N/A</c:v>
                </c:pt>
                <c:pt idx="83">
                  <c:v>#N/A</c:v>
                </c:pt>
                <c:pt idx="84">
                  <c:v>12385</c:v>
                </c:pt>
                <c:pt idx="85">
                  <c:v>12290</c:v>
                </c:pt>
                <c:pt idx="86">
                  <c:v>12105</c:v>
                </c:pt>
                <c:pt idx="87">
                  <c:v>12065</c:v>
                </c:pt>
                <c:pt idx="88">
                  <c:v>11945</c:v>
                </c:pt>
                <c:pt idx="89">
                  <c:v>#N/A</c:v>
                </c:pt>
                <c:pt idx="90">
                  <c:v>#N/A</c:v>
                </c:pt>
                <c:pt idx="91">
                  <c:v>11920</c:v>
                </c:pt>
                <c:pt idx="92">
                  <c:v>12050</c:v>
                </c:pt>
                <c:pt idx="93">
                  <c:v>12010</c:v>
                </c:pt>
                <c:pt idx="94">
                  <c:v>#N/A</c:v>
                </c:pt>
                <c:pt idx="95">
                  <c:v>#N/A</c:v>
                </c:pt>
                <c:pt idx="96">
                  <c:v>#N/A</c:v>
                </c:pt>
                <c:pt idx="97">
                  <c:v>#N/A</c:v>
                </c:pt>
                <c:pt idx="98">
                  <c:v>12065</c:v>
                </c:pt>
                <c:pt idx="99">
                  <c:v>12275</c:v>
                </c:pt>
                <c:pt idx="100">
                  <c:v>12215</c:v>
                </c:pt>
                <c:pt idx="101">
                  <c:v>12135</c:v>
                </c:pt>
                <c:pt idx="102">
                  <c:v>12205</c:v>
                </c:pt>
                <c:pt idx="103">
                  <c:v>#N/A</c:v>
                </c:pt>
                <c:pt idx="104">
                  <c:v>#N/A</c:v>
                </c:pt>
                <c:pt idx="105">
                  <c:v>12190</c:v>
                </c:pt>
                <c:pt idx="106">
                  <c:v>11955</c:v>
                </c:pt>
                <c:pt idx="107">
                  <c:v>11705</c:v>
                </c:pt>
                <c:pt idx="108">
                  <c:v>11655</c:v>
                </c:pt>
                <c:pt idx="109">
                  <c:v>11520</c:v>
                </c:pt>
                <c:pt idx="110">
                  <c:v>#N/A</c:v>
                </c:pt>
                <c:pt idx="111">
                  <c:v>#N/A</c:v>
                </c:pt>
                <c:pt idx="112">
                  <c:v>11695</c:v>
                </c:pt>
                <c:pt idx="113">
                  <c:v>11710</c:v>
                </c:pt>
                <c:pt idx="114">
                  <c:v>11790</c:v>
                </c:pt>
                <c:pt idx="115">
                  <c:v>11745</c:v>
                </c:pt>
                <c:pt idx="116">
                  <c:v>11765</c:v>
                </c:pt>
                <c:pt idx="117">
                  <c:v>#N/A</c:v>
                </c:pt>
                <c:pt idx="118">
                  <c:v>#N/A</c:v>
                </c:pt>
                <c:pt idx="119">
                  <c:v>11965</c:v>
                </c:pt>
                <c:pt idx="120">
                  <c:v>11955</c:v>
                </c:pt>
                <c:pt idx="121">
                  <c:v>#N/A</c:v>
                </c:pt>
                <c:pt idx="122">
                  <c:v>#N/A</c:v>
                </c:pt>
                <c:pt idx="123">
                  <c:v>#N/A</c:v>
                </c:pt>
                <c:pt idx="124">
                  <c:v>#N/A</c:v>
                </c:pt>
                <c:pt idx="125">
                  <c:v>#N/A</c:v>
                </c:pt>
                <c:pt idx="126">
                  <c:v>11995</c:v>
                </c:pt>
                <c:pt idx="127">
                  <c:v>11955</c:v>
                </c:pt>
                <c:pt idx="128">
                  <c:v>11860</c:v>
                </c:pt>
                <c:pt idx="129">
                  <c:v>12060</c:v>
                </c:pt>
                <c:pt idx="130">
                  <c:v>11925</c:v>
                </c:pt>
                <c:pt idx="131">
                  <c:v>#N/A</c:v>
                </c:pt>
                <c:pt idx="132">
                  <c:v>#N/A</c:v>
                </c:pt>
                <c:pt idx="133">
                  <c:v>11990</c:v>
                </c:pt>
                <c:pt idx="134">
                  <c:v>11740</c:v>
                </c:pt>
                <c:pt idx="135">
                  <c:v>11770</c:v>
                </c:pt>
                <c:pt idx="136">
                  <c:v>11725</c:v>
                </c:pt>
                <c:pt idx="137">
                  <c:v>11875</c:v>
                </c:pt>
                <c:pt idx="138">
                  <c:v>#N/A</c:v>
                </c:pt>
                <c:pt idx="139">
                  <c:v>#N/A</c:v>
                </c:pt>
                <c:pt idx="140">
                  <c:v>12055</c:v>
                </c:pt>
                <c:pt idx="141">
                  <c:v>12270</c:v>
                </c:pt>
                <c:pt idx="142">
                  <c:v>12340</c:v>
                </c:pt>
                <c:pt idx="143">
                  <c:v>12220</c:v>
                </c:pt>
                <c:pt idx="144">
                  <c:v>12775</c:v>
                </c:pt>
                <c:pt idx="145">
                  <c:v>#N/A</c:v>
                </c:pt>
                <c:pt idx="146">
                  <c:v>#N/A</c:v>
                </c:pt>
                <c:pt idx="147">
                  <c:v>12710</c:v>
                </c:pt>
                <c:pt idx="148">
                  <c:v>12465</c:v>
                </c:pt>
                <c:pt idx="149">
                  <c:v>12340</c:v>
                </c:pt>
                <c:pt idx="150">
                  <c:v>13075</c:v>
                </c:pt>
                <c:pt idx="151">
                  <c:v>12835</c:v>
                </c:pt>
                <c:pt idx="152">
                  <c:v>#N/A</c:v>
                </c:pt>
                <c:pt idx="153">
                  <c:v>#N/A</c:v>
                </c:pt>
                <c:pt idx="154">
                  <c:v>12365</c:v>
                </c:pt>
                <c:pt idx="155">
                  <c:v>12520</c:v>
                </c:pt>
                <c:pt idx="156">
                  <c:v>12400</c:v>
                </c:pt>
                <c:pt idx="157">
                  <c:v>12465</c:v>
                </c:pt>
                <c:pt idx="158">
                  <c:v>12305</c:v>
                </c:pt>
                <c:pt idx="159">
                  <c:v>#N/A</c:v>
                </c:pt>
                <c:pt idx="160">
                  <c:v>#N/A</c:v>
                </c:pt>
                <c:pt idx="161">
                  <c:v>#N/A</c:v>
                </c:pt>
                <c:pt idx="162">
                  <c:v>12120</c:v>
                </c:pt>
                <c:pt idx="163">
                  <c:v>12180</c:v>
                </c:pt>
                <c:pt idx="164">
                  <c:v>12160</c:v>
                </c:pt>
                <c:pt idx="165">
                  <c:v>12175</c:v>
                </c:pt>
                <c:pt idx="166">
                  <c:v>#N/A</c:v>
                </c:pt>
                <c:pt idx="167">
                  <c:v>#N/A</c:v>
                </c:pt>
                <c:pt idx="168">
                  <c:v>12155</c:v>
                </c:pt>
                <c:pt idx="169">
                  <c:v>11935</c:v>
                </c:pt>
                <c:pt idx="170">
                  <c:v>12020</c:v>
                </c:pt>
                <c:pt idx="171">
                  <c:v>12055</c:v>
                </c:pt>
                <c:pt idx="172">
                  <c:v>11965</c:v>
                </c:pt>
                <c:pt idx="173">
                  <c:v>#N/A</c:v>
                </c:pt>
                <c:pt idx="174">
                  <c:v>#N/A</c:v>
                </c:pt>
                <c:pt idx="175">
                  <c:v>11400</c:v>
                </c:pt>
                <c:pt idx="176">
                  <c:v>11305</c:v>
                </c:pt>
                <c:pt idx="177">
                  <c:v>11470</c:v>
                </c:pt>
                <c:pt idx="178">
                  <c:v>11415</c:v>
                </c:pt>
                <c:pt idx="179">
                  <c:v>11420</c:v>
                </c:pt>
                <c:pt idx="180">
                  <c:v>#N/A</c:v>
                </c:pt>
                <c:pt idx="181">
                  <c:v>#N/A</c:v>
                </c:pt>
                <c:pt idx="182">
                  <c:v>11455</c:v>
                </c:pt>
                <c:pt idx="183">
                  <c:v>11465</c:v>
                </c:pt>
                <c:pt idx="184">
                  <c:v>11490</c:v>
                </c:pt>
                <c:pt idx="185">
                  <c:v>11380</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2-A367-44C5-AABE-1DDA3F63840B}"/>
            </c:ext>
          </c:extLst>
        </c:ser>
        <c:dLbls>
          <c:showLegendKey val="0"/>
          <c:showVal val="0"/>
          <c:showCatName val="0"/>
          <c:showSerName val="0"/>
          <c:showPercent val="0"/>
          <c:showBubbleSize val="0"/>
        </c:dLbls>
        <c:smooth val="0"/>
        <c:axId val="2134248159"/>
        <c:axId val="1567925663"/>
      </c:lineChart>
      <c:catAx>
        <c:axId val="21342481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567925663"/>
        <c:crosses val="autoZero"/>
        <c:auto val="1"/>
        <c:lblAlgn val="ctr"/>
        <c:lblOffset val="100"/>
        <c:noMultiLvlLbl val="0"/>
      </c:catAx>
      <c:valAx>
        <c:axId val="1567925663"/>
        <c:scaling>
          <c:orientation val="minMax"/>
          <c:min val="11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21342481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主力合约SMM基差!$AD$3</c:f>
          <c:strCache>
            <c:ptCount val="1"/>
            <c:pt idx="0">
              <c:v>11基差</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ea"/>
              <a:ea typeface="+mn-ea"/>
              <a:cs typeface="+mn-cs"/>
            </a:defRPr>
          </a:pPr>
          <a:endParaRPr lang="zh-CN"/>
        </a:p>
      </c:txPr>
    </c:title>
    <c:autoTitleDeleted val="0"/>
    <c:plotArea>
      <c:layout/>
      <c:lineChart>
        <c:grouping val="standard"/>
        <c:varyColors val="0"/>
        <c:ser>
          <c:idx val="0"/>
          <c:order val="0"/>
          <c:tx>
            <c:strRef>
              <c:f>主力合约SMM基差!$AE$4</c:f>
              <c:strCache>
                <c:ptCount val="1"/>
                <c:pt idx="0">
                  <c:v>2022</c:v>
                </c:pt>
              </c:strCache>
            </c:strRef>
          </c:tx>
          <c:spPr>
            <a:ln w="19050" cap="rnd">
              <a:solidFill>
                <a:schemeClr val="bg1">
                  <a:lumMod val="75000"/>
                </a:schemeClr>
              </a:solidFill>
              <a:round/>
            </a:ln>
            <a:effectLst/>
          </c:spPr>
          <c:marker>
            <c:symbol val="none"/>
          </c:marker>
          <c:cat>
            <c:strRef>
              <c:f>主力合约SMM基差!$AD$5:$AD$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AE$5:$AE$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750</c:v>
                </c:pt>
                <c:pt idx="357">
                  <c:v>1845</c:v>
                </c:pt>
                <c:pt idx="358">
                  <c:v>#N/A</c:v>
                </c:pt>
                <c:pt idx="359">
                  <c:v>#N/A</c:v>
                </c:pt>
                <c:pt idx="360">
                  <c:v>1725</c:v>
                </c:pt>
                <c:pt idx="361">
                  <c:v>1505</c:v>
                </c:pt>
                <c:pt idx="362">
                  <c:v>1320</c:v>
                </c:pt>
                <c:pt idx="363">
                  <c:v>1265</c:v>
                </c:pt>
                <c:pt idx="364">
                  <c:v>775</c:v>
                </c:pt>
                <c:pt idx="365">
                  <c:v>#N/A</c:v>
                </c:pt>
              </c:numCache>
            </c:numRef>
          </c:val>
          <c:smooth val="0"/>
          <c:extLst>
            <c:ext xmlns:c16="http://schemas.microsoft.com/office/drawing/2014/chart" uri="{C3380CC4-5D6E-409C-BE32-E72D297353CC}">
              <c16:uniqueId val="{00000000-58A7-4CDB-83C9-5880BD57CC25}"/>
            </c:ext>
          </c:extLst>
        </c:ser>
        <c:ser>
          <c:idx val="1"/>
          <c:order val="1"/>
          <c:tx>
            <c:strRef>
              <c:f>主力合约SMM基差!$AF$4</c:f>
              <c:strCache>
                <c:ptCount val="1"/>
                <c:pt idx="0">
                  <c:v>2023</c:v>
                </c:pt>
              </c:strCache>
            </c:strRef>
          </c:tx>
          <c:spPr>
            <a:ln w="19050" cap="rnd">
              <a:solidFill>
                <a:schemeClr val="accent4">
                  <a:lumMod val="60000"/>
                  <a:lumOff val="40000"/>
                </a:schemeClr>
              </a:solidFill>
              <a:round/>
            </a:ln>
            <a:effectLst/>
          </c:spPr>
          <c:marker>
            <c:symbol val="none"/>
          </c:marker>
          <c:cat>
            <c:strRef>
              <c:f>主力合约SMM基差!$AD$5:$AD$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AF$5:$AF$370</c:f>
              <c:numCache>
                <c:formatCode>#,##0.00_);[Red]\(#,##0.00\)</c:formatCode>
                <c:ptCount val="366"/>
                <c:pt idx="0">
                  <c:v>#N/A</c:v>
                </c:pt>
                <c:pt idx="1">
                  <c:v>#N/A</c:v>
                </c:pt>
                <c:pt idx="2">
                  <c:v>935</c:v>
                </c:pt>
                <c:pt idx="3">
                  <c:v>775</c:v>
                </c:pt>
                <c:pt idx="4">
                  <c:v>855</c:v>
                </c:pt>
                <c:pt idx="5">
                  <c:v>775</c:v>
                </c:pt>
                <c:pt idx="6">
                  <c:v>#N/A</c:v>
                </c:pt>
                <c:pt idx="7">
                  <c:v>#N/A</c:v>
                </c:pt>
                <c:pt idx="8">
                  <c:v>685</c:v>
                </c:pt>
                <c:pt idx="9">
                  <c:v>650</c:v>
                </c:pt>
                <c:pt idx="10">
                  <c:v>885</c:v>
                </c:pt>
                <c:pt idx="11">
                  <c:v>720</c:v>
                </c:pt>
                <c:pt idx="12">
                  <c:v>520</c:v>
                </c:pt>
                <c:pt idx="13">
                  <c:v>#N/A</c:v>
                </c:pt>
                <c:pt idx="14">
                  <c:v>#N/A</c:v>
                </c:pt>
                <c:pt idx="15">
                  <c:v>510</c:v>
                </c:pt>
                <c:pt idx="16">
                  <c:v>280</c:v>
                </c:pt>
                <c:pt idx="17">
                  <c:v>350</c:v>
                </c:pt>
                <c:pt idx="18">
                  <c:v>-260</c:v>
                </c:pt>
                <c:pt idx="19">
                  <c:v>-270</c:v>
                </c:pt>
                <c:pt idx="20">
                  <c:v>#N/A</c:v>
                </c:pt>
                <c:pt idx="21">
                  <c:v>#N/A</c:v>
                </c:pt>
                <c:pt idx="22">
                  <c:v>#N/A</c:v>
                </c:pt>
                <c:pt idx="23">
                  <c:v>#N/A</c:v>
                </c:pt>
                <c:pt idx="24">
                  <c:v>#N/A</c:v>
                </c:pt>
                <c:pt idx="25">
                  <c:v>#N/A</c:v>
                </c:pt>
                <c:pt idx="26">
                  <c:v>#N/A</c:v>
                </c:pt>
                <c:pt idx="27">
                  <c:v>#N/A</c:v>
                </c:pt>
                <c:pt idx="28">
                  <c:v>#N/A</c:v>
                </c:pt>
                <c:pt idx="29">
                  <c:v>-240</c:v>
                </c:pt>
                <c:pt idx="30">
                  <c:v>-145</c:v>
                </c:pt>
                <c:pt idx="31">
                  <c:v>-280</c:v>
                </c:pt>
                <c:pt idx="32">
                  <c:v>-290</c:v>
                </c:pt>
                <c:pt idx="33">
                  <c:v>-235</c:v>
                </c:pt>
                <c:pt idx="34">
                  <c:v>#N/A</c:v>
                </c:pt>
                <c:pt idx="35">
                  <c:v>#N/A</c:v>
                </c:pt>
                <c:pt idx="36">
                  <c:v>-410</c:v>
                </c:pt>
                <c:pt idx="37">
                  <c:v>-360</c:v>
                </c:pt>
                <c:pt idx="38">
                  <c:v>-550</c:v>
                </c:pt>
                <c:pt idx="39">
                  <c:v>-550</c:v>
                </c:pt>
                <c:pt idx="40">
                  <c:v>-350</c:v>
                </c:pt>
                <c:pt idx="41">
                  <c:v>#N/A</c:v>
                </c:pt>
                <c:pt idx="42">
                  <c:v>#N/A</c:v>
                </c:pt>
                <c:pt idx="43">
                  <c:v>-220</c:v>
                </c:pt>
                <c:pt idx="44">
                  <c:v>-170</c:v>
                </c:pt>
                <c:pt idx="45">
                  <c:v>-115</c:v>
                </c:pt>
                <c:pt idx="46">
                  <c:v>150</c:v>
                </c:pt>
                <c:pt idx="47">
                  <c:v>370</c:v>
                </c:pt>
                <c:pt idx="48">
                  <c:v>#N/A</c:v>
                </c:pt>
                <c:pt idx="49">
                  <c:v>#N/A</c:v>
                </c:pt>
                <c:pt idx="50">
                  <c:v>270</c:v>
                </c:pt>
                <c:pt idx="51">
                  <c:v>100</c:v>
                </c:pt>
                <c:pt idx="52">
                  <c:v>155</c:v>
                </c:pt>
                <c:pt idx="53">
                  <c:v>150</c:v>
                </c:pt>
                <c:pt idx="54">
                  <c:v>180</c:v>
                </c:pt>
                <c:pt idx="55">
                  <c:v>#N/A</c:v>
                </c:pt>
                <c:pt idx="56">
                  <c:v>#N/A</c:v>
                </c:pt>
                <c:pt idx="57">
                  <c:v>190</c:v>
                </c:pt>
                <c:pt idx="58">
                  <c:v>230</c:v>
                </c:pt>
                <c:pt idx="60">
                  <c:v>30</c:v>
                </c:pt>
                <c:pt idx="61">
                  <c:v>35</c:v>
                </c:pt>
                <c:pt idx="62">
                  <c:v>55</c:v>
                </c:pt>
                <c:pt idx="63">
                  <c:v>#N/A</c:v>
                </c:pt>
                <c:pt idx="64">
                  <c:v>#N/A</c:v>
                </c:pt>
                <c:pt idx="65">
                  <c:v>155</c:v>
                </c:pt>
                <c:pt idx="66">
                  <c:v>245</c:v>
                </c:pt>
                <c:pt idx="67">
                  <c:v>290</c:v>
                </c:pt>
                <c:pt idx="68">
                  <c:v>320</c:v>
                </c:pt>
                <c:pt idx="69">
                  <c:v>400</c:v>
                </c:pt>
                <c:pt idx="70">
                  <c:v>#N/A</c:v>
                </c:pt>
                <c:pt idx="71">
                  <c:v>#N/A</c:v>
                </c:pt>
                <c:pt idx="72">
                  <c:v>335</c:v>
                </c:pt>
                <c:pt idx="73">
                  <c:v>350</c:v>
                </c:pt>
                <c:pt idx="74">
                  <c:v>350</c:v>
                </c:pt>
                <c:pt idx="75">
                  <c:v>1090</c:v>
                </c:pt>
                <c:pt idx="76">
                  <c:v>950</c:v>
                </c:pt>
                <c:pt idx="77">
                  <c:v>#N/A</c:v>
                </c:pt>
                <c:pt idx="78">
                  <c:v>#N/A</c:v>
                </c:pt>
                <c:pt idx="79">
                  <c:v>950</c:v>
                </c:pt>
                <c:pt idx="80">
                  <c:v>1075</c:v>
                </c:pt>
                <c:pt idx="81">
                  <c:v>680</c:v>
                </c:pt>
                <c:pt idx="82">
                  <c:v>665</c:v>
                </c:pt>
                <c:pt idx="83">
                  <c:v>615</c:v>
                </c:pt>
                <c:pt idx="84">
                  <c:v>#N/A</c:v>
                </c:pt>
                <c:pt idx="85">
                  <c:v>#N/A</c:v>
                </c:pt>
                <c:pt idx="86">
                  <c:v>465</c:v>
                </c:pt>
                <c:pt idx="87">
                  <c:v>540</c:v>
                </c:pt>
                <c:pt idx="88">
                  <c:v>720</c:v>
                </c:pt>
                <c:pt idx="89">
                  <c:v>795</c:v>
                </c:pt>
                <c:pt idx="90">
                  <c:v>895</c:v>
                </c:pt>
                <c:pt idx="91">
                  <c:v>#N/A</c:v>
                </c:pt>
                <c:pt idx="92">
                  <c:v>#N/A</c:v>
                </c:pt>
                <c:pt idx="93">
                  <c:v>1090</c:v>
                </c:pt>
                <c:pt idx="94">
                  <c:v>1245</c:v>
                </c:pt>
                <c:pt idx="95">
                  <c:v>#N/A</c:v>
                </c:pt>
                <c:pt idx="96">
                  <c:v>850</c:v>
                </c:pt>
                <c:pt idx="97">
                  <c:v>675</c:v>
                </c:pt>
                <c:pt idx="98">
                  <c:v>#N/A</c:v>
                </c:pt>
                <c:pt idx="99">
                  <c:v>#N/A</c:v>
                </c:pt>
                <c:pt idx="100">
                  <c:v>850</c:v>
                </c:pt>
                <c:pt idx="101">
                  <c:v>705</c:v>
                </c:pt>
                <c:pt idx="102">
                  <c:v>500</c:v>
                </c:pt>
                <c:pt idx="103">
                  <c:v>570</c:v>
                </c:pt>
                <c:pt idx="104">
                  <c:v>580</c:v>
                </c:pt>
                <c:pt idx="105">
                  <c:v>#N/A</c:v>
                </c:pt>
                <c:pt idx="106">
                  <c:v>#N/A</c:v>
                </c:pt>
                <c:pt idx="107">
                  <c:v>260</c:v>
                </c:pt>
                <c:pt idx="108">
                  <c:v>200</c:v>
                </c:pt>
                <c:pt idx="109">
                  <c:v>160</c:v>
                </c:pt>
                <c:pt idx="110">
                  <c:v>310</c:v>
                </c:pt>
                <c:pt idx="111">
                  <c:v>270</c:v>
                </c:pt>
                <c:pt idx="112">
                  <c:v>#N/A</c:v>
                </c:pt>
                <c:pt idx="113">
                  <c:v>#N/A</c:v>
                </c:pt>
                <c:pt idx="114">
                  <c:v>175</c:v>
                </c:pt>
                <c:pt idx="115">
                  <c:v>50</c:v>
                </c:pt>
                <c:pt idx="116">
                  <c:v>50</c:v>
                </c:pt>
                <c:pt idx="117">
                  <c:v>210</c:v>
                </c:pt>
                <c:pt idx="118">
                  <c:v>215</c:v>
                </c:pt>
                <c:pt idx="119">
                  <c:v>#N/A</c:v>
                </c:pt>
                <c:pt idx="120">
                  <c:v>#N/A</c:v>
                </c:pt>
                <c:pt idx="121">
                  <c:v>#N/A</c:v>
                </c:pt>
                <c:pt idx="122">
                  <c:v>#N/A</c:v>
                </c:pt>
                <c:pt idx="123">
                  <c:v>#N/A</c:v>
                </c:pt>
                <c:pt idx="124">
                  <c:v>255</c:v>
                </c:pt>
                <c:pt idx="125">
                  <c:v>80</c:v>
                </c:pt>
                <c:pt idx="126">
                  <c:v>#N/A</c:v>
                </c:pt>
                <c:pt idx="127">
                  <c:v>#N/A</c:v>
                </c:pt>
                <c:pt idx="128">
                  <c:v>-180</c:v>
                </c:pt>
                <c:pt idx="129">
                  <c:v>-110</c:v>
                </c:pt>
                <c:pt idx="130">
                  <c:v>360</c:v>
                </c:pt>
                <c:pt idx="131">
                  <c:v>440</c:v>
                </c:pt>
                <c:pt idx="132">
                  <c:v>670</c:v>
                </c:pt>
                <c:pt idx="133">
                  <c:v>#N/A</c:v>
                </c:pt>
                <c:pt idx="134">
                  <c:v>#N/A</c:v>
                </c:pt>
                <c:pt idx="135">
                  <c:v>620</c:v>
                </c:pt>
                <c:pt idx="136">
                  <c:v>625</c:v>
                </c:pt>
                <c:pt idx="137">
                  <c:v>700</c:v>
                </c:pt>
                <c:pt idx="138">
                  <c:v>670</c:v>
                </c:pt>
                <c:pt idx="139">
                  <c:v>845</c:v>
                </c:pt>
                <c:pt idx="140">
                  <c:v>#N/A</c:v>
                </c:pt>
                <c:pt idx="141">
                  <c:v>#N/A</c:v>
                </c:pt>
                <c:pt idx="142">
                  <c:v>1015</c:v>
                </c:pt>
                <c:pt idx="143">
                  <c:v>710</c:v>
                </c:pt>
                <c:pt idx="144">
                  <c:v>570</c:v>
                </c:pt>
                <c:pt idx="145">
                  <c:v>935</c:v>
                </c:pt>
                <c:pt idx="146">
                  <c:v>640</c:v>
                </c:pt>
                <c:pt idx="147">
                  <c:v>#N/A</c:v>
                </c:pt>
                <c:pt idx="148">
                  <c:v>#N/A</c:v>
                </c:pt>
                <c:pt idx="149">
                  <c:v>560</c:v>
                </c:pt>
                <c:pt idx="150">
                  <c:v>575</c:v>
                </c:pt>
                <c:pt idx="151">
                  <c:v>650</c:v>
                </c:pt>
                <c:pt idx="152">
                  <c:v>500</c:v>
                </c:pt>
                <c:pt idx="153">
                  <c:v>270</c:v>
                </c:pt>
                <c:pt idx="154">
                  <c:v>#N/A</c:v>
                </c:pt>
                <c:pt idx="155">
                  <c:v>#N/A</c:v>
                </c:pt>
                <c:pt idx="156">
                  <c:v>450</c:v>
                </c:pt>
                <c:pt idx="157">
                  <c:v>515</c:v>
                </c:pt>
                <c:pt idx="158">
                  <c:v>800</c:v>
                </c:pt>
                <c:pt idx="159">
                  <c:v>720</c:v>
                </c:pt>
                <c:pt idx="160">
                  <c:v>695</c:v>
                </c:pt>
                <c:pt idx="161">
                  <c:v>#N/A</c:v>
                </c:pt>
                <c:pt idx="162">
                  <c:v>#N/A</c:v>
                </c:pt>
                <c:pt idx="163">
                  <c:v>880</c:v>
                </c:pt>
                <c:pt idx="164">
                  <c:v>820</c:v>
                </c:pt>
                <c:pt idx="165">
                  <c:v>585</c:v>
                </c:pt>
                <c:pt idx="166">
                  <c:v>705</c:v>
                </c:pt>
                <c:pt idx="167">
                  <c:v>560</c:v>
                </c:pt>
                <c:pt idx="168">
                  <c:v>#N/A</c:v>
                </c:pt>
                <c:pt idx="169">
                  <c:v>#N/A</c:v>
                </c:pt>
                <c:pt idx="170">
                  <c:v>-155</c:v>
                </c:pt>
                <c:pt idx="171">
                  <c:v>-630</c:v>
                </c:pt>
                <c:pt idx="172">
                  <c:v>-45</c:v>
                </c:pt>
                <c:pt idx="173">
                  <c:v>#N/A</c:v>
                </c:pt>
                <c:pt idx="174">
                  <c:v>#N/A</c:v>
                </c:pt>
                <c:pt idx="175">
                  <c:v>#N/A</c:v>
                </c:pt>
                <c:pt idx="176">
                  <c:v>#N/A</c:v>
                </c:pt>
                <c:pt idx="177">
                  <c:v>80</c:v>
                </c:pt>
                <c:pt idx="178">
                  <c:v>10</c:v>
                </c:pt>
                <c:pt idx="179">
                  <c:v>-5</c:v>
                </c:pt>
                <c:pt idx="180">
                  <c:v>-225</c:v>
                </c:pt>
                <c:pt idx="181">
                  <c:v>-170</c:v>
                </c:pt>
                <c:pt idx="182">
                  <c:v>#N/A</c:v>
                </c:pt>
                <c:pt idx="183">
                  <c:v>#N/A</c:v>
                </c:pt>
                <c:pt idx="184">
                  <c:v>-215</c:v>
                </c:pt>
                <c:pt idx="185">
                  <c:v>-90</c:v>
                </c:pt>
                <c:pt idx="186">
                  <c:v>60</c:v>
                </c:pt>
                <c:pt idx="187">
                  <c:v>-5</c:v>
                </c:pt>
                <c:pt idx="188">
                  <c:v>-10</c:v>
                </c:pt>
                <c:pt idx="189">
                  <c:v>#N/A</c:v>
                </c:pt>
                <c:pt idx="190">
                  <c:v>#N/A</c:v>
                </c:pt>
                <c:pt idx="191">
                  <c:v>-120</c:v>
                </c:pt>
                <c:pt idx="192">
                  <c:v>-215</c:v>
                </c:pt>
                <c:pt idx="193">
                  <c:v>-750</c:v>
                </c:pt>
                <c:pt idx="194">
                  <c:v>-730</c:v>
                </c:pt>
                <c:pt idx="195">
                  <c:v>-800</c:v>
                </c:pt>
                <c:pt idx="196">
                  <c:v>#N/A</c:v>
                </c:pt>
                <c:pt idx="197">
                  <c:v>#N/A</c:v>
                </c:pt>
                <c:pt idx="198">
                  <c:v>-420</c:v>
                </c:pt>
                <c:pt idx="199">
                  <c:v>-490</c:v>
                </c:pt>
                <c:pt idx="200">
                  <c:v>-645</c:v>
                </c:pt>
                <c:pt idx="201">
                  <c:v>-780</c:v>
                </c:pt>
                <c:pt idx="202">
                  <c:v>-530</c:v>
                </c:pt>
                <c:pt idx="203">
                  <c:v>#N/A</c:v>
                </c:pt>
                <c:pt idx="204">
                  <c:v>#N/A</c:v>
                </c:pt>
                <c:pt idx="205">
                  <c:v>-585</c:v>
                </c:pt>
                <c:pt idx="206">
                  <c:v>-705</c:v>
                </c:pt>
                <c:pt idx="207">
                  <c:v>-785</c:v>
                </c:pt>
                <c:pt idx="208">
                  <c:v>-740</c:v>
                </c:pt>
                <c:pt idx="209">
                  <c:v>-780</c:v>
                </c:pt>
                <c:pt idx="210">
                  <c:v>#N/A</c:v>
                </c:pt>
                <c:pt idx="211">
                  <c:v>#N/A</c:v>
                </c:pt>
                <c:pt idx="212">
                  <c:v>-905</c:v>
                </c:pt>
                <c:pt idx="213">
                  <c:v>-945</c:v>
                </c:pt>
                <c:pt idx="214">
                  <c:v>-1075</c:v>
                </c:pt>
                <c:pt idx="215">
                  <c:v>-525</c:v>
                </c:pt>
                <c:pt idx="216">
                  <c:v>-530</c:v>
                </c:pt>
                <c:pt idx="217">
                  <c:v>#N/A</c:v>
                </c:pt>
                <c:pt idx="218">
                  <c:v>#N/A</c:v>
                </c:pt>
                <c:pt idx="219">
                  <c:v>-425</c:v>
                </c:pt>
                <c:pt idx="220">
                  <c:v>-380</c:v>
                </c:pt>
                <c:pt idx="221">
                  <c:v>-680</c:v>
                </c:pt>
                <c:pt idx="222">
                  <c:v>-370</c:v>
                </c:pt>
                <c:pt idx="223">
                  <c:v>-275</c:v>
                </c:pt>
                <c:pt idx="224">
                  <c:v>#N/A</c:v>
                </c:pt>
                <c:pt idx="225">
                  <c:v>#N/A</c:v>
                </c:pt>
                <c:pt idx="226">
                  <c:v>-105</c:v>
                </c:pt>
                <c:pt idx="227">
                  <c:v>-70</c:v>
                </c:pt>
                <c:pt idx="228">
                  <c:v>105</c:v>
                </c:pt>
                <c:pt idx="229">
                  <c:v>55</c:v>
                </c:pt>
                <c:pt idx="230">
                  <c:v>60</c:v>
                </c:pt>
                <c:pt idx="231">
                  <c:v>#N/A</c:v>
                </c:pt>
                <c:pt idx="232">
                  <c:v>#N/A</c:v>
                </c:pt>
                <c:pt idx="233">
                  <c:v>20</c:v>
                </c:pt>
                <c:pt idx="234">
                  <c:v>-15</c:v>
                </c:pt>
                <c:pt idx="235">
                  <c:v>40</c:v>
                </c:pt>
                <c:pt idx="236">
                  <c:v>95</c:v>
                </c:pt>
                <c:pt idx="237">
                  <c:v>80</c:v>
                </c:pt>
                <c:pt idx="238">
                  <c:v>#N/A</c:v>
                </c:pt>
                <c:pt idx="239">
                  <c:v>#N/A</c:v>
                </c:pt>
                <c:pt idx="240">
                  <c:v>610</c:v>
                </c:pt>
                <c:pt idx="241">
                  <c:v>490</c:v>
                </c:pt>
                <c:pt idx="242">
                  <c:v>465</c:v>
                </c:pt>
                <c:pt idx="243">
                  <c:v>440</c:v>
                </c:pt>
                <c:pt idx="244">
                  <c:v>170</c:v>
                </c:pt>
                <c:pt idx="245">
                  <c:v>#N/A</c:v>
                </c:pt>
                <c:pt idx="246">
                  <c:v>#N/A</c:v>
                </c:pt>
                <c:pt idx="247">
                  <c:v>215</c:v>
                </c:pt>
                <c:pt idx="248">
                  <c:v>310</c:v>
                </c:pt>
                <c:pt idx="249">
                  <c:v>210</c:v>
                </c:pt>
                <c:pt idx="250">
                  <c:v>425</c:v>
                </c:pt>
                <c:pt idx="251">
                  <c:v>310</c:v>
                </c:pt>
                <c:pt idx="252">
                  <c:v>#N/A</c:v>
                </c:pt>
                <c:pt idx="253">
                  <c:v>#N/A</c:v>
                </c:pt>
                <c:pt idx="254">
                  <c:v>135</c:v>
                </c:pt>
                <c:pt idx="255">
                  <c:v>265</c:v>
                </c:pt>
                <c:pt idx="256">
                  <c:v>560</c:v>
                </c:pt>
                <c:pt idx="257">
                  <c:v>410</c:v>
                </c:pt>
                <c:pt idx="258">
                  <c:v>275</c:v>
                </c:pt>
                <c:pt idx="259">
                  <c:v>#N/A</c:v>
                </c:pt>
                <c:pt idx="260">
                  <c:v>#N/A</c:v>
                </c:pt>
                <c:pt idx="261">
                  <c:v>155</c:v>
                </c:pt>
                <c:pt idx="262">
                  <c:v>490</c:v>
                </c:pt>
                <c:pt idx="263">
                  <c:v>340</c:v>
                </c:pt>
                <c:pt idx="264">
                  <c:v>715</c:v>
                </c:pt>
                <c:pt idx="265">
                  <c:v>700</c:v>
                </c:pt>
                <c:pt idx="266">
                  <c:v>#N/A</c:v>
                </c:pt>
                <c:pt idx="267">
                  <c:v>#N/A</c:v>
                </c:pt>
                <c:pt idx="268">
                  <c:v>870</c:v>
                </c:pt>
                <c:pt idx="269">
                  <c:v>875</c:v>
                </c:pt>
                <c:pt idx="270">
                  <c:v>1205</c:v>
                </c:pt>
                <c:pt idx="271">
                  <c:v>1440</c:v>
                </c:pt>
                <c:pt idx="272">
                  <c:v>#N/A</c:v>
                </c:pt>
                <c:pt idx="273">
                  <c:v>#N/A</c:v>
                </c:pt>
                <c:pt idx="274">
                  <c:v>#N/A</c:v>
                </c:pt>
                <c:pt idx="275">
                  <c:v>#N/A</c:v>
                </c:pt>
                <c:pt idx="276">
                  <c:v>#N/A</c:v>
                </c:pt>
                <c:pt idx="277">
                  <c:v>#N/A</c:v>
                </c:pt>
                <c:pt idx="278">
                  <c:v>#N/A</c:v>
                </c:pt>
                <c:pt idx="279">
                  <c:v>#N/A</c:v>
                </c:pt>
                <c:pt idx="280">
                  <c:v>#N/A</c:v>
                </c:pt>
                <c:pt idx="281">
                  <c:v>#N/A</c:v>
                </c:pt>
                <c:pt idx="282">
                  <c:v>1245</c:v>
                </c:pt>
                <c:pt idx="283">
                  <c:v>1135</c:v>
                </c:pt>
                <c:pt idx="284">
                  <c:v>1210</c:v>
                </c:pt>
                <c:pt idx="285">
                  <c:v>1190</c:v>
                </c:pt>
                <c:pt idx="286">
                  <c:v>1500</c:v>
                </c:pt>
                <c:pt idx="287">
                  <c:v>#N/A</c:v>
                </c:pt>
                <c:pt idx="288">
                  <c:v>#N/A</c:v>
                </c:pt>
                <c:pt idx="289">
                  <c:v>1790</c:v>
                </c:pt>
                <c:pt idx="290">
                  <c:v>1730</c:v>
                </c:pt>
                <c:pt idx="291">
                  <c:v>1565</c:v>
                </c:pt>
                <c:pt idx="292">
                  <c:v>1480</c:v>
                </c:pt>
                <c:pt idx="293">
                  <c:v>1525</c:v>
                </c:pt>
                <c:pt idx="294">
                  <c:v>#N/A</c:v>
                </c:pt>
                <c:pt idx="295">
                  <c:v>#N/A</c:v>
                </c:pt>
                <c:pt idx="296">
                  <c:v>1525</c:v>
                </c:pt>
                <c:pt idx="297">
                  <c:v>1595</c:v>
                </c:pt>
                <c:pt idx="298">
                  <c:v>1650</c:v>
                </c:pt>
                <c:pt idx="299">
                  <c:v>1930</c:v>
                </c:pt>
                <c:pt idx="300">
                  <c:v>2030</c:v>
                </c:pt>
                <c:pt idx="301">
                  <c:v>#N/A</c:v>
                </c:pt>
                <c:pt idx="302">
                  <c:v>#N/A</c:v>
                </c:pt>
                <c:pt idx="303">
                  <c:v>1815</c:v>
                </c:pt>
                <c:pt idx="304">
                  <c:v>1870</c:v>
                </c:pt>
                <c:pt idx="305">
                  <c:v>1980</c:v>
                </c:pt>
                <c:pt idx="306">
                  <c:v>1890</c:v>
                </c:pt>
                <c:pt idx="307">
                  <c:v>1795</c:v>
                </c:pt>
                <c:pt idx="308">
                  <c:v>#N/A</c:v>
                </c:pt>
                <c:pt idx="309">
                  <c:v>#N/A</c:v>
                </c:pt>
                <c:pt idx="310">
                  <c:v>1630</c:v>
                </c:pt>
                <c:pt idx="311">
                  <c:v>1650</c:v>
                </c:pt>
                <c:pt idx="312">
                  <c:v>1605</c:v>
                </c:pt>
                <c:pt idx="313">
                  <c:v>1600</c:v>
                </c:pt>
                <c:pt idx="314">
                  <c:v>1550</c:v>
                </c:pt>
                <c:pt idx="315">
                  <c:v>#N/A</c:v>
                </c:pt>
                <c:pt idx="316">
                  <c:v>#N/A</c:v>
                </c:pt>
                <c:pt idx="317">
                  <c:v>1570</c:v>
                </c:pt>
                <c:pt idx="318">
                  <c:v>1480</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1-58A7-4CDB-83C9-5880BD57CC25}"/>
            </c:ext>
          </c:extLst>
        </c:ser>
        <c:ser>
          <c:idx val="2"/>
          <c:order val="2"/>
          <c:tx>
            <c:strRef>
              <c:f>主力合约SMM基差!$AG$4</c:f>
              <c:strCache>
                <c:ptCount val="1"/>
                <c:pt idx="0">
                  <c:v>2024</c:v>
                </c:pt>
              </c:strCache>
            </c:strRef>
          </c:tx>
          <c:spPr>
            <a:ln w="28575" cap="rnd">
              <a:solidFill>
                <a:schemeClr val="tx1"/>
              </a:solidFill>
              <a:round/>
            </a:ln>
            <a:effectLst/>
          </c:spPr>
          <c:marker>
            <c:symbol val="none"/>
          </c:marker>
          <c:cat>
            <c:strRef>
              <c:f>主力合约SMM基差!$AD$5:$AD$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AG$5:$AG$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1095</c:v>
                </c:pt>
                <c:pt idx="75">
                  <c:v>#N/A</c:v>
                </c:pt>
                <c:pt idx="76">
                  <c:v>#N/A</c:v>
                </c:pt>
                <c:pt idx="77">
                  <c:v>1265</c:v>
                </c:pt>
                <c:pt idx="78">
                  <c:v>1195</c:v>
                </c:pt>
                <c:pt idx="79">
                  <c:v>1120</c:v>
                </c:pt>
                <c:pt idx="80">
                  <c:v>1100</c:v>
                </c:pt>
                <c:pt idx="81">
                  <c:v>1190</c:v>
                </c:pt>
                <c:pt idx="82">
                  <c:v>#N/A</c:v>
                </c:pt>
                <c:pt idx="83">
                  <c:v>#N/A</c:v>
                </c:pt>
                <c:pt idx="84">
                  <c:v>1225</c:v>
                </c:pt>
                <c:pt idx="85">
                  <c:v>1175</c:v>
                </c:pt>
                <c:pt idx="86">
                  <c:v>1305</c:v>
                </c:pt>
                <c:pt idx="87">
                  <c:v>1275</c:v>
                </c:pt>
                <c:pt idx="88">
                  <c:v>1355</c:v>
                </c:pt>
                <c:pt idx="89">
                  <c:v>#N/A</c:v>
                </c:pt>
                <c:pt idx="90">
                  <c:v>#N/A</c:v>
                </c:pt>
                <c:pt idx="91">
                  <c:v>1240</c:v>
                </c:pt>
                <c:pt idx="92">
                  <c:v>1090</c:v>
                </c:pt>
                <c:pt idx="93">
                  <c:v>1060</c:v>
                </c:pt>
                <c:pt idx="94">
                  <c:v>#N/A</c:v>
                </c:pt>
                <c:pt idx="95">
                  <c:v>#N/A</c:v>
                </c:pt>
                <c:pt idx="96">
                  <c:v>#N/A</c:v>
                </c:pt>
                <c:pt idx="97">
                  <c:v>#N/A</c:v>
                </c:pt>
                <c:pt idx="98">
                  <c:v>935</c:v>
                </c:pt>
                <c:pt idx="99">
                  <c:v>785</c:v>
                </c:pt>
                <c:pt idx="100">
                  <c:v>810</c:v>
                </c:pt>
                <c:pt idx="101">
                  <c:v>865</c:v>
                </c:pt>
                <c:pt idx="102">
                  <c:v>850</c:v>
                </c:pt>
                <c:pt idx="103">
                  <c:v>#N/A</c:v>
                </c:pt>
                <c:pt idx="104">
                  <c:v>#N/A</c:v>
                </c:pt>
                <c:pt idx="105">
                  <c:v>835</c:v>
                </c:pt>
                <c:pt idx="106">
                  <c:v>1065</c:v>
                </c:pt>
                <c:pt idx="107">
                  <c:v>1265</c:v>
                </c:pt>
                <c:pt idx="108">
                  <c:v>1335</c:v>
                </c:pt>
                <c:pt idx="109">
                  <c:v>1415</c:v>
                </c:pt>
                <c:pt idx="110">
                  <c:v>#N/A</c:v>
                </c:pt>
                <c:pt idx="111">
                  <c:v>#N/A</c:v>
                </c:pt>
                <c:pt idx="112">
                  <c:v>1270</c:v>
                </c:pt>
                <c:pt idx="113">
                  <c:v>1250</c:v>
                </c:pt>
                <c:pt idx="114">
                  <c:v>1170</c:v>
                </c:pt>
                <c:pt idx="115">
                  <c:v>1220</c:v>
                </c:pt>
                <c:pt idx="116">
                  <c:v>1195</c:v>
                </c:pt>
                <c:pt idx="117">
                  <c:v>#N/A</c:v>
                </c:pt>
                <c:pt idx="118">
                  <c:v>#N/A</c:v>
                </c:pt>
                <c:pt idx="119">
                  <c:v>1015</c:v>
                </c:pt>
                <c:pt idx="120">
                  <c:v>1010</c:v>
                </c:pt>
                <c:pt idx="121">
                  <c:v>#N/A</c:v>
                </c:pt>
                <c:pt idx="122">
                  <c:v>#N/A</c:v>
                </c:pt>
                <c:pt idx="123">
                  <c:v>#N/A</c:v>
                </c:pt>
                <c:pt idx="124">
                  <c:v>#N/A</c:v>
                </c:pt>
                <c:pt idx="125">
                  <c:v>#N/A</c:v>
                </c:pt>
                <c:pt idx="126">
                  <c:v>990</c:v>
                </c:pt>
                <c:pt idx="127">
                  <c:v>1010</c:v>
                </c:pt>
                <c:pt idx="128">
                  <c:v>1065</c:v>
                </c:pt>
                <c:pt idx="129">
                  <c:v>935</c:v>
                </c:pt>
                <c:pt idx="130">
                  <c:v>1035</c:v>
                </c:pt>
                <c:pt idx="131">
                  <c:v>#N/A</c:v>
                </c:pt>
                <c:pt idx="132">
                  <c:v>#N/A</c:v>
                </c:pt>
                <c:pt idx="133">
                  <c:v>985</c:v>
                </c:pt>
                <c:pt idx="134">
                  <c:v>1185</c:v>
                </c:pt>
                <c:pt idx="135">
                  <c:v>1250</c:v>
                </c:pt>
                <c:pt idx="136">
                  <c:v>1185</c:v>
                </c:pt>
                <c:pt idx="137">
                  <c:v>1030</c:v>
                </c:pt>
                <c:pt idx="138">
                  <c:v>#N/A</c:v>
                </c:pt>
                <c:pt idx="139">
                  <c:v>#N/A</c:v>
                </c:pt>
                <c:pt idx="140">
                  <c:v>890</c:v>
                </c:pt>
                <c:pt idx="141">
                  <c:v>540</c:v>
                </c:pt>
                <c:pt idx="142">
                  <c:v>475</c:v>
                </c:pt>
                <c:pt idx="143">
                  <c:v>595</c:v>
                </c:pt>
                <c:pt idx="144">
                  <c:v>70</c:v>
                </c:pt>
                <c:pt idx="145">
                  <c:v>#N/A</c:v>
                </c:pt>
                <c:pt idx="146">
                  <c:v>#N/A</c:v>
                </c:pt>
                <c:pt idx="147">
                  <c:v>95</c:v>
                </c:pt>
                <c:pt idx="148">
                  <c:v>340</c:v>
                </c:pt>
                <c:pt idx="149">
                  <c:v>520</c:v>
                </c:pt>
                <c:pt idx="150">
                  <c:v>-35</c:v>
                </c:pt>
                <c:pt idx="151">
                  <c:v>160</c:v>
                </c:pt>
                <c:pt idx="152">
                  <c:v>#N/A</c:v>
                </c:pt>
                <c:pt idx="153">
                  <c:v>#N/A</c:v>
                </c:pt>
                <c:pt idx="154">
                  <c:v>610</c:v>
                </c:pt>
                <c:pt idx="155">
                  <c:v>475</c:v>
                </c:pt>
                <c:pt idx="156">
                  <c:v>580</c:v>
                </c:pt>
                <c:pt idx="157">
                  <c:v>495</c:v>
                </c:pt>
                <c:pt idx="158">
                  <c:v>660</c:v>
                </c:pt>
                <c:pt idx="159">
                  <c:v>#N/A</c:v>
                </c:pt>
                <c:pt idx="160">
                  <c:v>#N/A</c:v>
                </c:pt>
                <c:pt idx="161">
                  <c:v>#N/A</c:v>
                </c:pt>
                <c:pt idx="162">
                  <c:v>830</c:v>
                </c:pt>
                <c:pt idx="163">
                  <c:v>775</c:v>
                </c:pt>
                <c:pt idx="164">
                  <c:v>815</c:v>
                </c:pt>
                <c:pt idx="165">
                  <c:v>800</c:v>
                </c:pt>
                <c:pt idx="166">
                  <c:v>#N/A</c:v>
                </c:pt>
                <c:pt idx="167">
                  <c:v>#N/A</c:v>
                </c:pt>
                <c:pt idx="168">
                  <c:v>810</c:v>
                </c:pt>
                <c:pt idx="169">
                  <c:v>960</c:v>
                </c:pt>
                <c:pt idx="170">
                  <c:v>890</c:v>
                </c:pt>
                <c:pt idx="171">
                  <c:v>865</c:v>
                </c:pt>
                <c:pt idx="172">
                  <c:v>935</c:v>
                </c:pt>
                <c:pt idx="173">
                  <c:v>#N/A</c:v>
                </c:pt>
                <c:pt idx="174">
                  <c:v>#N/A</c:v>
                </c:pt>
                <c:pt idx="175">
                  <c:v>1475</c:v>
                </c:pt>
                <c:pt idx="176">
                  <c:v>1540</c:v>
                </c:pt>
                <c:pt idx="177">
                  <c:v>1210</c:v>
                </c:pt>
                <c:pt idx="178">
                  <c:v>1225</c:v>
                </c:pt>
                <c:pt idx="179">
                  <c:v>1165</c:v>
                </c:pt>
                <c:pt idx="180">
                  <c:v>#N/A</c:v>
                </c:pt>
                <c:pt idx="181">
                  <c:v>#N/A</c:v>
                </c:pt>
                <c:pt idx="182">
                  <c:v>1095</c:v>
                </c:pt>
                <c:pt idx="183">
                  <c:v>1070</c:v>
                </c:pt>
                <c:pt idx="184">
                  <c:v>1015</c:v>
                </c:pt>
                <c:pt idx="185">
                  <c:v>1100</c:v>
                </c:pt>
                <c:pt idx="186">
                  <c:v>118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2-58A7-4CDB-83C9-5880BD57CC25}"/>
            </c:ext>
          </c:extLst>
        </c:ser>
        <c:dLbls>
          <c:showLegendKey val="0"/>
          <c:showVal val="0"/>
          <c:showCatName val="0"/>
          <c:showSerName val="0"/>
          <c:showPercent val="0"/>
          <c:showBubbleSize val="0"/>
        </c:dLbls>
        <c:smooth val="0"/>
        <c:axId val="1427815216"/>
        <c:axId val="1565889296"/>
      </c:lineChart>
      <c:catAx>
        <c:axId val="142781521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1565889296"/>
        <c:crosses val="autoZero"/>
        <c:auto val="1"/>
        <c:lblAlgn val="ctr"/>
        <c:lblOffset val="100"/>
        <c:noMultiLvlLbl val="0"/>
      </c:catAx>
      <c:valAx>
        <c:axId val="1565889296"/>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1427815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ea"/>
          <a:ea typeface="+mn-ea"/>
        </a:defRPr>
      </a:pPr>
      <a:endParaRPr lang="zh-CN"/>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套利价差!$GA$3</c:f>
          <c:strCache>
            <c:ptCount val="1"/>
            <c:pt idx="0">
              <c:v>07-08价差</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ea"/>
              <a:ea typeface="+mn-ea"/>
              <a:cs typeface="+mn-cs"/>
            </a:defRPr>
          </a:pPr>
          <a:endParaRPr lang="zh-CN"/>
        </a:p>
      </c:txPr>
    </c:title>
    <c:autoTitleDeleted val="0"/>
    <c:plotArea>
      <c:layout/>
      <c:lineChart>
        <c:grouping val="standard"/>
        <c:varyColors val="0"/>
        <c:ser>
          <c:idx val="0"/>
          <c:order val="0"/>
          <c:tx>
            <c:strRef>
              <c:f>套利价差!$GA$4</c:f>
              <c:strCache>
                <c:ptCount val="1"/>
                <c:pt idx="0">
                  <c:v>2022</c:v>
                </c:pt>
              </c:strCache>
            </c:strRef>
          </c:tx>
          <c:spPr>
            <a:ln w="28575" cap="rnd">
              <a:solidFill>
                <a:schemeClr val="accent1"/>
              </a:solidFill>
              <a:round/>
            </a:ln>
            <a:effectLst/>
          </c:spPr>
          <c:marker>
            <c:symbol val="none"/>
          </c:marker>
          <c:cat>
            <c:strRef>
              <c:f>套利价差!$FZ$5:$FZ$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GA$5:$GA$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0-A593-406B-9725-4245AF8E18AF}"/>
            </c:ext>
          </c:extLst>
        </c:ser>
        <c:ser>
          <c:idx val="1"/>
          <c:order val="1"/>
          <c:tx>
            <c:strRef>
              <c:f>套利价差!$GB$4</c:f>
              <c:strCache>
                <c:ptCount val="1"/>
                <c:pt idx="0">
                  <c:v>2023</c:v>
                </c:pt>
              </c:strCache>
            </c:strRef>
          </c:tx>
          <c:spPr>
            <a:ln w="19050" cap="rnd">
              <a:solidFill>
                <a:schemeClr val="accent4">
                  <a:lumMod val="60000"/>
                  <a:lumOff val="40000"/>
                </a:schemeClr>
              </a:solidFill>
              <a:round/>
            </a:ln>
            <a:effectLst/>
          </c:spPr>
          <c:marker>
            <c:symbol val="none"/>
          </c:marker>
          <c:cat>
            <c:strRef>
              <c:f>套利价差!$FZ$5:$FZ$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GB$5:$GB$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175</c:v>
                </c:pt>
                <c:pt idx="350">
                  <c:v>#N/A</c:v>
                </c:pt>
                <c:pt idx="351">
                  <c:v>#N/A</c:v>
                </c:pt>
                <c:pt idx="352">
                  <c:v>-110</c:v>
                </c:pt>
                <c:pt idx="353">
                  <c:v>-65</c:v>
                </c:pt>
                <c:pt idx="354">
                  <c:v>45</c:v>
                </c:pt>
                <c:pt idx="355">
                  <c:v>55</c:v>
                </c:pt>
                <c:pt idx="356">
                  <c:v>85</c:v>
                </c:pt>
                <c:pt idx="357">
                  <c:v>#N/A</c:v>
                </c:pt>
                <c:pt idx="358">
                  <c:v>#N/A</c:v>
                </c:pt>
                <c:pt idx="359">
                  <c:v>100</c:v>
                </c:pt>
                <c:pt idx="360">
                  <c:v>-85</c:v>
                </c:pt>
                <c:pt idx="361">
                  <c:v>30</c:v>
                </c:pt>
                <c:pt idx="362">
                  <c:v>-10</c:v>
                </c:pt>
                <c:pt idx="363">
                  <c:v>45</c:v>
                </c:pt>
                <c:pt idx="364">
                  <c:v>#N/A</c:v>
                </c:pt>
                <c:pt idx="365">
                  <c:v>#N/A</c:v>
                </c:pt>
              </c:numCache>
            </c:numRef>
          </c:val>
          <c:smooth val="0"/>
          <c:extLst>
            <c:ext xmlns:c16="http://schemas.microsoft.com/office/drawing/2014/chart" uri="{C3380CC4-5D6E-409C-BE32-E72D297353CC}">
              <c16:uniqueId val="{00000001-A593-406B-9725-4245AF8E18AF}"/>
            </c:ext>
          </c:extLst>
        </c:ser>
        <c:ser>
          <c:idx val="2"/>
          <c:order val="2"/>
          <c:tx>
            <c:strRef>
              <c:f>套利价差!$GC$4</c:f>
              <c:strCache>
                <c:ptCount val="1"/>
                <c:pt idx="0">
                  <c:v>2024</c:v>
                </c:pt>
              </c:strCache>
            </c:strRef>
          </c:tx>
          <c:spPr>
            <a:ln w="28575" cap="rnd">
              <a:solidFill>
                <a:schemeClr val="tx1"/>
              </a:solidFill>
              <a:round/>
            </a:ln>
            <a:effectLst/>
          </c:spPr>
          <c:marker>
            <c:symbol val="none"/>
          </c:marker>
          <c:cat>
            <c:strRef>
              <c:f>套利价差!$FZ$5:$FZ$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GC$5:$GC$370</c:f>
              <c:numCache>
                <c:formatCode>#,##0.00_);[Red]\(#,##0.00\)</c:formatCode>
                <c:ptCount val="366"/>
                <c:pt idx="0">
                  <c:v>#N/A</c:v>
                </c:pt>
                <c:pt idx="1">
                  <c:v>-30</c:v>
                </c:pt>
                <c:pt idx="2">
                  <c:v>75</c:v>
                </c:pt>
                <c:pt idx="3">
                  <c:v>25</c:v>
                </c:pt>
                <c:pt idx="4">
                  <c:v>45</c:v>
                </c:pt>
                <c:pt idx="5">
                  <c:v>#N/A</c:v>
                </c:pt>
                <c:pt idx="6">
                  <c:v>#N/A</c:v>
                </c:pt>
                <c:pt idx="7">
                  <c:v>55</c:v>
                </c:pt>
                <c:pt idx="8">
                  <c:v>25</c:v>
                </c:pt>
                <c:pt idx="9">
                  <c:v>-15</c:v>
                </c:pt>
                <c:pt idx="10">
                  <c:v>35</c:v>
                </c:pt>
                <c:pt idx="11">
                  <c:v>35</c:v>
                </c:pt>
                <c:pt idx="12">
                  <c:v>#N/A</c:v>
                </c:pt>
                <c:pt idx="13">
                  <c:v>#N/A</c:v>
                </c:pt>
                <c:pt idx="14">
                  <c:v>-35</c:v>
                </c:pt>
                <c:pt idx="15">
                  <c:v>-20</c:v>
                </c:pt>
                <c:pt idx="16">
                  <c:v>-45</c:v>
                </c:pt>
                <c:pt idx="17">
                  <c:v>-75</c:v>
                </c:pt>
                <c:pt idx="18">
                  <c:v>-130</c:v>
                </c:pt>
                <c:pt idx="19">
                  <c:v>#N/A</c:v>
                </c:pt>
                <c:pt idx="20">
                  <c:v>#N/A</c:v>
                </c:pt>
                <c:pt idx="21">
                  <c:v>-35</c:v>
                </c:pt>
                <c:pt idx="22">
                  <c:v>-120</c:v>
                </c:pt>
                <c:pt idx="23">
                  <c:v>-80</c:v>
                </c:pt>
                <c:pt idx="24">
                  <c:v>-35</c:v>
                </c:pt>
                <c:pt idx="25">
                  <c:v>-25</c:v>
                </c:pt>
                <c:pt idx="26">
                  <c:v>#N/A</c:v>
                </c:pt>
                <c:pt idx="27">
                  <c:v>#N/A</c:v>
                </c:pt>
                <c:pt idx="28">
                  <c:v>-15</c:v>
                </c:pt>
                <c:pt idx="29">
                  <c:v>15</c:v>
                </c:pt>
                <c:pt idx="30">
                  <c:v>-15</c:v>
                </c:pt>
                <c:pt idx="31">
                  <c:v>-70</c:v>
                </c:pt>
                <c:pt idx="32">
                  <c:v>-75</c:v>
                </c:pt>
                <c:pt idx="33">
                  <c:v>#N/A</c:v>
                </c:pt>
                <c:pt idx="34">
                  <c:v>#N/A</c:v>
                </c:pt>
                <c:pt idx="35">
                  <c:v>-60</c:v>
                </c:pt>
                <c:pt idx="36">
                  <c:v>-50</c:v>
                </c:pt>
                <c:pt idx="37">
                  <c:v>-80</c:v>
                </c:pt>
                <c:pt idx="38">
                  <c:v>0</c:v>
                </c:pt>
                <c:pt idx="39">
                  <c:v>#N/A</c:v>
                </c:pt>
                <c:pt idx="40">
                  <c:v>#N/A</c:v>
                </c:pt>
                <c:pt idx="41">
                  <c:v>#N/A</c:v>
                </c:pt>
                <c:pt idx="42">
                  <c:v>#N/A</c:v>
                </c:pt>
                <c:pt idx="43">
                  <c:v>#N/A</c:v>
                </c:pt>
                <c:pt idx="44">
                  <c:v>#N/A</c:v>
                </c:pt>
                <c:pt idx="45">
                  <c:v>#N/A</c:v>
                </c:pt>
                <c:pt idx="46">
                  <c:v>#N/A</c:v>
                </c:pt>
                <c:pt idx="47">
                  <c:v>#N/A</c:v>
                </c:pt>
                <c:pt idx="48">
                  <c:v>#N/A</c:v>
                </c:pt>
                <c:pt idx="49">
                  <c:v>-40</c:v>
                </c:pt>
                <c:pt idx="50">
                  <c:v>5</c:v>
                </c:pt>
                <c:pt idx="51">
                  <c:v>-5</c:v>
                </c:pt>
                <c:pt idx="52">
                  <c:v>-15</c:v>
                </c:pt>
                <c:pt idx="53">
                  <c:v>-60</c:v>
                </c:pt>
                <c:pt idx="54">
                  <c:v>#N/A</c:v>
                </c:pt>
                <c:pt idx="55">
                  <c:v>#N/A</c:v>
                </c:pt>
                <c:pt idx="56">
                  <c:v>-45</c:v>
                </c:pt>
                <c:pt idx="57">
                  <c:v>-55</c:v>
                </c:pt>
                <c:pt idx="58">
                  <c:v>-35</c:v>
                </c:pt>
                <c:pt idx="59">
                  <c:v>-95</c:v>
                </c:pt>
                <c:pt idx="60">
                  <c:v>10</c:v>
                </c:pt>
                <c:pt idx="61">
                  <c:v>#N/A</c:v>
                </c:pt>
                <c:pt idx="62">
                  <c:v>#N/A</c:v>
                </c:pt>
                <c:pt idx="63">
                  <c:v>-60</c:v>
                </c:pt>
                <c:pt idx="64">
                  <c:v>-65</c:v>
                </c:pt>
                <c:pt idx="65">
                  <c:v>-50</c:v>
                </c:pt>
                <c:pt idx="66">
                  <c:v>-30</c:v>
                </c:pt>
                <c:pt idx="67">
                  <c:v>-70</c:v>
                </c:pt>
                <c:pt idx="68">
                  <c:v>#N/A</c:v>
                </c:pt>
                <c:pt idx="69">
                  <c:v>#N/A</c:v>
                </c:pt>
                <c:pt idx="70">
                  <c:v>-40</c:v>
                </c:pt>
                <c:pt idx="71">
                  <c:v>-60</c:v>
                </c:pt>
                <c:pt idx="72">
                  <c:v>0</c:v>
                </c:pt>
                <c:pt idx="73">
                  <c:v>-50</c:v>
                </c:pt>
                <c:pt idx="74">
                  <c:v>-35</c:v>
                </c:pt>
                <c:pt idx="75">
                  <c:v>#N/A</c:v>
                </c:pt>
                <c:pt idx="76">
                  <c:v>#N/A</c:v>
                </c:pt>
                <c:pt idx="77">
                  <c:v>-55</c:v>
                </c:pt>
                <c:pt idx="78">
                  <c:v>-10</c:v>
                </c:pt>
                <c:pt idx="79">
                  <c:v>-50</c:v>
                </c:pt>
                <c:pt idx="80">
                  <c:v>-55</c:v>
                </c:pt>
                <c:pt idx="81">
                  <c:v>0</c:v>
                </c:pt>
                <c:pt idx="82">
                  <c:v>#N/A</c:v>
                </c:pt>
                <c:pt idx="83">
                  <c:v>#N/A</c:v>
                </c:pt>
                <c:pt idx="84">
                  <c:v>40</c:v>
                </c:pt>
                <c:pt idx="85">
                  <c:v>-40</c:v>
                </c:pt>
                <c:pt idx="86">
                  <c:v>30</c:v>
                </c:pt>
                <c:pt idx="87">
                  <c:v>-45</c:v>
                </c:pt>
                <c:pt idx="88">
                  <c:v>50</c:v>
                </c:pt>
                <c:pt idx="89">
                  <c:v>#N/A</c:v>
                </c:pt>
                <c:pt idx="90">
                  <c:v>#N/A</c:v>
                </c:pt>
                <c:pt idx="91">
                  <c:v>-160</c:v>
                </c:pt>
                <c:pt idx="92">
                  <c:v>-90</c:v>
                </c:pt>
                <c:pt idx="93">
                  <c:v>-100</c:v>
                </c:pt>
                <c:pt idx="94">
                  <c:v>#N/A</c:v>
                </c:pt>
                <c:pt idx="95">
                  <c:v>#N/A</c:v>
                </c:pt>
                <c:pt idx="96">
                  <c:v>#N/A</c:v>
                </c:pt>
                <c:pt idx="97">
                  <c:v>#N/A</c:v>
                </c:pt>
                <c:pt idx="98">
                  <c:v>-95</c:v>
                </c:pt>
                <c:pt idx="99">
                  <c:v>-120</c:v>
                </c:pt>
                <c:pt idx="100">
                  <c:v>-30</c:v>
                </c:pt>
                <c:pt idx="101">
                  <c:v>-30</c:v>
                </c:pt>
                <c:pt idx="102">
                  <c:v>-135</c:v>
                </c:pt>
                <c:pt idx="103">
                  <c:v>#N/A</c:v>
                </c:pt>
                <c:pt idx="104">
                  <c:v>#N/A</c:v>
                </c:pt>
                <c:pt idx="105">
                  <c:v>-90</c:v>
                </c:pt>
                <c:pt idx="106">
                  <c:v>30</c:v>
                </c:pt>
                <c:pt idx="107">
                  <c:v>105</c:v>
                </c:pt>
                <c:pt idx="108">
                  <c:v>65</c:v>
                </c:pt>
                <c:pt idx="109">
                  <c:v>5</c:v>
                </c:pt>
                <c:pt idx="110">
                  <c:v>#N/A</c:v>
                </c:pt>
                <c:pt idx="111">
                  <c:v>#N/A</c:v>
                </c:pt>
                <c:pt idx="112">
                  <c:v>-110</c:v>
                </c:pt>
                <c:pt idx="113">
                  <c:v>-5</c:v>
                </c:pt>
                <c:pt idx="114">
                  <c:v>-65</c:v>
                </c:pt>
                <c:pt idx="115">
                  <c:v>-20</c:v>
                </c:pt>
                <c:pt idx="116">
                  <c:v>-130</c:v>
                </c:pt>
                <c:pt idx="117">
                  <c:v>#N/A</c:v>
                </c:pt>
                <c:pt idx="118">
                  <c:v>#N/A</c:v>
                </c:pt>
                <c:pt idx="119">
                  <c:v>-150</c:v>
                </c:pt>
                <c:pt idx="120">
                  <c:v>5</c:v>
                </c:pt>
                <c:pt idx="121">
                  <c:v>#N/A</c:v>
                </c:pt>
                <c:pt idx="122">
                  <c:v>#N/A</c:v>
                </c:pt>
                <c:pt idx="123">
                  <c:v>#N/A</c:v>
                </c:pt>
                <c:pt idx="124">
                  <c:v>#N/A</c:v>
                </c:pt>
                <c:pt idx="125">
                  <c:v>#N/A</c:v>
                </c:pt>
                <c:pt idx="126">
                  <c:v>-35</c:v>
                </c:pt>
                <c:pt idx="127">
                  <c:v>-35</c:v>
                </c:pt>
                <c:pt idx="128">
                  <c:v>-30</c:v>
                </c:pt>
                <c:pt idx="129">
                  <c:v>-45</c:v>
                </c:pt>
                <c:pt idx="130">
                  <c:v>0</c:v>
                </c:pt>
                <c:pt idx="131">
                  <c:v>#N/A</c:v>
                </c:pt>
                <c:pt idx="132">
                  <c:v>#N/A</c:v>
                </c:pt>
                <c:pt idx="133">
                  <c:v>-90</c:v>
                </c:pt>
                <c:pt idx="134">
                  <c:v>-20</c:v>
                </c:pt>
                <c:pt idx="135">
                  <c:v>-25</c:v>
                </c:pt>
                <c:pt idx="136">
                  <c:v>-65</c:v>
                </c:pt>
                <c:pt idx="137">
                  <c:v>-95</c:v>
                </c:pt>
                <c:pt idx="138">
                  <c:v>#N/A</c:v>
                </c:pt>
                <c:pt idx="139">
                  <c:v>#N/A</c:v>
                </c:pt>
                <c:pt idx="140">
                  <c:v>-115</c:v>
                </c:pt>
                <c:pt idx="141">
                  <c:v>-120</c:v>
                </c:pt>
                <c:pt idx="142">
                  <c:v>-85</c:v>
                </c:pt>
                <c:pt idx="143">
                  <c:v>-75</c:v>
                </c:pt>
                <c:pt idx="144">
                  <c:v>-190</c:v>
                </c:pt>
                <c:pt idx="145">
                  <c:v>#N/A</c:v>
                </c:pt>
                <c:pt idx="146">
                  <c:v>#N/A</c:v>
                </c:pt>
                <c:pt idx="147">
                  <c:v>-10</c:v>
                </c:pt>
                <c:pt idx="148">
                  <c:v>235</c:v>
                </c:pt>
                <c:pt idx="149">
                  <c:v>5</c:v>
                </c:pt>
                <c:pt idx="150">
                  <c:v>-150</c:v>
                </c:pt>
                <c:pt idx="151">
                  <c:v>15</c:v>
                </c:pt>
                <c:pt idx="152">
                  <c:v>#N/A</c:v>
                </c:pt>
                <c:pt idx="153">
                  <c:v>#N/A</c:v>
                </c:pt>
                <c:pt idx="154">
                  <c:v>115</c:v>
                </c:pt>
                <c:pt idx="155">
                  <c:v>-145</c:v>
                </c:pt>
                <c:pt idx="156">
                  <c:v>-50</c:v>
                </c:pt>
                <c:pt idx="157">
                  <c:v>-35</c:v>
                </c:pt>
                <c:pt idx="158">
                  <c:v>-35</c:v>
                </c:pt>
                <c:pt idx="159">
                  <c:v>#N/A</c:v>
                </c:pt>
                <c:pt idx="160">
                  <c:v>#N/A</c:v>
                </c:pt>
                <c:pt idx="161">
                  <c:v>#N/A</c:v>
                </c:pt>
                <c:pt idx="162">
                  <c:v>-45</c:v>
                </c:pt>
                <c:pt idx="163">
                  <c:v>-130</c:v>
                </c:pt>
                <c:pt idx="164">
                  <c:v>-190</c:v>
                </c:pt>
                <c:pt idx="165">
                  <c:v>-25</c:v>
                </c:pt>
                <c:pt idx="166">
                  <c:v>#N/A</c:v>
                </c:pt>
                <c:pt idx="167">
                  <c:v>#N/A</c:v>
                </c:pt>
                <c:pt idx="168">
                  <c:v>-80</c:v>
                </c:pt>
                <c:pt idx="169">
                  <c:v>55</c:v>
                </c:pt>
                <c:pt idx="170">
                  <c:v>-150</c:v>
                </c:pt>
                <c:pt idx="171">
                  <c:v>-60</c:v>
                </c:pt>
                <c:pt idx="172">
                  <c:v>-5</c:v>
                </c:pt>
                <c:pt idx="173">
                  <c:v>#N/A</c:v>
                </c:pt>
                <c:pt idx="174">
                  <c:v>#N/A</c:v>
                </c:pt>
                <c:pt idx="175">
                  <c:v>200</c:v>
                </c:pt>
                <c:pt idx="176">
                  <c:v>-145</c:v>
                </c:pt>
                <c:pt idx="177">
                  <c:v>-150</c:v>
                </c:pt>
                <c:pt idx="178">
                  <c:v>-75</c:v>
                </c:pt>
                <c:pt idx="179">
                  <c:v>-90</c:v>
                </c:pt>
                <c:pt idx="180">
                  <c:v>#N/A</c:v>
                </c:pt>
                <c:pt idx="181">
                  <c:v>#N/A</c:v>
                </c:pt>
                <c:pt idx="182">
                  <c:v>-140</c:v>
                </c:pt>
                <c:pt idx="183">
                  <c:v>-70</c:v>
                </c:pt>
                <c:pt idx="184">
                  <c:v>-60</c:v>
                </c:pt>
                <c:pt idx="185">
                  <c:v>25</c:v>
                </c:pt>
                <c:pt idx="186">
                  <c:v>7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2-A593-406B-9725-4245AF8E18AF}"/>
            </c:ext>
          </c:extLst>
        </c:ser>
        <c:dLbls>
          <c:showLegendKey val="0"/>
          <c:showVal val="0"/>
          <c:showCatName val="0"/>
          <c:showSerName val="0"/>
          <c:showPercent val="0"/>
          <c:showBubbleSize val="0"/>
        </c:dLbls>
        <c:smooth val="0"/>
        <c:axId val="1534123696"/>
        <c:axId val="1534117936"/>
      </c:lineChart>
      <c:catAx>
        <c:axId val="15341236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1534117936"/>
        <c:crosses val="autoZero"/>
        <c:auto val="1"/>
        <c:lblAlgn val="ctr"/>
        <c:lblOffset val="100"/>
        <c:noMultiLvlLbl val="0"/>
      </c:catAx>
      <c:valAx>
        <c:axId val="1534117936"/>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1534123696"/>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ea"/>
          <a:ea typeface="+mn-ea"/>
        </a:defRPr>
      </a:pPr>
      <a:endParaRPr lang="zh-CN"/>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套利价差!$GF$3</c:f>
          <c:strCache>
            <c:ptCount val="1"/>
            <c:pt idx="0">
              <c:v>07-09价差</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ea"/>
              <a:ea typeface="+mn-ea"/>
              <a:cs typeface="+mn-cs"/>
            </a:defRPr>
          </a:pPr>
          <a:endParaRPr lang="zh-CN"/>
        </a:p>
      </c:txPr>
    </c:title>
    <c:autoTitleDeleted val="0"/>
    <c:plotArea>
      <c:layout/>
      <c:lineChart>
        <c:grouping val="standard"/>
        <c:varyColors val="0"/>
        <c:ser>
          <c:idx val="0"/>
          <c:order val="0"/>
          <c:tx>
            <c:strRef>
              <c:f>套利价差!$GF$4</c:f>
              <c:strCache>
                <c:ptCount val="1"/>
                <c:pt idx="0">
                  <c:v>2022</c:v>
                </c:pt>
              </c:strCache>
            </c:strRef>
          </c:tx>
          <c:spPr>
            <a:ln w="28575" cap="rnd">
              <a:solidFill>
                <a:schemeClr val="accent1"/>
              </a:solidFill>
              <a:round/>
            </a:ln>
            <a:effectLst/>
          </c:spPr>
          <c:marker>
            <c:symbol val="none"/>
          </c:marker>
          <c:cat>
            <c:strRef>
              <c:f>套利价差!$GE$5:$GE$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GF$5:$GF$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0-27CF-4410-9BA4-4AB8E14E4AD2}"/>
            </c:ext>
          </c:extLst>
        </c:ser>
        <c:ser>
          <c:idx val="1"/>
          <c:order val="1"/>
          <c:tx>
            <c:strRef>
              <c:f>套利价差!$GG$4</c:f>
              <c:strCache>
                <c:ptCount val="1"/>
                <c:pt idx="0">
                  <c:v>2023</c:v>
                </c:pt>
              </c:strCache>
            </c:strRef>
          </c:tx>
          <c:spPr>
            <a:ln w="19050" cap="rnd">
              <a:solidFill>
                <a:schemeClr val="accent4">
                  <a:lumMod val="60000"/>
                  <a:lumOff val="40000"/>
                </a:schemeClr>
              </a:solidFill>
              <a:round/>
            </a:ln>
            <a:effectLst/>
          </c:spPr>
          <c:marker>
            <c:symbol val="none"/>
          </c:marker>
          <c:cat>
            <c:strRef>
              <c:f>套利价差!$GE$5:$GE$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GG$5:$GG$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1-27CF-4410-9BA4-4AB8E14E4AD2}"/>
            </c:ext>
          </c:extLst>
        </c:ser>
        <c:ser>
          <c:idx val="2"/>
          <c:order val="2"/>
          <c:tx>
            <c:strRef>
              <c:f>套利价差!$GH$4</c:f>
              <c:strCache>
                <c:ptCount val="1"/>
                <c:pt idx="0">
                  <c:v>2024</c:v>
                </c:pt>
              </c:strCache>
            </c:strRef>
          </c:tx>
          <c:spPr>
            <a:ln w="28575" cap="rnd">
              <a:solidFill>
                <a:schemeClr val="tx1"/>
              </a:solidFill>
              <a:round/>
            </a:ln>
            <a:effectLst/>
          </c:spPr>
          <c:marker>
            <c:symbol val="none"/>
          </c:marker>
          <c:cat>
            <c:strRef>
              <c:f>套利价差!$GE$5:$GE$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GH$5:$GH$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110</c:v>
                </c:pt>
                <c:pt idx="16">
                  <c:v>-20</c:v>
                </c:pt>
                <c:pt idx="17">
                  <c:v>-125</c:v>
                </c:pt>
                <c:pt idx="18">
                  <c:v>-190</c:v>
                </c:pt>
                <c:pt idx="19">
                  <c:v>#N/A</c:v>
                </c:pt>
                <c:pt idx="20">
                  <c:v>#N/A</c:v>
                </c:pt>
                <c:pt idx="21">
                  <c:v>-145</c:v>
                </c:pt>
                <c:pt idx="22">
                  <c:v>-185</c:v>
                </c:pt>
                <c:pt idx="23">
                  <c:v>-140</c:v>
                </c:pt>
                <c:pt idx="24">
                  <c:v>-80</c:v>
                </c:pt>
                <c:pt idx="25">
                  <c:v>-55</c:v>
                </c:pt>
                <c:pt idx="26">
                  <c:v>#N/A</c:v>
                </c:pt>
                <c:pt idx="27">
                  <c:v>#N/A</c:v>
                </c:pt>
                <c:pt idx="28">
                  <c:v>-95</c:v>
                </c:pt>
                <c:pt idx="29">
                  <c:v>-80</c:v>
                </c:pt>
                <c:pt idx="30">
                  <c:v>-15</c:v>
                </c:pt>
                <c:pt idx="31">
                  <c:v>-170</c:v>
                </c:pt>
                <c:pt idx="32">
                  <c:v>-125</c:v>
                </c:pt>
                <c:pt idx="33">
                  <c:v>#N/A</c:v>
                </c:pt>
                <c:pt idx="34">
                  <c:v>#N/A</c:v>
                </c:pt>
                <c:pt idx="35">
                  <c:v>-140</c:v>
                </c:pt>
                <c:pt idx="36">
                  <c:v>-75</c:v>
                </c:pt>
                <c:pt idx="37">
                  <c:v>-160</c:v>
                </c:pt>
                <c:pt idx="38">
                  <c:v>-45</c:v>
                </c:pt>
                <c:pt idx="39">
                  <c:v>#N/A</c:v>
                </c:pt>
                <c:pt idx="40">
                  <c:v>#N/A</c:v>
                </c:pt>
                <c:pt idx="41">
                  <c:v>#N/A</c:v>
                </c:pt>
                <c:pt idx="42">
                  <c:v>#N/A</c:v>
                </c:pt>
                <c:pt idx="43">
                  <c:v>#N/A</c:v>
                </c:pt>
                <c:pt idx="44">
                  <c:v>#N/A</c:v>
                </c:pt>
                <c:pt idx="45">
                  <c:v>#N/A</c:v>
                </c:pt>
                <c:pt idx="46">
                  <c:v>#N/A</c:v>
                </c:pt>
                <c:pt idx="47">
                  <c:v>#N/A</c:v>
                </c:pt>
                <c:pt idx="48">
                  <c:v>#N/A</c:v>
                </c:pt>
                <c:pt idx="49">
                  <c:v>-125</c:v>
                </c:pt>
                <c:pt idx="50">
                  <c:v>-55</c:v>
                </c:pt>
                <c:pt idx="51">
                  <c:v>-65</c:v>
                </c:pt>
                <c:pt idx="52">
                  <c:v>-90</c:v>
                </c:pt>
                <c:pt idx="53">
                  <c:v>-140</c:v>
                </c:pt>
                <c:pt idx="54">
                  <c:v>#N/A</c:v>
                </c:pt>
                <c:pt idx="55">
                  <c:v>#N/A</c:v>
                </c:pt>
                <c:pt idx="56">
                  <c:v>-95</c:v>
                </c:pt>
                <c:pt idx="57">
                  <c:v>-170</c:v>
                </c:pt>
                <c:pt idx="58">
                  <c:v>-90</c:v>
                </c:pt>
                <c:pt idx="59">
                  <c:v>-155</c:v>
                </c:pt>
                <c:pt idx="60">
                  <c:v>-75</c:v>
                </c:pt>
                <c:pt idx="61">
                  <c:v>#N/A</c:v>
                </c:pt>
                <c:pt idx="62">
                  <c:v>#N/A</c:v>
                </c:pt>
                <c:pt idx="63">
                  <c:v>-130</c:v>
                </c:pt>
                <c:pt idx="64">
                  <c:v>-155</c:v>
                </c:pt>
                <c:pt idx="65">
                  <c:v>-125</c:v>
                </c:pt>
                <c:pt idx="66">
                  <c:v>-120</c:v>
                </c:pt>
                <c:pt idx="67">
                  <c:v>-120</c:v>
                </c:pt>
                <c:pt idx="68">
                  <c:v>#N/A</c:v>
                </c:pt>
                <c:pt idx="69">
                  <c:v>#N/A</c:v>
                </c:pt>
                <c:pt idx="70">
                  <c:v>-70</c:v>
                </c:pt>
                <c:pt idx="71">
                  <c:v>-105</c:v>
                </c:pt>
                <c:pt idx="72">
                  <c:v>-80</c:v>
                </c:pt>
                <c:pt idx="73">
                  <c:v>-85</c:v>
                </c:pt>
                <c:pt idx="74">
                  <c:v>-100</c:v>
                </c:pt>
                <c:pt idx="75">
                  <c:v>#N/A</c:v>
                </c:pt>
                <c:pt idx="76">
                  <c:v>#N/A</c:v>
                </c:pt>
                <c:pt idx="77">
                  <c:v>-125</c:v>
                </c:pt>
                <c:pt idx="78">
                  <c:v>-105</c:v>
                </c:pt>
                <c:pt idx="79">
                  <c:v>-140</c:v>
                </c:pt>
                <c:pt idx="80">
                  <c:v>-110</c:v>
                </c:pt>
                <c:pt idx="81">
                  <c:v>-75</c:v>
                </c:pt>
                <c:pt idx="82">
                  <c:v>#N/A</c:v>
                </c:pt>
                <c:pt idx="83">
                  <c:v>#N/A</c:v>
                </c:pt>
                <c:pt idx="84">
                  <c:v>-60</c:v>
                </c:pt>
                <c:pt idx="85">
                  <c:v>-115</c:v>
                </c:pt>
                <c:pt idx="86">
                  <c:v>-50</c:v>
                </c:pt>
                <c:pt idx="87">
                  <c:v>-120</c:v>
                </c:pt>
                <c:pt idx="88">
                  <c:v>-35</c:v>
                </c:pt>
                <c:pt idx="89">
                  <c:v>#N/A</c:v>
                </c:pt>
                <c:pt idx="90">
                  <c:v>#N/A</c:v>
                </c:pt>
                <c:pt idx="91">
                  <c:v>-240</c:v>
                </c:pt>
                <c:pt idx="92">
                  <c:v>-180</c:v>
                </c:pt>
                <c:pt idx="93">
                  <c:v>-160</c:v>
                </c:pt>
                <c:pt idx="94">
                  <c:v>#N/A</c:v>
                </c:pt>
                <c:pt idx="95">
                  <c:v>#N/A</c:v>
                </c:pt>
                <c:pt idx="96">
                  <c:v>#N/A</c:v>
                </c:pt>
                <c:pt idx="97">
                  <c:v>#N/A</c:v>
                </c:pt>
                <c:pt idx="98">
                  <c:v>-180</c:v>
                </c:pt>
                <c:pt idx="99">
                  <c:v>-180</c:v>
                </c:pt>
                <c:pt idx="100">
                  <c:v>-110</c:v>
                </c:pt>
                <c:pt idx="101">
                  <c:v>-100</c:v>
                </c:pt>
                <c:pt idx="102">
                  <c:v>-205</c:v>
                </c:pt>
                <c:pt idx="103">
                  <c:v>#N/A</c:v>
                </c:pt>
                <c:pt idx="104">
                  <c:v>#N/A</c:v>
                </c:pt>
                <c:pt idx="105">
                  <c:v>-165</c:v>
                </c:pt>
                <c:pt idx="106">
                  <c:v>-30</c:v>
                </c:pt>
                <c:pt idx="107">
                  <c:v>20</c:v>
                </c:pt>
                <c:pt idx="108">
                  <c:v>5</c:v>
                </c:pt>
                <c:pt idx="109">
                  <c:v>-75</c:v>
                </c:pt>
                <c:pt idx="110">
                  <c:v>#N/A</c:v>
                </c:pt>
                <c:pt idx="111">
                  <c:v>#N/A</c:v>
                </c:pt>
                <c:pt idx="112">
                  <c:v>-195</c:v>
                </c:pt>
                <c:pt idx="113">
                  <c:v>-85</c:v>
                </c:pt>
                <c:pt idx="114">
                  <c:v>-130</c:v>
                </c:pt>
                <c:pt idx="115">
                  <c:v>-85</c:v>
                </c:pt>
                <c:pt idx="116">
                  <c:v>-200</c:v>
                </c:pt>
                <c:pt idx="117">
                  <c:v>#N/A</c:v>
                </c:pt>
                <c:pt idx="118">
                  <c:v>#N/A</c:v>
                </c:pt>
                <c:pt idx="119">
                  <c:v>-225</c:v>
                </c:pt>
                <c:pt idx="120">
                  <c:v>-70</c:v>
                </c:pt>
                <c:pt idx="121">
                  <c:v>#N/A</c:v>
                </c:pt>
                <c:pt idx="122">
                  <c:v>#N/A</c:v>
                </c:pt>
                <c:pt idx="123">
                  <c:v>#N/A</c:v>
                </c:pt>
                <c:pt idx="124">
                  <c:v>#N/A</c:v>
                </c:pt>
                <c:pt idx="125">
                  <c:v>#N/A</c:v>
                </c:pt>
                <c:pt idx="126">
                  <c:v>-125</c:v>
                </c:pt>
                <c:pt idx="127">
                  <c:v>-130</c:v>
                </c:pt>
                <c:pt idx="128">
                  <c:v>-110</c:v>
                </c:pt>
                <c:pt idx="129">
                  <c:v>-125</c:v>
                </c:pt>
                <c:pt idx="130">
                  <c:v>-75</c:v>
                </c:pt>
                <c:pt idx="131">
                  <c:v>#N/A</c:v>
                </c:pt>
                <c:pt idx="132">
                  <c:v>#N/A</c:v>
                </c:pt>
                <c:pt idx="133">
                  <c:v>-180</c:v>
                </c:pt>
                <c:pt idx="134">
                  <c:v>-110</c:v>
                </c:pt>
                <c:pt idx="135">
                  <c:v>-115</c:v>
                </c:pt>
                <c:pt idx="136">
                  <c:v>-155</c:v>
                </c:pt>
                <c:pt idx="137">
                  <c:v>-180</c:v>
                </c:pt>
                <c:pt idx="138">
                  <c:v>#N/A</c:v>
                </c:pt>
                <c:pt idx="139">
                  <c:v>#N/A</c:v>
                </c:pt>
                <c:pt idx="140">
                  <c:v>-200</c:v>
                </c:pt>
                <c:pt idx="141">
                  <c:v>-205</c:v>
                </c:pt>
                <c:pt idx="142">
                  <c:v>-165</c:v>
                </c:pt>
                <c:pt idx="143">
                  <c:v>-145</c:v>
                </c:pt>
                <c:pt idx="144">
                  <c:v>-275</c:v>
                </c:pt>
                <c:pt idx="145">
                  <c:v>#N/A</c:v>
                </c:pt>
                <c:pt idx="146">
                  <c:v>#N/A</c:v>
                </c:pt>
                <c:pt idx="147">
                  <c:v>-100</c:v>
                </c:pt>
                <c:pt idx="148">
                  <c:v>160</c:v>
                </c:pt>
                <c:pt idx="149">
                  <c:v>-90</c:v>
                </c:pt>
                <c:pt idx="150">
                  <c:v>-260</c:v>
                </c:pt>
                <c:pt idx="151">
                  <c:v>-80</c:v>
                </c:pt>
                <c:pt idx="152">
                  <c:v>#N/A</c:v>
                </c:pt>
                <c:pt idx="153">
                  <c:v>#N/A</c:v>
                </c:pt>
                <c:pt idx="154">
                  <c:v>45</c:v>
                </c:pt>
                <c:pt idx="155">
                  <c:v>-235</c:v>
                </c:pt>
                <c:pt idx="156">
                  <c:v>-140</c:v>
                </c:pt>
                <c:pt idx="157">
                  <c:v>-135</c:v>
                </c:pt>
                <c:pt idx="158">
                  <c:v>-125</c:v>
                </c:pt>
                <c:pt idx="159">
                  <c:v>#N/A</c:v>
                </c:pt>
                <c:pt idx="160">
                  <c:v>#N/A</c:v>
                </c:pt>
                <c:pt idx="161">
                  <c:v>#N/A</c:v>
                </c:pt>
                <c:pt idx="162">
                  <c:v>-125</c:v>
                </c:pt>
                <c:pt idx="163">
                  <c:v>-215</c:v>
                </c:pt>
                <c:pt idx="164">
                  <c:v>-280</c:v>
                </c:pt>
                <c:pt idx="165">
                  <c:v>-120</c:v>
                </c:pt>
                <c:pt idx="166">
                  <c:v>#N/A</c:v>
                </c:pt>
                <c:pt idx="167">
                  <c:v>#N/A</c:v>
                </c:pt>
                <c:pt idx="168">
                  <c:v>-170</c:v>
                </c:pt>
                <c:pt idx="169">
                  <c:v>-25</c:v>
                </c:pt>
                <c:pt idx="170">
                  <c:v>-245</c:v>
                </c:pt>
                <c:pt idx="171">
                  <c:v>-150</c:v>
                </c:pt>
                <c:pt idx="172">
                  <c:v>-85</c:v>
                </c:pt>
                <c:pt idx="173">
                  <c:v>#N/A</c:v>
                </c:pt>
                <c:pt idx="174">
                  <c:v>#N/A</c:v>
                </c:pt>
                <c:pt idx="175">
                  <c:v>130</c:v>
                </c:pt>
                <c:pt idx="176">
                  <c:v>-220</c:v>
                </c:pt>
                <c:pt idx="177">
                  <c:v>-240</c:v>
                </c:pt>
                <c:pt idx="178">
                  <c:v>-165</c:v>
                </c:pt>
                <c:pt idx="179">
                  <c:v>-185</c:v>
                </c:pt>
                <c:pt idx="180">
                  <c:v>#N/A</c:v>
                </c:pt>
                <c:pt idx="181">
                  <c:v>#N/A</c:v>
                </c:pt>
                <c:pt idx="182">
                  <c:v>-230</c:v>
                </c:pt>
                <c:pt idx="183">
                  <c:v>-150</c:v>
                </c:pt>
                <c:pt idx="184">
                  <c:v>-150</c:v>
                </c:pt>
                <c:pt idx="185">
                  <c:v>-50</c:v>
                </c:pt>
                <c:pt idx="186">
                  <c:v>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2-27CF-4410-9BA4-4AB8E14E4AD2}"/>
            </c:ext>
          </c:extLst>
        </c:ser>
        <c:dLbls>
          <c:showLegendKey val="0"/>
          <c:showVal val="0"/>
          <c:showCatName val="0"/>
          <c:showSerName val="0"/>
          <c:showPercent val="0"/>
          <c:showBubbleSize val="0"/>
        </c:dLbls>
        <c:smooth val="0"/>
        <c:axId val="1432366224"/>
        <c:axId val="1432360464"/>
      </c:lineChart>
      <c:catAx>
        <c:axId val="1432366224"/>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1432360464"/>
        <c:crosses val="autoZero"/>
        <c:auto val="1"/>
        <c:lblAlgn val="ctr"/>
        <c:lblOffset val="100"/>
        <c:noMultiLvlLbl val="0"/>
      </c:catAx>
      <c:valAx>
        <c:axId val="1432360464"/>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1432366224"/>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ea"/>
          <a:ea typeface="+mn-ea"/>
        </a:defRPr>
      </a:pPr>
      <a:endParaRPr lang="zh-CN"/>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套利价差!$BZ$3</c:f>
          <c:strCache>
            <c:ptCount val="1"/>
            <c:pt idx="0">
              <c:v>9-10价差</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j-ea"/>
              <a:ea typeface="+mj-ea"/>
              <a:cs typeface="+mn-cs"/>
            </a:defRPr>
          </a:pPr>
          <a:endParaRPr lang="zh-CN"/>
        </a:p>
      </c:txPr>
    </c:title>
    <c:autoTitleDeleted val="0"/>
    <c:plotArea>
      <c:layout/>
      <c:lineChart>
        <c:grouping val="standard"/>
        <c:varyColors val="0"/>
        <c:ser>
          <c:idx val="0"/>
          <c:order val="0"/>
          <c:tx>
            <c:strRef>
              <c:f>套利价差!$BZ$4</c:f>
              <c:strCache>
                <c:ptCount val="1"/>
                <c:pt idx="0">
                  <c:v>2022</c:v>
                </c:pt>
              </c:strCache>
            </c:strRef>
          </c:tx>
          <c:spPr>
            <a:ln w="19050" cap="rnd">
              <a:solidFill>
                <a:schemeClr val="bg1">
                  <a:lumMod val="85000"/>
                </a:schemeClr>
              </a:solidFill>
              <a:round/>
            </a:ln>
            <a:effectLst/>
          </c:spPr>
          <c:marker>
            <c:symbol val="none"/>
          </c:marker>
          <c:cat>
            <c:strRef>
              <c:f>套利价差!$BY$5:$BY$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BZ$5:$BZ$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65</c:v>
                </c:pt>
                <c:pt idx="357">
                  <c:v>55</c:v>
                </c:pt>
                <c:pt idx="358">
                  <c:v>#N/A</c:v>
                </c:pt>
                <c:pt idx="359">
                  <c:v>#N/A</c:v>
                </c:pt>
                <c:pt idx="360">
                  <c:v>125</c:v>
                </c:pt>
                <c:pt idx="361">
                  <c:v>40</c:v>
                </c:pt>
                <c:pt idx="362">
                  <c:v>70</c:v>
                </c:pt>
                <c:pt idx="363">
                  <c:v>145</c:v>
                </c:pt>
                <c:pt idx="364">
                  <c:v>70</c:v>
                </c:pt>
                <c:pt idx="365">
                  <c:v>#N/A</c:v>
                </c:pt>
              </c:numCache>
            </c:numRef>
          </c:val>
          <c:smooth val="0"/>
          <c:extLst>
            <c:ext xmlns:c16="http://schemas.microsoft.com/office/drawing/2014/chart" uri="{C3380CC4-5D6E-409C-BE32-E72D297353CC}">
              <c16:uniqueId val="{00000000-352C-4C95-9C0D-A170A696CA3F}"/>
            </c:ext>
          </c:extLst>
        </c:ser>
        <c:ser>
          <c:idx val="1"/>
          <c:order val="1"/>
          <c:tx>
            <c:strRef>
              <c:f>套利价差!$CA$4</c:f>
              <c:strCache>
                <c:ptCount val="1"/>
                <c:pt idx="0">
                  <c:v>2023</c:v>
                </c:pt>
              </c:strCache>
            </c:strRef>
          </c:tx>
          <c:spPr>
            <a:ln w="19050" cap="rnd">
              <a:solidFill>
                <a:schemeClr val="accent4">
                  <a:lumMod val="60000"/>
                  <a:lumOff val="40000"/>
                </a:schemeClr>
              </a:solidFill>
              <a:round/>
            </a:ln>
            <a:effectLst/>
          </c:spPr>
          <c:marker>
            <c:symbol val="none"/>
          </c:marker>
          <c:cat>
            <c:strRef>
              <c:f>套利价差!$BY$5:$BY$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CA$5:$CA$370</c:f>
              <c:numCache>
                <c:formatCode>#,##0.00_);[Red]\(#,##0.00\)</c:formatCode>
                <c:ptCount val="366"/>
                <c:pt idx="0">
                  <c:v>#N/A</c:v>
                </c:pt>
                <c:pt idx="1">
                  <c:v>#N/A</c:v>
                </c:pt>
                <c:pt idx="2">
                  <c:v>70</c:v>
                </c:pt>
                <c:pt idx="3">
                  <c:v>-55</c:v>
                </c:pt>
                <c:pt idx="4">
                  <c:v>110</c:v>
                </c:pt>
                <c:pt idx="5">
                  <c:v>225</c:v>
                </c:pt>
                <c:pt idx="6">
                  <c:v>#N/A</c:v>
                </c:pt>
                <c:pt idx="7">
                  <c:v>#N/A</c:v>
                </c:pt>
                <c:pt idx="8">
                  <c:v>25</c:v>
                </c:pt>
                <c:pt idx="9">
                  <c:v>20</c:v>
                </c:pt>
                <c:pt idx="10">
                  <c:v>0</c:v>
                </c:pt>
                <c:pt idx="11">
                  <c:v>85</c:v>
                </c:pt>
                <c:pt idx="12">
                  <c:v>150</c:v>
                </c:pt>
                <c:pt idx="13">
                  <c:v>#N/A</c:v>
                </c:pt>
                <c:pt idx="14">
                  <c:v>#N/A</c:v>
                </c:pt>
                <c:pt idx="15">
                  <c:v>55</c:v>
                </c:pt>
                <c:pt idx="16">
                  <c:v>140</c:v>
                </c:pt>
                <c:pt idx="17">
                  <c:v>175</c:v>
                </c:pt>
                <c:pt idx="18">
                  <c:v>95</c:v>
                </c:pt>
                <c:pt idx="19">
                  <c:v>155</c:v>
                </c:pt>
                <c:pt idx="20">
                  <c:v>#N/A</c:v>
                </c:pt>
                <c:pt idx="21">
                  <c:v>#N/A</c:v>
                </c:pt>
                <c:pt idx="22">
                  <c:v>#N/A</c:v>
                </c:pt>
                <c:pt idx="23">
                  <c:v>#N/A</c:v>
                </c:pt>
                <c:pt idx="24">
                  <c:v>#N/A</c:v>
                </c:pt>
                <c:pt idx="25">
                  <c:v>#N/A</c:v>
                </c:pt>
                <c:pt idx="26">
                  <c:v>#N/A</c:v>
                </c:pt>
                <c:pt idx="27">
                  <c:v>#N/A</c:v>
                </c:pt>
                <c:pt idx="28">
                  <c:v>#N/A</c:v>
                </c:pt>
                <c:pt idx="29">
                  <c:v>135</c:v>
                </c:pt>
                <c:pt idx="30">
                  <c:v>60</c:v>
                </c:pt>
                <c:pt idx="31">
                  <c:v>125</c:v>
                </c:pt>
                <c:pt idx="32">
                  <c:v>120</c:v>
                </c:pt>
                <c:pt idx="33">
                  <c:v>115</c:v>
                </c:pt>
                <c:pt idx="34">
                  <c:v>#N/A</c:v>
                </c:pt>
                <c:pt idx="35">
                  <c:v>#N/A</c:v>
                </c:pt>
                <c:pt idx="36">
                  <c:v>80</c:v>
                </c:pt>
                <c:pt idx="37">
                  <c:v>110</c:v>
                </c:pt>
                <c:pt idx="38">
                  <c:v>140</c:v>
                </c:pt>
                <c:pt idx="39">
                  <c:v>70</c:v>
                </c:pt>
                <c:pt idx="40">
                  <c:v>75</c:v>
                </c:pt>
                <c:pt idx="41">
                  <c:v>#N/A</c:v>
                </c:pt>
                <c:pt idx="42">
                  <c:v>#N/A</c:v>
                </c:pt>
                <c:pt idx="43">
                  <c:v>-10</c:v>
                </c:pt>
                <c:pt idx="44">
                  <c:v>90</c:v>
                </c:pt>
                <c:pt idx="45">
                  <c:v>-65</c:v>
                </c:pt>
                <c:pt idx="46">
                  <c:v>-5</c:v>
                </c:pt>
                <c:pt idx="47">
                  <c:v>75</c:v>
                </c:pt>
                <c:pt idx="48">
                  <c:v>#N/A</c:v>
                </c:pt>
                <c:pt idx="49">
                  <c:v>#N/A</c:v>
                </c:pt>
                <c:pt idx="50">
                  <c:v>65</c:v>
                </c:pt>
                <c:pt idx="51">
                  <c:v>50</c:v>
                </c:pt>
                <c:pt idx="52">
                  <c:v>115</c:v>
                </c:pt>
                <c:pt idx="53">
                  <c:v>95</c:v>
                </c:pt>
                <c:pt idx="54">
                  <c:v>75</c:v>
                </c:pt>
                <c:pt idx="55">
                  <c:v>#N/A</c:v>
                </c:pt>
                <c:pt idx="56">
                  <c:v>#N/A</c:v>
                </c:pt>
                <c:pt idx="57">
                  <c:v>-20</c:v>
                </c:pt>
                <c:pt idx="58">
                  <c:v>65</c:v>
                </c:pt>
                <c:pt idx="60">
                  <c:v>110</c:v>
                </c:pt>
                <c:pt idx="61">
                  <c:v>60</c:v>
                </c:pt>
                <c:pt idx="62">
                  <c:v>40</c:v>
                </c:pt>
                <c:pt idx="63">
                  <c:v>#N/A</c:v>
                </c:pt>
                <c:pt idx="64">
                  <c:v>#N/A</c:v>
                </c:pt>
                <c:pt idx="65">
                  <c:v>10</c:v>
                </c:pt>
                <c:pt idx="66">
                  <c:v>20</c:v>
                </c:pt>
                <c:pt idx="67">
                  <c:v>70</c:v>
                </c:pt>
                <c:pt idx="68">
                  <c:v>50</c:v>
                </c:pt>
                <c:pt idx="69">
                  <c:v>35</c:v>
                </c:pt>
                <c:pt idx="70">
                  <c:v>#N/A</c:v>
                </c:pt>
                <c:pt idx="71">
                  <c:v>#N/A</c:v>
                </c:pt>
                <c:pt idx="72">
                  <c:v>25</c:v>
                </c:pt>
                <c:pt idx="73">
                  <c:v>15</c:v>
                </c:pt>
                <c:pt idx="74">
                  <c:v>15</c:v>
                </c:pt>
                <c:pt idx="75">
                  <c:v>70</c:v>
                </c:pt>
                <c:pt idx="76">
                  <c:v>90</c:v>
                </c:pt>
                <c:pt idx="77">
                  <c:v>#N/A</c:v>
                </c:pt>
                <c:pt idx="78">
                  <c:v>#N/A</c:v>
                </c:pt>
                <c:pt idx="79">
                  <c:v>40</c:v>
                </c:pt>
                <c:pt idx="80">
                  <c:v>85</c:v>
                </c:pt>
                <c:pt idx="81">
                  <c:v>25</c:v>
                </c:pt>
                <c:pt idx="82">
                  <c:v>70</c:v>
                </c:pt>
                <c:pt idx="83">
                  <c:v>10</c:v>
                </c:pt>
                <c:pt idx="84">
                  <c:v>#N/A</c:v>
                </c:pt>
                <c:pt idx="85">
                  <c:v>#N/A</c:v>
                </c:pt>
                <c:pt idx="86">
                  <c:v>-35</c:v>
                </c:pt>
                <c:pt idx="87">
                  <c:v>35</c:v>
                </c:pt>
                <c:pt idx="88">
                  <c:v>10</c:v>
                </c:pt>
                <c:pt idx="89">
                  <c:v>65</c:v>
                </c:pt>
                <c:pt idx="90">
                  <c:v>-5</c:v>
                </c:pt>
                <c:pt idx="91">
                  <c:v>#N/A</c:v>
                </c:pt>
                <c:pt idx="92">
                  <c:v>#N/A</c:v>
                </c:pt>
                <c:pt idx="93">
                  <c:v>-20</c:v>
                </c:pt>
                <c:pt idx="94">
                  <c:v>10</c:v>
                </c:pt>
                <c:pt idx="95">
                  <c:v>#N/A</c:v>
                </c:pt>
                <c:pt idx="96">
                  <c:v>-15</c:v>
                </c:pt>
                <c:pt idx="97">
                  <c:v>30</c:v>
                </c:pt>
                <c:pt idx="98">
                  <c:v>#N/A</c:v>
                </c:pt>
                <c:pt idx="99">
                  <c:v>#N/A</c:v>
                </c:pt>
                <c:pt idx="100">
                  <c:v>-5</c:v>
                </c:pt>
                <c:pt idx="101">
                  <c:v>-15</c:v>
                </c:pt>
                <c:pt idx="102">
                  <c:v>5</c:v>
                </c:pt>
                <c:pt idx="103">
                  <c:v>-5</c:v>
                </c:pt>
                <c:pt idx="104">
                  <c:v>45</c:v>
                </c:pt>
                <c:pt idx="105">
                  <c:v>#N/A</c:v>
                </c:pt>
                <c:pt idx="106">
                  <c:v>#N/A</c:v>
                </c:pt>
                <c:pt idx="107">
                  <c:v>130</c:v>
                </c:pt>
                <c:pt idx="108">
                  <c:v>25</c:v>
                </c:pt>
                <c:pt idx="109">
                  <c:v>-5</c:v>
                </c:pt>
                <c:pt idx="110">
                  <c:v>-15</c:v>
                </c:pt>
                <c:pt idx="111">
                  <c:v>-35</c:v>
                </c:pt>
                <c:pt idx="112">
                  <c:v>#N/A</c:v>
                </c:pt>
                <c:pt idx="113">
                  <c:v>#N/A</c:v>
                </c:pt>
                <c:pt idx="114">
                  <c:v>-5</c:v>
                </c:pt>
                <c:pt idx="115">
                  <c:v>40</c:v>
                </c:pt>
                <c:pt idx="116">
                  <c:v>10</c:v>
                </c:pt>
                <c:pt idx="117">
                  <c:v>20</c:v>
                </c:pt>
                <c:pt idx="118">
                  <c:v>35</c:v>
                </c:pt>
                <c:pt idx="119">
                  <c:v>#N/A</c:v>
                </c:pt>
                <c:pt idx="120">
                  <c:v>#N/A</c:v>
                </c:pt>
                <c:pt idx="121">
                  <c:v>#N/A</c:v>
                </c:pt>
                <c:pt idx="122">
                  <c:v>#N/A</c:v>
                </c:pt>
                <c:pt idx="123">
                  <c:v>#N/A</c:v>
                </c:pt>
                <c:pt idx="124">
                  <c:v>20</c:v>
                </c:pt>
                <c:pt idx="125">
                  <c:v>5</c:v>
                </c:pt>
                <c:pt idx="126">
                  <c:v>#N/A</c:v>
                </c:pt>
                <c:pt idx="127">
                  <c:v>#N/A</c:v>
                </c:pt>
                <c:pt idx="128">
                  <c:v>-20</c:v>
                </c:pt>
                <c:pt idx="129">
                  <c:v>-20</c:v>
                </c:pt>
                <c:pt idx="130">
                  <c:v>-40</c:v>
                </c:pt>
                <c:pt idx="131">
                  <c:v>-30</c:v>
                </c:pt>
                <c:pt idx="132">
                  <c:v>5</c:v>
                </c:pt>
                <c:pt idx="133">
                  <c:v>#N/A</c:v>
                </c:pt>
                <c:pt idx="134">
                  <c:v>#N/A</c:v>
                </c:pt>
                <c:pt idx="135">
                  <c:v>-20</c:v>
                </c:pt>
                <c:pt idx="136">
                  <c:v>-20</c:v>
                </c:pt>
                <c:pt idx="137">
                  <c:v>0</c:v>
                </c:pt>
                <c:pt idx="138">
                  <c:v>10</c:v>
                </c:pt>
                <c:pt idx="139">
                  <c:v>-45</c:v>
                </c:pt>
                <c:pt idx="140">
                  <c:v>#N/A</c:v>
                </c:pt>
                <c:pt idx="141">
                  <c:v>#N/A</c:v>
                </c:pt>
                <c:pt idx="142">
                  <c:v>-45</c:v>
                </c:pt>
                <c:pt idx="143">
                  <c:v>45</c:v>
                </c:pt>
                <c:pt idx="144">
                  <c:v>-55</c:v>
                </c:pt>
                <c:pt idx="145">
                  <c:v>-20</c:v>
                </c:pt>
                <c:pt idx="146">
                  <c:v>-40</c:v>
                </c:pt>
                <c:pt idx="147">
                  <c:v>#N/A</c:v>
                </c:pt>
                <c:pt idx="148">
                  <c:v>#N/A</c:v>
                </c:pt>
                <c:pt idx="149">
                  <c:v>-45</c:v>
                </c:pt>
                <c:pt idx="150">
                  <c:v>-25</c:v>
                </c:pt>
                <c:pt idx="151">
                  <c:v>35</c:v>
                </c:pt>
                <c:pt idx="152">
                  <c:v>10</c:v>
                </c:pt>
                <c:pt idx="153">
                  <c:v>-35</c:v>
                </c:pt>
                <c:pt idx="154">
                  <c:v>#N/A</c:v>
                </c:pt>
                <c:pt idx="155">
                  <c:v>#N/A</c:v>
                </c:pt>
                <c:pt idx="156">
                  <c:v>-40</c:v>
                </c:pt>
                <c:pt idx="157">
                  <c:v>-30</c:v>
                </c:pt>
                <c:pt idx="158">
                  <c:v>-45</c:v>
                </c:pt>
                <c:pt idx="159">
                  <c:v>-35</c:v>
                </c:pt>
                <c:pt idx="160">
                  <c:v>-65</c:v>
                </c:pt>
                <c:pt idx="161">
                  <c:v>#N/A</c:v>
                </c:pt>
                <c:pt idx="162">
                  <c:v>#N/A</c:v>
                </c:pt>
                <c:pt idx="163">
                  <c:v>-30</c:v>
                </c:pt>
                <c:pt idx="164">
                  <c:v>-35</c:v>
                </c:pt>
                <c:pt idx="165">
                  <c:v>-45</c:v>
                </c:pt>
                <c:pt idx="166">
                  <c:v>-50</c:v>
                </c:pt>
                <c:pt idx="167">
                  <c:v>-20</c:v>
                </c:pt>
                <c:pt idx="168">
                  <c:v>#N/A</c:v>
                </c:pt>
                <c:pt idx="169">
                  <c:v>#N/A</c:v>
                </c:pt>
                <c:pt idx="170">
                  <c:v>-5</c:v>
                </c:pt>
                <c:pt idx="171">
                  <c:v>-15</c:v>
                </c:pt>
                <c:pt idx="172">
                  <c:v>-20</c:v>
                </c:pt>
                <c:pt idx="173">
                  <c:v>#N/A</c:v>
                </c:pt>
                <c:pt idx="174">
                  <c:v>#N/A</c:v>
                </c:pt>
                <c:pt idx="175">
                  <c:v>#N/A</c:v>
                </c:pt>
                <c:pt idx="176">
                  <c:v>#N/A</c:v>
                </c:pt>
                <c:pt idx="177">
                  <c:v>-20</c:v>
                </c:pt>
                <c:pt idx="178">
                  <c:v>-15</c:v>
                </c:pt>
                <c:pt idx="179">
                  <c:v>-15</c:v>
                </c:pt>
                <c:pt idx="180">
                  <c:v>-40</c:v>
                </c:pt>
                <c:pt idx="181">
                  <c:v>-30</c:v>
                </c:pt>
                <c:pt idx="182">
                  <c:v>#N/A</c:v>
                </c:pt>
                <c:pt idx="183">
                  <c:v>#N/A</c:v>
                </c:pt>
                <c:pt idx="184">
                  <c:v>-25</c:v>
                </c:pt>
                <c:pt idx="185">
                  <c:v>-25</c:v>
                </c:pt>
                <c:pt idx="186">
                  <c:v>-25</c:v>
                </c:pt>
                <c:pt idx="187">
                  <c:v>-30</c:v>
                </c:pt>
                <c:pt idx="188">
                  <c:v>-20</c:v>
                </c:pt>
                <c:pt idx="189">
                  <c:v>#N/A</c:v>
                </c:pt>
                <c:pt idx="190">
                  <c:v>#N/A</c:v>
                </c:pt>
                <c:pt idx="191">
                  <c:v>-30</c:v>
                </c:pt>
                <c:pt idx="192">
                  <c:v>-30</c:v>
                </c:pt>
                <c:pt idx="193">
                  <c:v>-35</c:v>
                </c:pt>
                <c:pt idx="194">
                  <c:v>-40</c:v>
                </c:pt>
                <c:pt idx="195">
                  <c:v>-30</c:v>
                </c:pt>
                <c:pt idx="196">
                  <c:v>#N/A</c:v>
                </c:pt>
                <c:pt idx="197">
                  <c:v>#N/A</c:v>
                </c:pt>
                <c:pt idx="198">
                  <c:v>-40</c:v>
                </c:pt>
                <c:pt idx="199">
                  <c:v>-50</c:v>
                </c:pt>
                <c:pt idx="200">
                  <c:v>-45</c:v>
                </c:pt>
                <c:pt idx="201">
                  <c:v>-30</c:v>
                </c:pt>
                <c:pt idx="202">
                  <c:v>-40</c:v>
                </c:pt>
                <c:pt idx="203">
                  <c:v>#N/A</c:v>
                </c:pt>
                <c:pt idx="204">
                  <c:v>#N/A</c:v>
                </c:pt>
                <c:pt idx="205">
                  <c:v>-40</c:v>
                </c:pt>
                <c:pt idx="206">
                  <c:v>-35</c:v>
                </c:pt>
                <c:pt idx="207">
                  <c:v>-40</c:v>
                </c:pt>
                <c:pt idx="208">
                  <c:v>-55</c:v>
                </c:pt>
                <c:pt idx="209">
                  <c:v>-45</c:v>
                </c:pt>
                <c:pt idx="210">
                  <c:v>#N/A</c:v>
                </c:pt>
                <c:pt idx="211">
                  <c:v>#N/A</c:v>
                </c:pt>
                <c:pt idx="212">
                  <c:v>-60</c:v>
                </c:pt>
                <c:pt idx="213">
                  <c:v>-60</c:v>
                </c:pt>
                <c:pt idx="214">
                  <c:v>-85</c:v>
                </c:pt>
                <c:pt idx="215">
                  <c:v>-75</c:v>
                </c:pt>
                <c:pt idx="216">
                  <c:v>-60</c:v>
                </c:pt>
                <c:pt idx="217">
                  <c:v>#N/A</c:v>
                </c:pt>
                <c:pt idx="218">
                  <c:v>#N/A</c:v>
                </c:pt>
                <c:pt idx="219">
                  <c:v>-75</c:v>
                </c:pt>
                <c:pt idx="220">
                  <c:v>-65</c:v>
                </c:pt>
                <c:pt idx="221">
                  <c:v>-65</c:v>
                </c:pt>
                <c:pt idx="222">
                  <c:v>-75</c:v>
                </c:pt>
                <c:pt idx="223">
                  <c:v>-80</c:v>
                </c:pt>
                <c:pt idx="224">
                  <c:v>#N/A</c:v>
                </c:pt>
                <c:pt idx="225">
                  <c:v>#N/A</c:v>
                </c:pt>
                <c:pt idx="226">
                  <c:v>-80</c:v>
                </c:pt>
                <c:pt idx="227">
                  <c:v>-75</c:v>
                </c:pt>
                <c:pt idx="228">
                  <c:v>-80</c:v>
                </c:pt>
                <c:pt idx="229">
                  <c:v>-60</c:v>
                </c:pt>
                <c:pt idx="230">
                  <c:v>-75</c:v>
                </c:pt>
                <c:pt idx="231">
                  <c:v>#N/A</c:v>
                </c:pt>
                <c:pt idx="232">
                  <c:v>#N/A</c:v>
                </c:pt>
                <c:pt idx="233">
                  <c:v>-70</c:v>
                </c:pt>
                <c:pt idx="234">
                  <c:v>-80</c:v>
                </c:pt>
                <c:pt idx="235">
                  <c:v>-65</c:v>
                </c:pt>
                <c:pt idx="236">
                  <c:v>-75</c:v>
                </c:pt>
                <c:pt idx="237">
                  <c:v>-100</c:v>
                </c:pt>
                <c:pt idx="238">
                  <c:v>#N/A</c:v>
                </c:pt>
                <c:pt idx="239">
                  <c:v>#N/A</c:v>
                </c:pt>
                <c:pt idx="240">
                  <c:v>-100</c:v>
                </c:pt>
                <c:pt idx="241">
                  <c:v>-95</c:v>
                </c:pt>
                <c:pt idx="242">
                  <c:v>-95</c:v>
                </c:pt>
                <c:pt idx="243">
                  <c:v>-95</c:v>
                </c:pt>
                <c:pt idx="244">
                  <c:v>-125</c:v>
                </c:pt>
                <c:pt idx="245">
                  <c:v>#N/A</c:v>
                </c:pt>
                <c:pt idx="246">
                  <c:v>#N/A</c:v>
                </c:pt>
                <c:pt idx="247">
                  <c:v>-85</c:v>
                </c:pt>
                <c:pt idx="248">
                  <c:v>-80</c:v>
                </c:pt>
                <c:pt idx="249">
                  <c:v>-115</c:v>
                </c:pt>
                <c:pt idx="250">
                  <c:v>-70</c:v>
                </c:pt>
                <c:pt idx="251">
                  <c:v>-70</c:v>
                </c:pt>
                <c:pt idx="252">
                  <c:v>#N/A</c:v>
                </c:pt>
                <c:pt idx="253">
                  <c:v>#N/A</c:v>
                </c:pt>
                <c:pt idx="254">
                  <c:v>-115</c:v>
                </c:pt>
                <c:pt idx="255">
                  <c:v>-55</c:v>
                </c:pt>
                <c:pt idx="256">
                  <c:v>-65</c:v>
                </c:pt>
                <c:pt idx="257">
                  <c:v>-40</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1-352C-4C95-9C0D-A170A696CA3F}"/>
            </c:ext>
          </c:extLst>
        </c:ser>
        <c:ser>
          <c:idx val="2"/>
          <c:order val="2"/>
          <c:tx>
            <c:strRef>
              <c:f>套利价差!$CB$4</c:f>
              <c:strCache>
                <c:ptCount val="1"/>
                <c:pt idx="0">
                  <c:v>2024</c:v>
                </c:pt>
              </c:strCache>
            </c:strRef>
          </c:tx>
          <c:spPr>
            <a:ln w="28575" cap="rnd">
              <a:solidFill>
                <a:schemeClr val="tx1"/>
              </a:solidFill>
              <a:round/>
            </a:ln>
            <a:effectLst/>
          </c:spPr>
          <c:marker>
            <c:symbol val="none"/>
          </c:marker>
          <c:cat>
            <c:strRef>
              <c:f>套利价差!$BY$5:$BY$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CB$5:$CB$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40</c:v>
                </c:pt>
                <c:pt idx="54">
                  <c:v>#N/A</c:v>
                </c:pt>
                <c:pt idx="55">
                  <c:v>#N/A</c:v>
                </c:pt>
                <c:pt idx="56">
                  <c:v>-40</c:v>
                </c:pt>
                <c:pt idx="57">
                  <c:v>10</c:v>
                </c:pt>
                <c:pt idx="58">
                  <c:v>-80</c:v>
                </c:pt>
                <c:pt idx="59">
                  <c:v>-15</c:v>
                </c:pt>
                <c:pt idx="60">
                  <c:v>-50</c:v>
                </c:pt>
                <c:pt idx="61">
                  <c:v>#N/A</c:v>
                </c:pt>
                <c:pt idx="62">
                  <c:v>#N/A</c:v>
                </c:pt>
                <c:pt idx="63">
                  <c:v>-50</c:v>
                </c:pt>
                <c:pt idx="64">
                  <c:v>-50</c:v>
                </c:pt>
                <c:pt idx="65">
                  <c:v>-75</c:v>
                </c:pt>
                <c:pt idx="66">
                  <c:v>-45</c:v>
                </c:pt>
                <c:pt idx="67">
                  <c:v>-55</c:v>
                </c:pt>
                <c:pt idx="68">
                  <c:v>#N/A</c:v>
                </c:pt>
                <c:pt idx="69">
                  <c:v>#N/A</c:v>
                </c:pt>
                <c:pt idx="70">
                  <c:v>-115</c:v>
                </c:pt>
                <c:pt idx="71">
                  <c:v>-50</c:v>
                </c:pt>
                <c:pt idx="72">
                  <c:v>-30</c:v>
                </c:pt>
                <c:pt idx="73">
                  <c:v>-60</c:v>
                </c:pt>
                <c:pt idx="74">
                  <c:v>-85</c:v>
                </c:pt>
                <c:pt idx="75">
                  <c:v>#N/A</c:v>
                </c:pt>
                <c:pt idx="76">
                  <c:v>#N/A</c:v>
                </c:pt>
                <c:pt idx="77">
                  <c:v>-70</c:v>
                </c:pt>
                <c:pt idx="78">
                  <c:v>-75</c:v>
                </c:pt>
                <c:pt idx="79">
                  <c:v>-70</c:v>
                </c:pt>
                <c:pt idx="80">
                  <c:v>-55</c:v>
                </c:pt>
                <c:pt idx="81">
                  <c:v>-75</c:v>
                </c:pt>
                <c:pt idx="82">
                  <c:v>#N/A</c:v>
                </c:pt>
                <c:pt idx="83">
                  <c:v>#N/A</c:v>
                </c:pt>
                <c:pt idx="84">
                  <c:v>-40</c:v>
                </c:pt>
                <c:pt idx="85">
                  <c:v>-80</c:v>
                </c:pt>
                <c:pt idx="86">
                  <c:v>-60</c:v>
                </c:pt>
                <c:pt idx="87">
                  <c:v>-55</c:v>
                </c:pt>
                <c:pt idx="88">
                  <c:v>-70</c:v>
                </c:pt>
                <c:pt idx="89">
                  <c:v>#N/A</c:v>
                </c:pt>
                <c:pt idx="90">
                  <c:v>#N/A</c:v>
                </c:pt>
                <c:pt idx="91">
                  <c:v>-90</c:v>
                </c:pt>
                <c:pt idx="92">
                  <c:v>-65</c:v>
                </c:pt>
                <c:pt idx="93">
                  <c:v>-60</c:v>
                </c:pt>
                <c:pt idx="94">
                  <c:v>#N/A</c:v>
                </c:pt>
                <c:pt idx="95">
                  <c:v>#N/A</c:v>
                </c:pt>
                <c:pt idx="96">
                  <c:v>#N/A</c:v>
                </c:pt>
                <c:pt idx="97">
                  <c:v>#N/A</c:v>
                </c:pt>
                <c:pt idx="98">
                  <c:v>-35</c:v>
                </c:pt>
                <c:pt idx="99">
                  <c:v>-20</c:v>
                </c:pt>
                <c:pt idx="100">
                  <c:v>-10</c:v>
                </c:pt>
                <c:pt idx="101">
                  <c:v>-10</c:v>
                </c:pt>
                <c:pt idx="102">
                  <c:v>-25</c:v>
                </c:pt>
                <c:pt idx="103">
                  <c:v>#N/A</c:v>
                </c:pt>
                <c:pt idx="104">
                  <c:v>#N/A</c:v>
                </c:pt>
                <c:pt idx="105">
                  <c:v>-15</c:v>
                </c:pt>
                <c:pt idx="106">
                  <c:v>-20</c:v>
                </c:pt>
                <c:pt idx="107">
                  <c:v>-25</c:v>
                </c:pt>
                <c:pt idx="108">
                  <c:v>-55</c:v>
                </c:pt>
                <c:pt idx="109">
                  <c:v>-35</c:v>
                </c:pt>
                <c:pt idx="110">
                  <c:v>#N/A</c:v>
                </c:pt>
                <c:pt idx="111">
                  <c:v>#N/A</c:v>
                </c:pt>
                <c:pt idx="112">
                  <c:v>-20</c:v>
                </c:pt>
                <c:pt idx="113">
                  <c:v>-40</c:v>
                </c:pt>
                <c:pt idx="114">
                  <c:v>-45</c:v>
                </c:pt>
                <c:pt idx="115">
                  <c:v>-40</c:v>
                </c:pt>
                <c:pt idx="116">
                  <c:v>-30</c:v>
                </c:pt>
                <c:pt idx="117">
                  <c:v>#N/A</c:v>
                </c:pt>
                <c:pt idx="118">
                  <c:v>#N/A</c:v>
                </c:pt>
                <c:pt idx="119">
                  <c:v>-15</c:v>
                </c:pt>
                <c:pt idx="120">
                  <c:v>-40</c:v>
                </c:pt>
                <c:pt idx="121">
                  <c:v>#N/A</c:v>
                </c:pt>
                <c:pt idx="122">
                  <c:v>#N/A</c:v>
                </c:pt>
                <c:pt idx="123">
                  <c:v>#N/A</c:v>
                </c:pt>
                <c:pt idx="124">
                  <c:v>#N/A</c:v>
                </c:pt>
                <c:pt idx="125">
                  <c:v>#N/A</c:v>
                </c:pt>
                <c:pt idx="126">
                  <c:v>-40</c:v>
                </c:pt>
                <c:pt idx="127">
                  <c:v>-45</c:v>
                </c:pt>
                <c:pt idx="128">
                  <c:v>-80</c:v>
                </c:pt>
                <c:pt idx="129">
                  <c:v>-65</c:v>
                </c:pt>
                <c:pt idx="130">
                  <c:v>-65</c:v>
                </c:pt>
                <c:pt idx="131">
                  <c:v>#N/A</c:v>
                </c:pt>
                <c:pt idx="132">
                  <c:v>#N/A</c:v>
                </c:pt>
                <c:pt idx="133">
                  <c:v>-50</c:v>
                </c:pt>
                <c:pt idx="134">
                  <c:v>-85</c:v>
                </c:pt>
                <c:pt idx="135">
                  <c:v>-55</c:v>
                </c:pt>
                <c:pt idx="136">
                  <c:v>-60</c:v>
                </c:pt>
                <c:pt idx="137">
                  <c:v>-45</c:v>
                </c:pt>
                <c:pt idx="138">
                  <c:v>#N/A</c:v>
                </c:pt>
                <c:pt idx="139">
                  <c:v>#N/A</c:v>
                </c:pt>
                <c:pt idx="140">
                  <c:v>-45</c:v>
                </c:pt>
                <c:pt idx="141">
                  <c:v>-65</c:v>
                </c:pt>
                <c:pt idx="142">
                  <c:v>-60</c:v>
                </c:pt>
                <c:pt idx="143">
                  <c:v>-70</c:v>
                </c:pt>
                <c:pt idx="144">
                  <c:v>-55</c:v>
                </c:pt>
                <c:pt idx="145">
                  <c:v>#N/A</c:v>
                </c:pt>
                <c:pt idx="146">
                  <c:v>#N/A</c:v>
                </c:pt>
                <c:pt idx="147">
                  <c:v>-70</c:v>
                </c:pt>
                <c:pt idx="148">
                  <c:v>-25</c:v>
                </c:pt>
                <c:pt idx="149">
                  <c:v>-45</c:v>
                </c:pt>
                <c:pt idx="150">
                  <c:v>-45</c:v>
                </c:pt>
                <c:pt idx="151">
                  <c:v>-65</c:v>
                </c:pt>
                <c:pt idx="152">
                  <c:v>#N/A</c:v>
                </c:pt>
                <c:pt idx="153">
                  <c:v>#N/A</c:v>
                </c:pt>
                <c:pt idx="154">
                  <c:v>-30</c:v>
                </c:pt>
                <c:pt idx="155">
                  <c:v>-60</c:v>
                </c:pt>
                <c:pt idx="156">
                  <c:v>-45</c:v>
                </c:pt>
                <c:pt idx="157">
                  <c:v>-60</c:v>
                </c:pt>
                <c:pt idx="158">
                  <c:v>-55</c:v>
                </c:pt>
                <c:pt idx="159">
                  <c:v>#N/A</c:v>
                </c:pt>
                <c:pt idx="160">
                  <c:v>#N/A</c:v>
                </c:pt>
                <c:pt idx="161">
                  <c:v>#N/A</c:v>
                </c:pt>
                <c:pt idx="162">
                  <c:v>-90</c:v>
                </c:pt>
                <c:pt idx="163">
                  <c:v>-75</c:v>
                </c:pt>
                <c:pt idx="164">
                  <c:v>-50</c:v>
                </c:pt>
                <c:pt idx="165">
                  <c:v>-75</c:v>
                </c:pt>
                <c:pt idx="166">
                  <c:v>#N/A</c:v>
                </c:pt>
                <c:pt idx="167">
                  <c:v>#N/A</c:v>
                </c:pt>
                <c:pt idx="168">
                  <c:v>-55</c:v>
                </c:pt>
                <c:pt idx="169">
                  <c:v>-75</c:v>
                </c:pt>
                <c:pt idx="170">
                  <c:v>-60</c:v>
                </c:pt>
                <c:pt idx="171">
                  <c:v>-70</c:v>
                </c:pt>
                <c:pt idx="172">
                  <c:v>-70</c:v>
                </c:pt>
                <c:pt idx="173">
                  <c:v>#N/A</c:v>
                </c:pt>
                <c:pt idx="174">
                  <c:v>#N/A</c:v>
                </c:pt>
                <c:pt idx="175">
                  <c:v>-90</c:v>
                </c:pt>
                <c:pt idx="176">
                  <c:v>-80</c:v>
                </c:pt>
                <c:pt idx="177">
                  <c:v>-85</c:v>
                </c:pt>
                <c:pt idx="178">
                  <c:v>-75</c:v>
                </c:pt>
                <c:pt idx="179">
                  <c:v>-75</c:v>
                </c:pt>
                <c:pt idx="180">
                  <c:v>#N/A</c:v>
                </c:pt>
                <c:pt idx="181">
                  <c:v>#N/A</c:v>
                </c:pt>
                <c:pt idx="182">
                  <c:v>-70</c:v>
                </c:pt>
                <c:pt idx="183">
                  <c:v>-80</c:v>
                </c:pt>
                <c:pt idx="184">
                  <c:v>-70</c:v>
                </c:pt>
                <c:pt idx="185">
                  <c:v>-90</c:v>
                </c:pt>
                <c:pt idx="186">
                  <c:v>-8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2-352C-4C95-9C0D-A170A696CA3F}"/>
            </c:ext>
          </c:extLst>
        </c:ser>
        <c:dLbls>
          <c:showLegendKey val="0"/>
          <c:showVal val="0"/>
          <c:showCatName val="0"/>
          <c:showSerName val="0"/>
          <c:showPercent val="0"/>
          <c:showBubbleSize val="0"/>
        </c:dLbls>
        <c:smooth val="0"/>
        <c:axId val="880739695"/>
        <c:axId val="880735535"/>
      </c:lineChart>
      <c:catAx>
        <c:axId val="880739695"/>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j-ea"/>
                <a:ea typeface="+mj-ea"/>
                <a:cs typeface="+mn-cs"/>
              </a:defRPr>
            </a:pPr>
            <a:endParaRPr lang="zh-CN"/>
          </a:p>
        </c:txPr>
        <c:crossAx val="880735535"/>
        <c:crosses val="autoZero"/>
        <c:auto val="1"/>
        <c:lblAlgn val="ctr"/>
        <c:lblOffset val="100"/>
        <c:noMultiLvlLbl val="0"/>
      </c:catAx>
      <c:valAx>
        <c:axId val="880735535"/>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j-ea"/>
                <a:ea typeface="+mj-ea"/>
                <a:cs typeface="+mn-cs"/>
              </a:defRPr>
            </a:pPr>
            <a:endParaRPr lang="zh-CN"/>
          </a:p>
        </c:txPr>
        <c:crossAx val="8807396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j-ea"/>
              <a:ea typeface="+mj-ea"/>
              <a:cs typeface="+mn-cs"/>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j-ea"/>
          <a:ea typeface="+mj-ea"/>
        </a:defRPr>
      </a:pPr>
      <a:endParaRPr lang="zh-CN"/>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套利价差!$CE$3</c:f>
          <c:strCache>
            <c:ptCount val="1"/>
            <c:pt idx="0">
              <c:v>9-11价差</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j-ea"/>
              <a:ea typeface="+mj-ea"/>
              <a:cs typeface="+mn-cs"/>
            </a:defRPr>
          </a:pPr>
          <a:endParaRPr lang="zh-CN"/>
        </a:p>
      </c:txPr>
    </c:title>
    <c:autoTitleDeleted val="0"/>
    <c:plotArea>
      <c:layout/>
      <c:lineChart>
        <c:grouping val="standard"/>
        <c:varyColors val="0"/>
        <c:ser>
          <c:idx val="0"/>
          <c:order val="0"/>
          <c:tx>
            <c:strRef>
              <c:f>套利价差!$CE$4</c:f>
              <c:strCache>
                <c:ptCount val="1"/>
                <c:pt idx="0">
                  <c:v>2022</c:v>
                </c:pt>
              </c:strCache>
            </c:strRef>
          </c:tx>
          <c:spPr>
            <a:ln w="19050" cap="rnd">
              <a:solidFill>
                <a:schemeClr val="bg1">
                  <a:lumMod val="75000"/>
                </a:schemeClr>
              </a:solidFill>
              <a:round/>
            </a:ln>
            <a:effectLst/>
          </c:spPr>
          <c:marker>
            <c:symbol val="none"/>
          </c:marker>
          <c:cat>
            <c:strRef>
              <c:f>套利价差!$CD$5:$CD$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CE$5:$CE$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215</c:v>
                </c:pt>
                <c:pt idx="357">
                  <c:v>290</c:v>
                </c:pt>
                <c:pt idx="358">
                  <c:v>#N/A</c:v>
                </c:pt>
                <c:pt idx="359">
                  <c:v>#N/A</c:v>
                </c:pt>
                <c:pt idx="360">
                  <c:v>170</c:v>
                </c:pt>
                <c:pt idx="361">
                  <c:v>145</c:v>
                </c:pt>
                <c:pt idx="362">
                  <c:v>180</c:v>
                </c:pt>
                <c:pt idx="363">
                  <c:v>210</c:v>
                </c:pt>
                <c:pt idx="364">
                  <c:v>145</c:v>
                </c:pt>
                <c:pt idx="365">
                  <c:v>#N/A</c:v>
                </c:pt>
              </c:numCache>
            </c:numRef>
          </c:val>
          <c:smooth val="0"/>
          <c:extLst>
            <c:ext xmlns:c16="http://schemas.microsoft.com/office/drawing/2014/chart" uri="{C3380CC4-5D6E-409C-BE32-E72D297353CC}">
              <c16:uniqueId val="{00000000-9614-409E-94E1-A243667C4EE2}"/>
            </c:ext>
          </c:extLst>
        </c:ser>
        <c:ser>
          <c:idx val="1"/>
          <c:order val="1"/>
          <c:tx>
            <c:strRef>
              <c:f>套利价差!$CF$4</c:f>
              <c:strCache>
                <c:ptCount val="1"/>
                <c:pt idx="0">
                  <c:v>2023</c:v>
                </c:pt>
              </c:strCache>
            </c:strRef>
          </c:tx>
          <c:spPr>
            <a:ln w="19050" cap="rnd">
              <a:solidFill>
                <a:schemeClr val="accent4">
                  <a:lumMod val="60000"/>
                  <a:lumOff val="40000"/>
                </a:schemeClr>
              </a:solidFill>
              <a:round/>
            </a:ln>
            <a:effectLst/>
          </c:spPr>
          <c:marker>
            <c:symbol val="none"/>
          </c:marker>
          <c:cat>
            <c:strRef>
              <c:f>套利价差!$CD$5:$CD$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CF$5:$CF$370</c:f>
              <c:numCache>
                <c:formatCode>#,##0.00_);[Red]\(#,##0.00\)</c:formatCode>
                <c:ptCount val="366"/>
                <c:pt idx="0">
                  <c:v>#N/A</c:v>
                </c:pt>
                <c:pt idx="1">
                  <c:v>#N/A</c:v>
                </c:pt>
                <c:pt idx="2">
                  <c:v>215</c:v>
                </c:pt>
                <c:pt idx="3">
                  <c:v>125</c:v>
                </c:pt>
                <c:pt idx="4">
                  <c:v>195</c:v>
                </c:pt>
                <c:pt idx="5">
                  <c:v>320</c:v>
                </c:pt>
                <c:pt idx="6">
                  <c:v>#N/A</c:v>
                </c:pt>
                <c:pt idx="7">
                  <c:v>#N/A</c:v>
                </c:pt>
                <c:pt idx="8">
                  <c:v>265</c:v>
                </c:pt>
                <c:pt idx="9">
                  <c:v>140</c:v>
                </c:pt>
                <c:pt idx="10">
                  <c:v>195</c:v>
                </c:pt>
                <c:pt idx="11">
                  <c:v>120</c:v>
                </c:pt>
                <c:pt idx="12">
                  <c:v>170</c:v>
                </c:pt>
                <c:pt idx="13">
                  <c:v>#N/A</c:v>
                </c:pt>
                <c:pt idx="14">
                  <c:v>#N/A</c:v>
                </c:pt>
                <c:pt idx="15">
                  <c:v>215</c:v>
                </c:pt>
                <c:pt idx="16">
                  <c:v>115</c:v>
                </c:pt>
                <c:pt idx="17">
                  <c:v>230</c:v>
                </c:pt>
                <c:pt idx="18">
                  <c:v>235</c:v>
                </c:pt>
                <c:pt idx="19">
                  <c:v>510</c:v>
                </c:pt>
                <c:pt idx="20">
                  <c:v>#N/A</c:v>
                </c:pt>
                <c:pt idx="21">
                  <c:v>#N/A</c:v>
                </c:pt>
                <c:pt idx="22">
                  <c:v>#N/A</c:v>
                </c:pt>
                <c:pt idx="23">
                  <c:v>#N/A</c:v>
                </c:pt>
                <c:pt idx="24">
                  <c:v>#N/A</c:v>
                </c:pt>
                <c:pt idx="25">
                  <c:v>#N/A</c:v>
                </c:pt>
                <c:pt idx="26">
                  <c:v>#N/A</c:v>
                </c:pt>
                <c:pt idx="27">
                  <c:v>#N/A</c:v>
                </c:pt>
                <c:pt idx="28">
                  <c:v>#N/A</c:v>
                </c:pt>
                <c:pt idx="29">
                  <c:v>250</c:v>
                </c:pt>
                <c:pt idx="30">
                  <c:v>255</c:v>
                </c:pt>
                <c:pt idx="31">
                  <c:v>280</c:v>
                </c:pt>
                <c:pt idx="32">
                  <c:v>170</c:v>
                </c:pt>
                <c:pt idx="33">
                  <c:v>360</c:v>
                </c:pt>
                <c:pt idx="34">
                  <c:v>#N/A</c:v>
                </c:pt>
                <c:pt idx="35">
                  <c:v>#N/A</c:v>
                </c:pt>
                <c:pt idx="36">
                  <c:v>200</c:v>
                </c:pt>
                <c:pt idx="37">
                  <c:v>230</c:v>
                </c:pt>
                <c:pt idx="38">
                  <c:v>200</c:v>
                </c:pt>
                <c:pt idx="39">
                  <c:v>210</c:v>
                </c:pt>
                <c:pt idx="40">
                  <c:v>235</c:v>
                </c:pt>
                <c:pt idx="41">
                  <c:v>#N/A</c:v>
                </c:pt>
                <c:pt idx="42">
                  <c:v>#N/A</c:v>
                </c:pt>
                <c:pt idx="43">
                  <c:v>150</c:v>
                </c:pt>
                <c:pt idx="44">
                  <c:v>185</c:v>
                </c:pt>
                <c:pt idx="45">
                  <c:v>180</c:v>
                </c:pt>
                <c:pt idx="46">
                  <c:v>150</c:v>
                </c:pt>
                <c:pt idx="47">
                  <c:v>155</c:v>
                </c:pt>
                <c:pt idx="48">
                  <c:v>#N/A</c:v>
                </c:pt>
                <c:pt idx="49">
                  <c:v>#N/A</c:v>
                </c:pt>
                <c:pt idx="50">
                  <c:v>135</c:v>
                </c:pt>
                <c:pt idx="51">
                  <c:v>180</c:v>
                </c:pt>
                <c:pt idx="52">
                  <c:v>130</c:v>
                </c:pt>
                <c:pt idx="53">
                  <c:v>185</c:v>
                </c:pt>
                <c:pt idx="54">
                  <c:v>195</c:v>
                </c:pt>
                <c:pt idx="55">
                  <c:v>#N/A</c:v>
                </c:pt>
                <c:pt idx="56">
                  <c:v>#N/A</c:v>
                </c:pt>
                <c:pt idx="57">
                  <c:v>50</c:v>
                </c:pt>
                <c:pt idx="58">
                  <c:v>205</c:v>
                </c:pt>
                <c:pt idx="60">
                  <c:v>110</c:v>
                </c:pt>
                <c:pt idx="61">
                  <c:v>120</c:v>
                </c:pt>
                <c:pt idx="62">
                  <c:v>110</c:v>
                </c:pt>
                <c:pt idx="63">
                  <c:v>#N/A</c:v>
                </c:pt>
                <c:pt idx="64">
                  <c:v>#N/A</c:v>
                </c:pt>
                <c:pt idx="65">
                  <c:v>120</c:v>
                </c:pt>
                <c:pt idx="66">
                  <c:v>20</c:v>
                </c:pt>
                <c:pt idx="67">
                  <c:v>180</c:v>
                </c:pt>
                <c:pt idx="68">
                  <c:v>125</c:v>
                </c:pt>
                <c:pt idx="69">
                  <c:v>110</c:v>
                </c:pt>
                <c:pt idx="70">
                  <c:v>#N/A</c:v>
                </c:pt>
                <c:pt idx="71">
                  <c:v>#N/A</c:v>
                </c:pt>
                <c:pt idx="72">
                  <c:v>160</c:v>
                </c:pt>
                <c:pt idx="73">
                  <c:v>100</c:v>
                </c:pt>
                <c:pt idx="74">
                  <c:v>60</c:v>
                </c:pt>
                <c:pt idx="75">
                  <c:v>130</c:v>
                </c:pt>
                <c:pt idx="76">
                  <c:v>190</c:v>
                </c:pt>
                <c:pt idx="77">
                  <c:v>#N/A</c:v>
                </c:pt>
                <c:pt idx="78">
                  <c:v>#N/A</c:v>
                </c:pt>
                <c:pt idx="79">
                  <c:v>165</c:v>
                </c:pt>
                <c:pt idx="80">
                  <c:v>130</c:v>
                </c:pt>
                <c:pt idx="81">
                  <c:v>55</c:v>
                </c:pt>
                <c:pt idx="82">
                  <c:v>80</c:v>
                </c:pt>
                <c:pt idx="83">
                  <c:v>100</c:v>
                </c:pt>
                <c:pt idx="84">
                  <c:v>#N/A</c:v>
                </c:pt>
                <c:pt idx="85">
                  <c:v>#N/A</c:v>
                </c:pt>
                <c:pt idx="86">
                  <c:v>-50</c:v>
                </c:pt>
                <c:pt idx="87">
                  <c:v>25</c:v>
                </c:pt>
                <c:pt idx="88">
                  <c:v>70</c:v>
                </c:pt>
                <c:pt idx="89">
                  <c:v>110</c:v>
                </c:pt>
                <c:pt idx="90">
                  <c:v>0</c:v>
                </c:pt>
                <c:pt idx="91">
                  <c:v>#N/A</c:v>
                </c:pt>
                <c:pt idx="92">
                  <c:v>#N/A</c:v>
                </c:pt>
                <c:pt idx="93">
                  <c:v>0</c:v>
                </c:pt>
                <c:pt idx="94">
                  <c:v>5</c:v>
                </c:pt>
                <c:pt idx="95">
                  <c:v>#N/A</c:v>
                </c:pt>
                <c:pt idx="96">
                  <c:v>10</c:v>
                </c:pt>
                <c:pt idx="97">
                  <c:v>35</c:v>
                </c:pt>
                <c:pt idx="98">
                  <c:v>#N/A</c:v>
                </c:pt>
                <c:pt idx="99">
                  <c:v>#N/A</c:v>
                </c:pt>
                <c:pt idx="100">
                  <c:v>-50</c:v>
                </c:pt>
                <c:pt idx="101">
                  <c:v>-60</c:v>
                </c:pt>
                <c:pt idx="102">
                  <c:v>35</c:v>
                </c:pt>
                <c:pt idx="103">
                  <c:v>20</c:v>
                </c:pt>
                <c:pt idx="104">
                  <c:v>45</c:v>
                </c:pt>
                <c:pt idx="105">
                  <c:v>#N/A</c:v>
                </c:pt>
                <c:pt idx="106">
                  <c:v>#N/A</c:v>
                </c:pt>
                <c:pt idx="107">
                  <c:v>30</c:v>
                </c:pt>
                <c:pt idx="108">
                  <c:v>75</c:v>
                </c:pt>
                <c:pt idx="109">
                  <c:v>-10</c:v>
                </c:pt>
                <c:pt idx="110">
                  <c:v>10</c:v>
                </c:pt>
                <c:pt idx="111">
                  <c:v>30</c:v>
                </c:pt>
                <c:pt idx="112">
                  <c:v>#N/A</c:v>
                </c:pt>
                <c:pt idx="113">
                  <c:v>#N/A</c:v>
                </c:pt>
                <c:pt idx="114">
                  <c:v>-80</c:v>
                </c:pt>
                <c:pt idx="115">
                  <c:v>75</c:v>
                </c:pt>
                <c:pt idx="116">
                  <c:v>10</c:v>
                </c:pt>
                <c:pt idx="117">
                  <c:v>10</c:v>
                </c:pt>
                <c:pt idx="118">
                  <c:v>45</c:v>
                </c:pt>
                <c:pt idx="119">
                  <c:v>#N/A</c:v>
                </c:pt>
                <c:pt idx="120">
                  <c:v>#N/A</c:v>
                </c:pt>
                <c:pt idx="121">
                  <c:v>#N/A</c:v>
                </c:pt>
                <c:pt idx="122">
                  <c:v>#N/A</c:v>
                </c:pt>
                <c:pt idx="123">
                  <c:v>#N/A</c:v>
                </c:pt>
                <c:pt idx="124">
                  <c:v>60</c:v>
                </c:pt>
                <c:pt idx="125">
                  <c:v>75</c:v>
                </c:pt>
                <c:pt idx="126">
                  <c:v>#N/A</c:v>
                </c:pt>
                <c:pt idx="127">
                  <c:v>#N/A</c:v>
                </c:pt>
                <c:pt idx="128">
                  <c:v>-45</c:v>
                </c:pt>
                <c:pt idx="129">
                  <c:v>0</c:v>
                </c:pt>
                <c:pt idx="130">
                  <c:v>-50</c:v>
                </c:pt>
                <c:pt idx="131">
                  <c:v>-35</c:v>
                </c:pt>
                <c:pt idx="132">
                  <c:v>-40</c:v>
                </c:pt>
                <c:pt idx="133">
                  <c:v>#N/A</c:v>
                </c:pt>
                <c:pt idx="134">
                  <c:v>#N/A</c:v>
                </c:pt>
                <c:pt idx="135">
                  <c:v>-50</c:v>
                </c:pt>
                <c:pt idx="136">
                  <c:v>-45</c:v>
                </c:pt>
                <c:pt idx="137">
                  <c:v>0</c:v>
                </c:pt>
                <c:pt idx="138">
                  <c:v>-20</c:v>
                </c:pt>
                <c:pt idx="139">
                  <c:v>-10</c:v>
                </c:pt>
                <c:pt idx="140">
                  <c:v>#N/A</c:v>
                </c:pt>
                <c:pt idx="141">
                  <c:v>#N/A</c:v>
                </c:pt>
                <c:pt idx="142">
                  <c:v>-30</c:v>
                </c:pt>
                <c:pt idx="143">
                  <c:v>90</c:v>
                </c:pt>
                <c:pt idx="144">
                  <c:v>-60</c:v>
                </c:pt>
                <c:pt idx="145">
                  <c:v>-35</c:v>
                </c:pt>
                <c:pt idx="146">
                  <c:v>-70</c:v>
                </c:pt>
                <c:pt idx="147">
                  <c:v>#N/A</c:v>
                </c:pt>
                <c:pt idx="148">
                  <c:v>#N/A</c:v>
                </c:pt>
                <c:pt idx="149">
                  <c:v>-70</c:v>
                </c:pt>
                <c:pt idx="150">
                  <c:v>-75</c:v>
                </c:pt>
                <c:pt idx="151">
                  <c:v>-65</c:v>
                </c:pt>
                <c:pt idx="152">
                  <c:v>-35</c:v>
                </c:pt>
                <c:pt idx="153">
                  <c:v>-35</c:v>
                </c:pt>
                <c:pt idx="154">
                  <c:v>#N/A</c:v>
                </c:pt>
                <c:pt idx="155">
                  <c:v>#N/A</c:v>
                </c:pt>
                <c:pt idx="156">
                  <c:v>-50</c:v>
                </c:pt>
                <c:pt idx="157">
                  <c:v>-25</c:v>
                </c:pt>
                <c:pt idx="158">
                  <c:v>-20</c:v>
                </c:pt>
                <c:pt idx="159">
                  <c:v>-40</c:v>
                </c:pt>
                <c:pt idx="160">
                  <c:v>-90</c:v>
                </c:pt>
                <c:pt idx="161">
                  <c:v>#N/A</c:v>
                </c:pt>
                <c:pt idx="162">
                  <c:v>#N/A</c:v>
                </c:pt>
                <c:pt idx="163">
                  <c:v>-90</c:v>
                </c:pt>
                <c:pt idx="164">
                  <c:v>-55</c:v>
                </c:pt>
                <c:pt idx="165">
                  <c:v>-60</c:v>
                </c:pt>
                <c:pt idx="166">
                  <c:v>-50</c:v>
                </c:pt>
                <c:pt idx="167">
                  <c:v>-60</c:v>
                </c:pt>
                <c:pt idx="168">
                  <c:v>#N/A</c:v>
                </c:pt>
                <c:pt idx="169">
                  <c:v>#N/A</c:v>
                </c:pt>
                <c:pt idx="170">
                  <c:v>-40</c:v>
                </c:pt>
                <c:pt idx="171">
                  <c:v>-40</c:v>
                </c:pt>
                <c:pt idx="172">
                  <c:v>-55</c:v>
                </c:pt>
                <c:pt idx="173">
                  <c:v>#N/A</c:v>
                </c:pt>
                <c:pt idx="174">
                  <c:v>#N/A</c:v>
                </c:pt>
                <c:pt idx="175">
                  <c:v>#N/A</c:v>
                </c:pt>
                <c:pt idx="176">
                  <c:v>#N/A</c:v>
                </c:pt>
                <c:pt idx="177">
                  <c:v>-50</c:v>
                </c:pt>
                <c:pt idx="178">
                  <c:v>-50</c:v>
                </c:pt>
                <c:pt idx="179">
                  <c:v>-45</c:v>
                </c:pt>
                <c:pt idx="180">
                  <c:v>-35</c:v>
                </c:pt>
                <c:pt idx="181">
                  <c:v>-85</c:v>
                </c:pt>
                <c:pt idx="182">
                  <c:v>#N/A</c:v>
                </c:pt>
                <c:pt idx="183">
                  <c:v>#N/A</c:v>
                </c:pt>
                <c:pt idx="184">
                  <c:v>-30</c:v>
                </c:pt>
                <c:pt idx="185">
                  <c:v>-35</c:v>
                </c:pt>
                <c:pt idx="186">
                  <c:v>-70</c:v>
                </c:pt>
                <c:pt idx="187">
                  <c:v>-40</c:v>
                </c:pt>
                <c:pt idx="188">
                  <c:v>-40</c:v>
                </c:pt>
                <c:pt idx="189">
                  <c:v>#N/A</c:v>
                </c:pt>
                <c:pt idx="190">
                  <c:v>#N/A</c:v>
                </c:pt>
                <c:pt idx="191">
                  <c:v>-40</c:v>
                </c:pt>
                <c:pt idx="192">
                  <c:v>-85</c:v>
                </c:pt>
                <c:pt idx="193">
                  <c:v>-50</c:v>
                </c:pt>
                <c:pt idx="194">
                  <c:v>-80</c:v>
                </c:pt>
                <c:pt idx="195">
                  <c:v>-35</c:v>
                </c:pt>
                <c:pt idx="196">
                  <c:v>#N/A</c:v>
                </c:pt>
                <c:pt idx="197">
                  <c:v>#N/A</c:v>
                </c:pt>
                <c:pt idx="198">
                  <c:v>-60</c:v>
                </c:pt>
                <c:pt idx="199">
                  <c:v>-65</c:v>
                </c:pt>
                <c:pt idx="200">
                  <c:v>-50</c:v>
                </c:pt>
                <c:pt idx="201">
                  <c:v>-40</c:v>
                </c:pt>
                <c:pt idx="202">
                  <c:v>-65</c:v>
                </c:pt>
                <c:pt idx="203">
                  <c:v>#N/A</c:v>
                </c:pt>
                <c:pt idx="204">
                  <c:v>#N/A</c:v>
                </c:pt>
                <c:pt idx="205">
                  <c:v>-45</c:v>
                </c:pt>
                <c:pt idx="206">
                  <c:v>-50</c:v>
                </c:pt>
                <c:pt idx="207">
                  <c:v>-70</c:v>
                </c:pt>
                <c:pt idx="208">
                  <c:v>-70</c:v>
                </c:pt>
                <c:pt idx="209">
                  <c:v>-70</c:v>
                </c:pt>
                <c:pt idx="210">
                  <c:v>#N/A</c:v>
                </c:pt>
                <c:pt idx="211">
                  <c:v>#N/A</c:v>
                </c:pt>
                <c:pt idx="212">
                  <c:v>-80</c:v>
                </c:pt>
                <c:pt idx="213">
                  <c:v>-100</c:v>
                </c:pt>
                <c:pt idx="214">
                  <c:v>-115</c:v>
                </c:pt>
                <c:pt idx="215">
                  <c:v>-135</c:v>
                </c:pt>
                <c:pt idx="216">
                  <c:v>-100</c:v>
                </c:pt>
                <c:pt idx="217">
                  <c:v>#N/A</c:v>
                </c:pt>
                <c:pt idx="218">
                  <c:v>#N/A</c:v>
                </c:pt>
                <c:pt idx="219">
                  <c:v>-125</c:v>
                </c:pt>
                <c:pt idx="220">
                  <c:v>-95</c:v>
                </c:pt>
                <c:pt idx="221">
                  <c:v>-100</c:v>
                </c:pt>
                <c:pt idx="222">
                  <c:v>-120</c:v>
                </c:pt>
                <c:pt idx="223">
                  <c:v>-110</c:v>
                </c:pt>
                <c:pt idx="224">
                  <c:v>#N/A</c:v>
                </c:pt>
                <c:pt idx="225">
                  <c:v>#N/A</c:v>
                </c:pt>
                <c:pt idx="226">
                  <c:v>-125</c:v>
                </c:pt>
                <c:pt idx="227">
                  <c:v>-110</c:v>
                </c:pt>
                <c:pt idx="228">
                  <c:v>-115</c:v>
                </c:pt>
                <c:pt idx="229">
                  <c:v>-90</c:v>
                </c:pt>
                <c:pt idx="230">
                  <c:v>-85</c:v>
                </c:pt>
                <c:pt idx="231">
                  <c:v>#N/A</c:v>
                </c:pt>
                <c:pt idx="232">
                  <c:v>#N/A</c:v>
                </c:pt>
                <c:pt idx="233">
                  <c:v>-75</c:v>
                </c:pt>
                <c:pt idx="234">
                  <c:v>-100</c:v>
                </c:pt>
                <c:pt idx="235">
                  <c:v>-110</c:v>
                </c:pt>
                <c:pt idx="236">
                  <c:v>-105</c:v>
                </c:pt>
                <c:pt idx="237">
                  <c:v>-125</c:v>
                </c:pt>
                <c:pt idx="238">
                  <c:v>#N/A</c:v>
                </c:pt>
                <c:pt idx="239">
                  <c:v>#N/A</c:v>
                </c:pt>
                <c:pt idx="240">
                  <c:v>-120</c:v>
                </c:pt>
                <c:pt idx="241">
                  <c:v>-145</c:v>
                </c:pt>
                <c:pt idx="242">
                  <c:v>-140</c:v>
                </c:pt>
                <c:pt idx="243">
                  <c:v>-165</c:v>
                </c:pt>
                <c:pt idx="244">
                  <c:v>-200</c:v>
                </c:pt>
                <c:pt idx="245">
                  <c:v>#N/A</c:v>
                </c:pt>
                <c:pt idx="246">
                  <c:v>#N/A</c:v>
                </c:pt>
                <c:pt idx="247">
                  <c:v>-175</c:v>
                </c:pt>
                <c:pt idx="248">
                  <c:v>-155</c:v>
                </c:pt>
                <c:pt idx="249">
                  <c:v>-190</c:v>
                </c:pt>
                <c:pt idx="250">
                  <c:v>-155</c:v>
                </c:pt>
                <c:pt idx="251">
                  <c:v>-145</c:v>
                </c:pt>
                <c:pt idx="252">
                  <c:v>#N/A</c:v>
                </c:pt>
                <c:pt idx="253">
                  <c:v>#N/A</c:v>
                </c:pt>
                <c:pt idx="254">
                  <c:v>-195</c:v>
                </c:pt>
                <c:pt idx="255">
                  <c:v>-135</c:v>
                </c:pt>
                <c:pt idx="256">
                  <c:v>-150</c:v>
                </c:pt>
                <c:pt idx="257">
                  <c:v>-140</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1-9614-409E-94E1-A243667C4EE2}"/>
            </c:ext>
          </c:extLst>
        </c:ser>
        <c:ser>
          <c:idx val="2"/>
          <c:order val="2"/>
          <c:tx>
            <c:strRef>
              <c:f>套利价差!$CG$4</c:f>
              <c:strCache>
                <c:ptCount val="1"/>
                <c:pt idx="0">
                  <c:v>2024</c:v>
                </c:pt>
              </c:strCache>
            </c:strRef>
          </c:tx>
          <c:spPr>
            <a:ln w="28575" cap="rnd">
              <a:solidFill>
                <a:schemeClr val="tx1"/>
              </a:solidFill>
              <a:round/>
            </a:ln>
            <a:effectLst/>
          </c:spPr>
          <c:marker>
            <c:symbol val="none"/>
          </c:marker>
          <c:cat>
            <c:strRef>
              <c:f>套利价差!$CD$5:$CD$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套利价差!$CG$5:$CG$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340</c:v>
                </c:pt>
                <c:pt idx="75">
                  <c:v>#N/A</c:v>
                </c:pt>
                <c:pt idx="76">
                  <c:v>#N/A</c:v>
                </c:pt>
                <c:pt idx="77">
                  <c:v>-160</c:v>
                </c:pt>
                <c:pt idx="78">
                  <c:v>-135</c:v>
                </c:pt>
                <c:pt idx="79">
                  <c:v>-120</c:v>
                </c:pt>
                <c:pt idx="80">
                  <c:v>-125</c:v>
                </c:pt>
                <c:pt idx="81">
                  <c:v>-135</c:v>
                </c:pt>
                <c:pt idx="82">
                  <c:v>#N/A</c:v>
                </c:pt>
                <c:pt idx="83">
                  <c:v>#N/A</c:v>
                </c:pt>
                <c:pt idx="84">
                  <c:v>-105</c:v>
                </c:pt>
                <c:pt idx="85">
                  <c:v>-160</c:v>
                </c:pt>
                <c:pt idx="86">
                  <c:v>-95</c:v>
                </c:pt>
                <c:pt idx="87">
                  <c:v>-80</c:v>
                </c:pt>
                <c:pt idx="88">
                  <c:v>-135</c:v>
                </c:pt>
                <c:pt idx="89">
                  <c:v>#N/A</c:v>
                </c:pt>
                <c:pt idx="90">
                  <c:v>#N/A</c:v>
                </c:pt>
                <c:pt idx="91">
                  <c:v>-145</c:v>
                </c:pt>
                <c:pt idx="92">
                  <c:v>-130</c:v>
                </c:pt>
                <c:pt idx="93">
                  <c:v>-100</c:v>
                </c:pt>
                <c:pt idx="94">
                  <c:v>#N/A</c:v>
                </c:pt>
                <c:pt idx="95">
                  <c:v>#N/A</c:v>
                </c:pt>
                <c:pt idx="96">
                  <c:v>#N/A</c:v>
                </c:pt>
                <c:pt idx="97">
                  <c:v>#N/A</c:v>
                </c:pt>
                <c:pt idx="98">
                  <c:v>-70</c:v>
                </c:pt>
                <c:pt idx="99">
                  <c:v>-45</c:v>
                </c:pt>
                <c:pt idx="100">
                  <c:v>-20</c:v>
                </c:pt>
                <c:pt idx="101">
                  <c:v>-45</c:v>
                </c:pt>
                <c:pt idx="102">
                  <c:v>-5</c:v>
                </c:pt>
                <c:pt idx="103">
                  <c:v>#N/A</c:v>
                </c:pt>
                <c:pt idx="104">
                  <c:v>#N/A</c:v>
                </c:pt>
                <c:pt idx="105">
                  <c:v>-15</c:v>
                </c:pt>
                <c:pt idx="106">
                  <c:v>-35</c:v>
                </c:pt>
                <c:pt idx="107">
                  <c:v>-70</c:v>
                </c:pt>
                <c:pt idx="108">
                  <c:v>-75</c:v>
                </c:pt>
                <c:pt idx="109">
                  <c:v>-95</c:v>
                </c:pt>
                <c:pt idx="110">
                  <c:v>#N/A</c:v>
                </c:pt>
                <c:pt idx="111">
                  <c:v>#N/A</c:v>
                </c:pt>
                <c:pt idx="112">
                  <c:v>-65</c:v>
                </c:pt>
                <c:pt idx="113">
                  <c:v>-90</c:v>
                </c:pt>
                <c:pt idx="114">
                  <c:v>-85</c:v>
                </c:pt>
                <c:pt idx="115">
                  <c:v>-80</c:v>
                </c:pt>
                <c:pt idx="116">
                  <c:v>-85</c:v>
                </c:pt>
                <c:pt idx="117">
                  <c:v>#N/A</c:v>
                </c:pt>
                <c:pt idx="118">
                  <c:v>#N/A</c:v>
                </c:pt>
                <c:pt idx="119">
                  <c:v>-60</c:v>
                </c:pt>
                <c:pt idx="120">
                  <c:v>-70</c:v>
                </c:pt>
                <c:pt idx="121">
                  <c:v>#N/A</c:v>
                </c:pt>
                <c:pt idx="122">
                  <c:v>#N/A</c:v>
                </c:pt>
                <c:pt idx="123">
                  <c:v>#N/A</c:v>
                </c:pt>
                <c:pt idx="124">
                  <c:v>#N/A</c:v>
                </c:pt>
                <c:pt idx="125">
                  <c:v>#N/A</c:v>
                </c:pt>
                <c:pt idx="126">
                  <c:v>-90</c:v>
                </c:pt>
                <c:pt idx="127">
                  <c:v>-85</c:v>
                </c:pt>
                <c:pt idx="128">
                  <c:v>-130</c:v>
                </c:pt>
                <c:pt idx="129">
                  <c:v>-95</c:v>
                </c:pt>
                <c:pt idx="130">
                  <c:v>-110</c:v>
                </c:pt>
                <c:pt idx="131">
                  <c:v>#N/A</c:v>
                </c:pt>
                <c:pt idx="132">
                  <c:v>#N/A</c:v>
                </c:pt>
                <c:pt idx="133">
                  <c:v>-100</c:v>
                </c:pt>
                <c:pt idx="134">
                  <c:v>-140</c:v>
                </c:pt>
                <c:pt idx="135">
                  <c:v>-115</c:v>
                </c:pt>
                <c:pt idx="136">
                  <c:v>-125</c:v>
                </c:pt>
                <c:pt idx="137">
                  <c:v>-130</c:v>
                </c:pt>
                <c:pt idx="138">
                  <c:v>#N/A</c:v>
                </c:pt>
                <c:pt idx="139">
                  <c:v>#N/A</c:v>
                </c:pt>
                <c:pt idx="140">
                  <c:v>-95</c:v>
                </c:pt>
                <c:pt idx="141">
                  <c:v>-135</c:v>
                </c:pt>
                <c:pt idx="142">
                  <c:v>-130</c:v>
                </c:pt>
                <c:pt idx="143">
                  <c:v>-125</c:v>
                </c:pt>
                <c:pt idx="144">
                  <c:v>-90</c:v>
                </c:pt>
                <c:pt idx="145">
                  <c:v>#N/A</c:v>
                </c:pt>
                <c:pt idx="146">
                  <c:v>#N/A</c:v>
                </c:pt>
                <c:pt idx="147">
                  <c:v>-125</c:v>
                </c:pt>
                <c:pt idx="148">
                  <c:v>-130</c:v>
                </c:pt>
                <c:pt idx="149">
                  <c:v>-65</c:v>
                </c:pt>
                <c:pt idx="150">
                  <c:v>-60</c:v>
                </c:pt>
                <c:pt idx="151">
                  <c:v>-105</c:v>
                </c:pt>
                <c:pt idx="152">
                  <c:v>#N/A</c:v>
                </c:pt>
                <c:pt idx="153">
                  <c:v>#N/A</c:v>
                </c:pt>
                <c:pt idx="154">
                  <c:v>-125</c:v>
                </c:pt>
                <c:pt idx="155">
                  <c:v>-105</c:v>
                </c:pt>
                <c:pt idx="156">
                  <c:v>-120</c:v>
                </c:pt>
                <c:pt idx="157">
                  <c:v>-140</c:v>
                </c:pt>
                <c:pt idx="158">
                  <c:v>-135</c:v>
                </c:pt>
                <c:pt idx="159">
                  <c:v>#N/A</c:v>
                </c:pt>
                <c:pt idx="160">
                  <c:v>#N/A</c:v>
                </c:pt>
                <c:pt idx="161">
                  <c:v>#N/A</c:v>
                </c:pt>
                <c:pt idx="162">
                  <c:v>-150</c:v>
                </c:pt>
                <c:pt idx="163">
                  <c:v>-145</c:v>
                </c:pt>
                <c:pt idx="164">
                  <c:v>-125</c:v>
                </c:pt>
                <c:pt idx="165">
                  <c:v>-125</c:v>
                </c:pt>
                <c:pt idx="166">
                  <c:v>#N/A</c:v>
                </c:pt>
                <c:pt idx="167">
                  <c:v>#N/A</c:v>
                </c:pt>
                <c:pt idx="168">
                  <c:v>-135</c:v>
                </c:pt>
                <c:pt idx="169">
                  <c:v>-155</c:v>
                </c:pt>
                <c:pt idx="170">
                  <c:v>-140</c:v>
                </c:pt>
                <c:pt idx="171">
                  <c:v>-130</c:v>
                </c:pt>
                <c:pt idx="172">
                  <c:v>-150</c:v>
                </c:pt>
                <c:pt idx="173">
                  <c:v>#N/A</c:v>
                </c:pt>
                <c:pt idx="174">
                  <c:v>#N/A</c:v>
                </c:pt>
                <c:pt idx="175">
                  <c:v>-175</c:v>
                </c:pt>
                <c:pt idx="176">
                  <c:v>-155</c:v>
                </c:pt>
                <c:pt idx="177">
                  <c:v>-170</c:v>
                </c:pt>
                <c:pt idx="178">
                  <c:v>-160</c:v>
                </c:pt>
                <c:pt idx="179">
                  <c:v>-165</c:v>
                </c:pt>
                <c:pt idx="180">
                  <c:v>#N/A</c:v>
                </c:pt>
                <c:pt idx="181">
                  <c:v>#N/A</c:v>
                </c:pt>
                <c:pt idx="182">
                  <c:v>-150</c:v>
                </c:pt>
                <c:pt idx="183">
                  <c:v>-165</c:v>
                </c:pt>
                <c:pt idx="184">
                  <c:v>-145</c:v>
                </c:pt>
                <c:pt idx="185">
                  <c:v>-170</c:v>
                </c:pt>
                <c:pt idx="186">
                  <c:v>-16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2-9614-409E-94E1-A243667C4EE2}"/>
            </c:ext>
          </c:extLst>
        </c:ser>
        <c:dLbls>
          <c:showLegendKey val="0"/>
          <c:showVal val="0"/>
          <c:showCatName val="0"/>
          <c:showSerName val="0"/>
          <c:showPercent val="0"/>
          <c:showBubbleSize val="0"/>
        </c:dLbls>
        <c:smooth val="0"/>
        <c:axId val="1358149040"/>
        <c:axId val="1358156240"/>
      </c:lineChart>
      <c:catAx>
        <c:axId val="1358149040"/>
        <c:scaling>
          <c:orientation val="minMax"/>
        </c:scaling>
        <c:delete val="0"/>
        <c:axPos val="b"/>
        <c:numFmt formatCode="#,##0_);[Red]\(#,##0\)"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j-ea"/>
                <a:ea typeface="+mj-ea"/>
                <a:cs typeface="+mn-cs"/>
              </a:defRPr>
            </a:pPr>
            <a:endParaRPr lang="zh-CN"/>
          </a:p>
        </c:txPr>
        <c:crossAx val="1358156240"/>
        <c:crosses val="autoZero"/>
        <c:auto val="1"/>
        <c:lblAlgn val="ctr"/>
        <c:lblOffset val="100"/>
        <c:noMultiLvlLbl val="0"/>
      </c:catAx>
      <c:valAx>
        <c:axId val="1358156240"/>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j-ea"/>
                <a:ea typeface="+mj-ea"/>
                <a:cs typeface="+mn-cs"/>
              </a:defRPr>
            </a:pPr>
            <a:endParaRPr lang="zh-CN"/>
          </a:p>
        </c:txPr>
        <c:crossAx val="13581490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j-ea"/>
              <a:ea typeface="+mj-ea"/>
              <a:cs typeface="+mn-cs"/>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j-ea"/>
          <a:ea typeface="+mj-ea"/>
        </a:defRPr>
      </a:pPr>
      <a:endParaRPr lang="zh-CN"/>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ysClr val="windowText" lastClr="000000"/>
                </a:solidFill>
                <a:latin typeface="+mn-lt"/>
                <a:ea typeface="+mn-ea"/>
                <a:cs typeface="+mn-ea"/>
                <a:sym typeface="+mn-lt"/>
              </a:defRPr>
            </a:pPr>
            <a:r>
              <a:rPr lang="zh-CN"/>
              <a:t>电极价格</a:t>
            </a:r>
            <a:endParaRPr lang="en-US"/>
          </a:p>
        </c:rich>
      </c:tx>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mn-lt"/>
              <a:ea typeface="+mn-ea"/>
              <a:cs typeface="+mn-ea"/>
              <a:sym typeface="+mn-lt"/>
            </a:defRPr>
          </a:pPr>
          <a:endParaRPr lang="zh-CN"/>
        </a:p>
      </c:txPr>
    </c:title>
    <c:autoTitleDeleted val="0"/>
    <c:plotArea>
      <c:layout/>
      <c:lineChart>
        <c:grouping val="standard"/>
        <c:varyColors val="0"/>
        <c:ser>
          <c:idx val="0"/>
          <c:order val="0"/>
          <c:tx>
            <c:strRef>
              <c:f>百川电极!$U$2</c:f>
              <c:strCache>
                <c:ptCount val="1"/>
                <c:pt idx="0">
                  <c:v>西南炭电极1272mm</c:v>
                </c:pt>
              </c:strCache>
            </c:strRef>
          </c:tx>
          <c:spPr>
            <a:ln w="28575" cap="rnd">
              <a:solidFill>
                <a:schemeClr val="accent5">
                  <a:lumMod val="75000"/>
                </a:schemeClr>
              </a:solidFill>
              <a:round/>
            </a:ln>
            <a:effectLst/>
          </c:spPr>
          <c:marker>
            <c:symbol val="none"/>
          </c:marker>
          <c:cat>
            <c:numRef>
              <c:f>百川电极!$T$3:$T$925</c:f>
              <c:numCache>
                <c:formatCode>yyyy\-mm\-dd</c:formatCode>
                <c:ptCount val="923"/>
                <c:pt idx="0">
                  <c:v>45478</c:v>
                </c:pt>
                <c:pt idx="1">
                  <c:v>45477</c:v>
                </c:pt>
                <c:pt idx="2">
                  <c:v>45476</c:v>
                </c:pt>
                <c:pt idx="3">
                  <c:v>45475</c:v>
                </c:pt>
                <c:pt idx="4">
                  <c:v>45474</c:v>
                </c:pt>
                <c:pt idx="5">
                  <c:v>45473</c:v>
                </c:pt>
                <c:pt idx="6">
                  <c:v>45472</c:v>
                </c:pt>
                <c:pt idx="7">
                  <c:v>45471</c:v>
                </c:pt>
                <c:pt idx="8">
                  <c:v>45470</c:v>
                </c:pt>
                <c:pt idx="9">
                  <c:v>45469</c:v>
                </c:pt>
                <c:pt idx="10">
                  <c:v>45468</c:v>
                </c:pt>
                <c:pt idx="11">
                  <c:v>45467</c:v>
                </c:pt>
                <c:pt idx="12">
                  <c:v>45466</c:v>
                </c:pt>
                <c:pt idx="13">
                  <c:v>45465</c:v>
                </c:pt>
                <c:pt idx="14">
                  <c:v>45464</c:v>
                </c:pt>
                <c:pt idx="15">
                  <c:v>45463</c:v>
                </c:pt>
                <c:pt idx="16">
                  <c:v>45462</c:v>
                </c:pt>
                <c:pt idx="17">
                  <c:v>45461</c:v>
                </c:pt>
                <c:pt idx="18">
                  <c:v>45460</c:v>
                </c:pt>
                <c:pt idx="19">
                  <c:v>45459</c:v>
                </c:pt>
                <c:pt idx="20">
                  <c:v>45458</c:v>
                </c:pt>
                <c:pt idx="21">
                  <c:v>45457</c:v>
                </c:pt>
                <c:pt idx="22">
                  <c:v>45456</c:v>
                </c:pt>
                <c:pt idx="23">
                  <c:v>45455</c:v>
                </c:pt>
                <c:pt idx="24">
                  <c:v>45454</c:v>
                </c:pt>
                <c:pt idx="25">
                  <c:v>45453</c:v>
                </c:pt>
                <c:pt idx="26">
                  <c:v>45452</c:v>
                </c:pt>
                <c:pt idx="27">
                  <c:v>45451</c:v>
                </c:pt>
                <c:pt idx="28">
                  <c:v>45450</c:v>
                </c:pt>
                <c:pt idx="29">
                  <c:v>45449</c:v>
                </c:pt>
                <c:pt idx="30">
                  <c:v>45448</c:v>
                </c:pt>
                <c:pt idx="31">
                  <c:v>45447</c:v>
                </c:pt>
                <c:pt idx="32">
                  <c:v>45446</c:v>
                </c:pt>
                <c:pt idx="33">
                  <c:v>45445</c:v>
                </c:pt>
                <c:pt idx="34">
                  <c:v>45444</c:v>
                </c:pt>
                <c:pt idx="35">
                  <c:v>45443</c:v>
                </c:pt>
                <c:pt idx="36">
                  <c:v>45442</c:v>
                </c:pt>
                <c:pt idx="37">
                  <c:v>45441</c:v>
                </c:pt>
                <c:pt idx="38">
                  <c:v>45440</c:v>
                </c:pt>
                <c:pt idx="39">
                  <c:v>45439</c:v>
                </c:pt>
                <c:pt idx="40">
                  <c:v>45438</c:v>
                </c:pt>
                <c:pt idx="41">
                  <c:v>45437</c:v>
                </c:pt>
                <c:pt idx="42">
                  <c:v>45436</c:v>
                </c:pt>
                <c:pt idx="43">
                  <c:v>45435</c:v>
                </c:pt>
                <c:pt idx="44">
                  <c:v>45434</c:v>
                </c:pt>
                <c:pt idx="45">
                  <c:v>45433</c:v>
                </c:pt>
                <c:pt idx="46">
                  <c:v>45432</c:v>
                </c:pt>
                <c:pt idx="47">
                  <c:v>45431</c:v>
                </c:pt>
                <c:pt idx="48">
                  <c:v>45430</c:v>
                </c:pt>
                <c:pt idx="49">
                  <c:v>45429</c:v>
                </c:pt>
                <c:pt idx="50">
                  <c:v>45428</c:v>
                </c:pt>
                <c:pt idx="51">
                  <c:v>45427</c:v>
                </c:pt>
                <c:pt idx="52">
                  <c:v>45426</c:v>
                </c:pt>
                <c:pt idx="53">
                  <c:v>45425</c:v>
                </c:pt>
                <c:pt idx="54">
                  <c:v>45424</c:v>
                </c:pt>
                <c:pt idx="55">
                  <c:v>45423</c:v>
                </c:pt>
                <c:pt idx="56">
                  <c:v>45422</c:v>
                </c:pt>
                <c:pt idx="57">
                  <c:v>45421</c:v>
                </c:pt>
                <c:pt idx="58">
                  <c:v>45420</c:v>
                </c:pt>
                <c:pt idx="59">
                  <c:v>45419</c:v>
                </c:pt>
                <c:pt idx="60">
                  <c:v>45418</c:v>
                </c:pt>
                <c:pt idx="61">
                  <c:v>45417</c:v>
                </c:pt>
                <c:pt idx="62">
                  <c:v>45416</c:v>
                </c:pt>
                <c:pt idx="63">
                  <c:v>45415</c:v>
                </c:pt>
                <c:pt idx="64">
                  <c:v>45414</c:v>
                </c:pt>
                <c:pt idx="65">
                  <c:v>45413</c:v>
                </c:pt>
                <c:pt idx="66">
                  <c:v>45412</c:v>
                </c:pt>
                <c:pt idx="67">
                  <c:v>45411</c:v>
                </c:pt>
                <c:pt idx="68">
                  <c:v>45410</c:v>
                </c:pt>
                <c:pt idx="69">
                  <c:v>45409</c:v>
                </c:pt>
                <c:pt idx="70">
                  <c:v>45408</c:v>
                </c:pt>
                <c:pt idx="71">
                  <c:v>45407</c:v>
                </c:pt>
                <c:pt idx="72">
                  <c:v>45406</c:v>
                </c:pt>
                <c:pt idx="73">
                  <c:v>45405</c:v>
                </c:pt>
                <c:pt idx="74">
                  <c:v>45404</c:v>
                </c:pt>
                <c:pt idx="75">
                  <c:v>45403</c:v>
                </c:pt>
                <c:pt idx="76">
                  <c:v>45402</c:v>
                </c:pt>
                <c:pt idx="77">
                  <c:v>45401</c:v>
                </c:pt>
                <c:pt idx="78">
                  <c:v>45400</c:v>
                </c:pt>
                <c:pt idx="79">
                  <c:v>45399</c:v>
                </c:pt>
                <c:pt idx="80">
                  <c:v>45398</c:v>
                </c:pt>
                <c:pt idx="81">
                  <c:v>45397</c:v>
                </c:pt>
                <c:pt idx="82">
                  <c:v>45396</c:v>
                </c:pt>
                <c:pt idx="83">
                  <c:v>45395</c:v>
                </c:pt>
                <c:pt idx="84">
                  <c:v>45394</c:v>
                </c:pt>
                <c:pt idx="85">
                  <c:v>45393</c:v>
                </c:pt>
                <c:pt idx="86">
                  <c:v>45392</c:v>
                </c:pt>
                <c:pt idx="87">
                  <c:v>45391</c:v>
                </c:pt>
                <c:pt idx="88">
                  <c:v>45390</c:v>
                </c:pt>
                <c:pt idx="89">
                  <c:v>45389</c:v>
                </c:pt>
                <c:pt idx="90">
                  <c:v>45388</c:v>
                </c:pt>
                <c:pt idx="91">
                  <c:v>45387</c:v>
                </c:pt>
                <c:pt idx="92">
                  <c:v>45386</c:v>
                </c:pt>
                <c:pt idx="93">
                  <c:v>45385</c:v>
                </c:pt>
                <c:pt idx="94">
                  <c:v>45384</c:v>
                </c:pt>
                <c:pt idx="95">
                  <c:v>45383</c:v>
                </c:pt>
                <c:pt idx="96">
                  <c:v>45382</c:v>
                </c:pt>
                <c:pt idx="97">
                  <c:v>45381</c:v>
                </c:pt>
                <c:pt idx="98">
                  <c:v>45380</c:v>
                </c:pt>
                <c:pt idx="99">
                  <c:v>45379</c:v>
                </c:pt>
                <c:pt idx="100">
                  <c:v>45378</c:v>
                </c:pt>
                <c:pt idx="101">
                  <c:v>45377</c:v>
                </c:pt>
                <c:pt idx="102">
                  <c:v>45376</c:v>
                </c:pt>
                <c:pt idx="103">
                  <c:v>45375</c:v>
                </c:pt>
                <c:pt idx="104">
                  <c:v>45374</c:v>
                </c:pt>
                <c:pt idx="105">
                  <c:v>45373</c:v>
                </c:pt>
                <c:pt idx="106">
                  <c:v>45372</c:v>
                </c:pt>
                <c:pt idx="107">
                  <c:v>45371</c:v>
                </c:pt>
                <c:pt idx="108">
                  <c:v>45370</c:v>
                </c:pt>
                <c:pt idx="109">
                  <c:v>45369</c:v>
                </c:pt>
                <c:pt idx="110">
                  <c:v>45368</c:v>
                </c:pt>
                <c:pt idx="111">
                  <c:v>45367</c:v>
                </c:pt>
                <c:pt idx="112">
                  <c:v>45366</c:v>
                </c:pt>
                <c:pt idx="113">
                  <c:v>45365</c:v>
                </c:pt>
                <c:pt idx="114">
                  <c:v>45364</c:v>
                </c:pt>
                <c:pt idx="115">
                  <c:v>45363</c:v>
                </c:pt>
                <c:pt idx="116">
                  <c:v>45362</c:v>
                </c:pt>
                <c:pt idx="117">
                  <c:v>45361</c:v>
                </c:pt>
                <c:pt idx="118">
                  <c:v>45360</c:v>
                </c:pt>
                <c:pt idx="119">
                  <c:v>45359</c:v>
                </c:pt>
                <c:pt idx="120">
                  <c:v>45358</c:v>
                </c:pt>
                <c:pt idx="121">
                  <c:v>45357</c:v>
                </c:pt>
                <c:pt idx="122">
                  <c:v>45356</c:v>
                </c:pt>
                <c:pt idx="123">
                  <c:v>45355</c:v>
                </c:pt>
                <c:pt idx="124">
                  <c:v>45354</c:v>
                </c:pt>
                <c:pt idx="125">
                  <c:v>45353</c:v>
                </c:pt>
                <c:pt idx="126">
                  <c:v>45352</c:v>
                </c:pt>
                <c:pt idx="127">
                  <c:v>45351</c:v>
                </c:pt>
                <c:pt idx="128">
                  <c:v>45350</c:v>
                </c:pt>
                <c:pt idx="129">
                  <c:v>45349</c:v>
                </c:pt>
                <c:pt idx="130">
                  <c:v>45348</c:v>
                </c:pt>
                <c:pt idx="131">
                  <c:v>45347</c:v>
                </c:pt>
                <c:pt idx="132">
                  <c:v>45346</c:v>
                </c:pt>
                <c:pt idx="133">
                  <c:v>45345</c:v>
                </c:pt>
                <c:pt idx="134">
                  <c:v>45344</c:v>
                </c:pt>
                <c:pt idx="135">
                  <c:v>45343</c:v>
                </c:pt>
                <c:pt idx="136">
                  <c:v>45342</c:v>
                </c:pt>
                <c:pt idx="137">
                  <c:v>45341</c:v>
                </c:pt>
                <c:pt idx="138">
                  <c:v>45340</c:v>
                </c:pt>
                <c:pt idx="139">
                  <c:v>45339</c:v>
                </c:pt>
                <c:pt idx="140">
                  <c:v>45338</c:v>
                </c:pt>
                <c:pt idx="141">
                  <c:v>45337</c:v>
                </c:pt>
                <c:pt idx="142">
                  <c:v>45336</c:v>
                </c:pt>
                <c:pt idx="143">
                  <c:v>45335</c:v>
                </c:pt>
                <c:pt idx="144">
                  <c:v>45334</c:v>
                </c:pt>
                <c:pt idx="145">
                  <c:v>45333</c:v>
                </c:pt>
                <c:pt idx="146">
                  <c:v>45332</c:v>
                </c:pt>
                <c:pt idx="147">
                  <c:v>45331</c:v>
                </c:pt>
                <c:pt idx="148">
                  <c:v>45330</c:v>
                </c:pt>
                <c:pt idx="149">
                  <c:v>45329</c:v>
                </c:pt>
                <c:pt idx="150">
                  <c:v>45328</c:v>
                </c:pt>
                <c:pt idx="151">
                  <c:v>45327</c:v>
                </c:pt>
                <c:pt idx="152">
                  <c:v>45326</c:v>
                </c:pt>
                <c:pt idx="153">
                  <c:v>45325</c:v>
                </c:pt>
                <c:pt idx="154">
                  <c:v>45324</c:v>
                </c:pt>
                <c:pt idx="155">
                  <c:v>45323</c:v>
                </c:pt>
                <c:pt idx="156">
                  <c:v>45322</c:v>
                </c:pt>
                <c:pt idx="157">
                  <c:v>45321</c:v>
                </c:pt>
                <c:pt idx="158">
                  <c:v>45320</c:v>
                </c:pt>
                <c:pt idx="159">
                  <c:v>45319</c:v>
                </c:pt>
                <c:pt idx="160">
                  <c:v>45318</c:v>
                </c:pt>
                <c:pt idx="161">
                  <c:v>45317</c:v>
                </c:pt>
                <c:pt idx="162">
                  <c:v>45316</c:v>
                </c:pt>
                <c:pt idx="163">
                  <c:v>45315</c:v>
                </c:pt>
                <c:pt idx="164">
                  <c:v>45314</c:v>
                </c:pt>
                <c:pt idx="165">
                  <c:v>45313</c:v>
                </c:pt>
                <c:pt idx="166">
                  <c:v>45312</c:v>
                </c:pt>
                <c:pt idx="167">
                  <c:v>45311</c:v>
                </c:pt>
                <c:pt idx="168">
                  <c:v>45310</c:v>
                </c:pt>
                <c:pt idx="169">
                  <c:v>45309</c:v>
                </c:pt>
                <c:pt idx="170">
                  <c:v>45308</c:v>
                </c:pt>
                <c:pt idx="171">
                  <c:v>45307</c:v>
                </c:pt>
                <c:pt idx="172">
                  <c:v>45306</c:v>
                </c:pt>
                <c:pt idx="173">
                  <c:v>45305</c:v>
                </c:pt>
                <c:pt idx="174">
                  <c:v>45304</c:v>
                </c:pt>
                <c:pt idx="175">
                  <c:v>45303</c:v>
                </c:pt>
                <c:pt idx="176">
                  <c:v>45302</c:v>
                </c:pt>
                <c:pt idx="177">
                  <c:v>45301</c:v>
                </c:pt>
                <c:pt idx="178">
                  <c:v>45300</c:v>
                </c:pt>
                <c:pt idx="179">
                  <c:v>45299</c:v>
                </c:pt>
                <c:pt idx="180">
                  <c:v>45298</c:v>
                </c:pt>
                <c:pt idx="181">
                  <c:v>45297</c:v>
                </c:pt>
                <c:pt idx="182">
                  <c:v>45296</c:v>
                </c:pt>
                <c:pt idx="183">
                  <c:v>45295</c:v>
                </c:pt>
                <c:pt idx="184">
                  <c:v>45294</c:v>
                </c:pt>
                <c:pt idx="185">
                  <c:v>45293</c:v>
                </c:pt>
                <c:pt idx="186">
                  <c:v>45292</c:v>
                </c:pt>
                <c:pt idx="187">
                  <c:v>45291</c:v>
                </c:pt>
                <c:pt idx="188">
                  <c:v>45290</c:v>
                </c:pt>
                <c:pt idx="189">
                  <c:v>45289</c:v>
                </c:pt>
                <c:pt idx="190">
                  <c:v>45288</c:v>
                </c:pt>
                <c:pt idx="191">
                  <c:v>45287</c:v>
                </c:pt>
                <c:pt idx="192">
                  <c:v>45286</c:v>
                </c:pt>
                <c:pt idx="193">
                  <c:v>45285</c:v>
                </c:pt>
                <c:pt idx="194">
                  <c:v>45284</c:v>
                </c:pt>
                <c:pt idx="195">
                  <c:v>45283</c:v>
                </c:pt>
                <c:pt idx="196">
                  <c:v>45282</c:v>
                </c:pt>
                <c:pt idx="197">
                  <c:v>45281</c:v>
                </c:pt>
                <c:pt idx="198">
                  <c:v>45280</c:v>
                </c:pt>
                <c:pt idx="199">
                  <c:v>45279</c:v>
                </c:pt>
                <c:pt idx="200">
                  <c:v>45278</c:v>
                </c:pt>
                <c:pt idx="201">
                  <c:v>45277</c:v>
                </c:pt>
                <c:pt idx="202">
                  <c:v>45276</c:v>
                </c:pt>
                <c:pt idx="203">
                  <c:v>45275</c:v>
                </c:pt>
                <c:pt idx="204">
                  <c:v>45274</c:v>
                </c:pt>
                <c:pt idx="205">
                  <c:v>45273</c:v>
                </c:pt>
                <c:pt idx="206">
                  <c:v>45272</c:v>
                </c:pt>
                <c:pt idx="207">
                  <c:v>45271</c:v>
                </c:pt>
                <c:pt idx="208">
                  <c:v>45270</c:v>
                </c:pt>
                <c:pt idx="209">
                  <c:v>45269</c:v>
                </c:pt>
                <c:pt idx="210">
                  <c:v>45268</c:v>
                </c:pt>
                <c:pt idx="211">
                  <c:v>45267</c:v>
                </c:pt>
                <c:pt idx="212">
                  <c:v>45266</c:v>
                </c:pt>
                <c:pt idx="213">
                  <c:v>45265</c:v>
                </c:pt>
                <c:pt idx="214">
                  <c:v>45264</c:v>
                </c:pt>
                <c:pt idx="215">
                  <c:v>45263</c:v>
                </c:pt>
                <c:pt idx="216">
                  <c:v>45262</c:v>
                </c:pt>
                <c:pt idx="217">
                  <c:v>45261</c:v>
                </c:pt>
                <c:pt idx="218">
                  <c:v>45260</c:v>
                </c:pt>
                <c:pt idx="219">
                  <c:v>45259</c:v>
                </c:pt>
                <c:pt idx="220">
                  <c:v>45258</c:v>
                </c:pt>
                <c:pt idx="221">
                  <c:v>45257</c:v>
                </c:pt>
                <c:pt idx="222">
                  <c:v>45256</c:v>
                </c:pt>
                <c:pt idx="223">
                  <c:v>45255</c:v>
                </c:pt>
                <c:pt idx="224">
                  <c:v>45254</c:v>
                </c:pt>
                <c:pt idx="225">
                  <c:v>45253</c:v>
                </c:pt>
                <c:pt idx="226">
                  <c:v>45252</c:v>
                </c:pt>
                <c:pt idx="227">
                  <c:v>45251</c:v>
                </c:pt>
                <c:pt idx="228">
                  <c:v>45250</c:v>
                </c:pt>
                <c:pt idx="229">
                  <c:v>45249</c:v>
                </c:pt>
                <c:pt idx="230">
                  <c:v>45248</c:v>
                </c:pt>
                <c:pt idx="231">
                  <c:v>45247</c:v>
                </c:pt>
                <c:pt idx="232">
                  <c:v>45246</c:v>
                </c:pt>
                <c:pt idx="233">
                  <c:v>45245</c:v>
                </c:pt>
                <c:pt idx="234">
                  <c:v>45244</c:v>
                </c:pt>
                <c:pt idx="235">
                  <c:v>45243</c:v>
                </c:pt>
                <c:pt idx="236">
                  <c:v>45242</c:v>
                </c:pt>
                <c:pt idx="237">
                  <c:v>45241</c:v>
                </c:pt>
                <c:pt idx="238">
                  <c:v>45240</c:v>
                </c:pt>
                <c:pt idx="239">
                  <c:v>45239</c:v>
                </c:pt>
                <c:pt idx="240">
                  <c:v>45238</c:v>
                </c:pt>
                <c:pt idx="241">
                  <c:v>45237</c:v>
                </c:pt>
                <c:pt idx="242">
                  <c:v>45236</c:v>
                </c:pt>
                <c:pt idx="243">
                  <c:v>45235</c:v>
                </c:pt>
                <c:pt idx="244">
                  <c:v>45234</c:v>
                </c:pt>
                <c:pt idx="245">
                  <c:v>45233</c:v>
                </c:pt>
                <c:pt idx="246">
                  <c:v>45232</c:v>
                </c:pt>
                <c:pt idx="247">
                  <c:v>45231</c:v>
                </c:pt>
                <c:pt idx="248">
                  <c:v>45230</c:v>
                </c:pt>
                <c:pt idx="249">
                  <c:v>45229</c:v>
                </c:pt>
                <c:pt idx="250">
                  <c:v>45228</c:v>
                </c:pt>
                <c:pt idx="251">
                  <c:v>45227</c:v>
                </c:pt>
                <c:pt idx="252">
                  <c:v>45226</c:v>
                </c:pt>
                <c:pt idx="253">
                  <c:v>45225</c:v>
                </c:pt>
                <c:pt idx="254">
                  <c:v>45224</c:v>
                </c:pt>
                <c:pt idx="255">
                  <c:v>45223</c:v>
                </c:pt>
                <c:pt idx="256">
                  <c:v>45222</c:v>
                </c:pt>
                <c:pt idx="257">
                  <c:v>45221</c:v>
                </c:pt>
                <c:pt idx="258">
                  <c:v>45220</c:v>
                </c:pt>
                <c:pt idx="259">
                  <c:v>45219</c:v>
                </c:pt>
                <c:pt idx="260">
                  <c:v>45218</c:v>
                </c:pt>
                <c:pt idx="261">
                  <c:v>45217</c:v>
                </c:pt>
                <c:pt idx="262">
                  <c:v>45216</c:v>
                </c:pt>
                <c:pt idx="263">
                  <c:v>45215</c:v>
                </c:pt>
                <c:pt idx="264">
                  <c:v>45214</c:v>
                </c:pt>
                <c:pt idx="265">
                  <c:v>45213</c:v>
                </c:pt>
                <c:pt idx="266">
                  <c:v>45212</c:v>
                </c:pt>
                <c:pt idx="267">
                  <c:v>45211</c:v>
                </c:pt>
                <c:pt idx="268">
                  <c:v>45210</c:v>
                </c:pt>
                <c:pt idx="269">
                  <c:v>45209</c:v>
                </c:pt>
                <c:pt idx="270">
                  <c:v>45208</c:v>
                </c:pt>
                <c:pt idx="271">
                  <c:v>45207</c:v>
                </c:pt>
                <c:pt idx="272">
                  <c:v>45206</c:v>
                </c:pt>
                <c:pt idx="273">
                  <c:v>45205</c:v>
                </c:pt>
                <c:pt idx="274">
                  <c:v>45204</c:v>
                </c:pt>
                <c:pt idx="275">
                  <c:v>45203</c:v>
                </c:pt>
                <c:pt idx="276">
                  <c:v>45202</c:v>
                </c:pt>
                <c:pt idx="277">
                  <c:v>45201</c:v>
                </c:pt>
                <c:pt idx="278">
                  <c:v>45200</c:v>
                </c:pt>
                <c:pt idx="279">
                  <c:v>45199</c:v>
                </c:pt>
                <c:pt idx="280">
                  <c:v>45198</c:v>
                </c:pt>
                <c:pt idx="281">
                  <c:v>45197</c:v>
                </c:pt>
                <c:pt idx="282">
                  <c:v>45196</c:v>
                </c:pt>
                <c:pt idx="283">
                  <c:v>45195</c:v>
                </c:pt>
                <c:pt idx="284">
                  <c:v>45194</c:v>
                </c:pt>
                <c:pt idx="285">
                  <c:v>45193</c:v>
                </c:pt>
                <c:pt idx="286">
                  <c:v>45192</c:v>
                </c:pt>
                <c:pt idx="287">
                  <c:v>45191</c:v>
                </c:pt>
                <c:pt idx="288">
                  <c:v>45190</c:v>
                </c:pt>
                <c:pt idx="289">
                  <c:v>45189</c:v>
                </c:pt>
                <c:pt idx="290">
                  <c:v>45188</c:v>
                </c:pt>
                <c:pt idx="291">
                  <c:v>45187</c:v>
                </c:pt>
                <c:pt idx="292">
                  <c:v>45186</c:v>
                </c:pt>
                <c:pt idx="293">
                  <c:v>45185</c:v>
                </c:pt>
                <c:pt idx="294">
                  <c:v>45184</c:v>
                </c:pt>
                <c:pt idx="295">
                  <c:v>45183</c:v>
                </c:pt>
                <c:pt idx="296">
                  <c:v>45182</c:v>
                </c:pt>
                <c:pt idx="297">
                  <c:v>45181</c:v>
                </c:pt>
                <c:pt idx="298">
                  <c:v>45180</c:v>
                </c:pt>
                <c:pt idx="299">
                  <c:v>45179</c:v>
                </c:pt>
                <c:pt idx="300">
                  <c:v>45178</c:v>
                </c:pt>
                <c:pt idx="301">
                  <c:v>45177</c:v>
                </c:pt>
                <c:pt idx="302">
                  <c:v>45176</c:v>
                </c:pt>
                <c:pt idx="303">
                  <c:v>45175</c:v>
                </c:pt>
                <c:pt idx="304">
                  <c:v>45174</c:v>
                </c:pt>
                <c:pt idx="305">
                  <c:v>45173</c:v>
                </c:pt>
                <c:pt idx="306">
                  <c:v>45172</c:v>
                </c:pt>
                <c:pt idx="307">
                  <c:v>45171</c:v>
                </c:pt>
                <c:pt idx="308">
                  <c:v>45170</c:v>
                </c:pt>
                <c:pt idx="309">
                  <c:v>45169</c:v>
                </c:pt>
                <c:pt idx="310">
                  <c:v>45168</c:v>
                </c:pt>
                <c:pt idx="311">
                  <c:v>45167</c:v>
                </c:pt>
                <c:pt idx="312">
                  <c:v>45166</c:v>
                </c:pt>
                <c:pt idx="313">
                  <c:v>45165</c:v>
                </c:pt>
                <c:pt idx="314">
                  <c:v>45164</c:v>
                </c:pt>
                <c:pt idx="315">
                  <c:v>45163</c:v>
                </c:pt>
                <c:pt idx="316">
                  <c:v>45162</c:v>
                </c:pt>
                <c:pt idx="317">
                  <c:v>45161</c:v>
                </c:pt>
                <c:pt idx="318">
                  <c:v>45160</c:v>
                </c:pt>
                <c:pt idx="319">
                  <c:v>45159</c:v>
                </c:pt>
                <c:pt idx="320">
                  <c:v>45158</c:v>
                </c:pt>
                <c:pt idx="321">
                  <c:v>45157</c:v>
                </c:pt>
                <c:pt idx="322">
                  <c:v>45156</c:v>
                </c:pt>
                <c:pt idx="323">
                  <c:v>45155</c:v>
                </c:pt>
                <c:pt idx="324">
                  <c:v>45154</c:v>
                </c:pt>
                <c:pt idx="325">
                  <c:v>45153</c:v>
                </c:pt>
                <c:pt idx="326">
                  <c:v>45152</c:v>
                </c:pt>
                <c:pt idx="327">
                  <c:v>45151</c:v>
                </c:pt>
                <c:pt idx="328">
                  <c:v>45150</c:v>
                </c:pt>
                <c:pt idx="329">
                  <c:v>45149</c:v>
                </c:pt>
                <c:pt idx="330">
                  <c:v>45148</c:v>
                </c:pt>
                <c:pt idx="331">
                  <c:v>45147</c:v>
                </c:pt>
                <c:pt idx="332">
                  <c:v>45146</c:v>
                </c:pt>
                <c:pt idx="333">
                  <c:v>45145</c:v>
                </c:pt>
                <c:pt idx="334">
                  <c:v>45144</c:v>
                </c:pt>
                <c:pt idx="335">
                  <c:v>45143</c:v>
                </c:pt>
                <c:pt idx="336">
                  <c:v>45142</c:v>
                </c:pt>
                <c:pt idx="337">
                  <c:v>45141</c:v>
                </c:pt>
                <c:pt idx="338">
                  <c:v>45140</c:v>
                </c:pt>
                <c:pt idx="339">
                  <c:v>45139</c:v>
                </c:pt>
                <c:pt idx="340">
                  <c:v>45138</c:v>
                </c:pt>
                <c:pt idx="341">
                  <c:v>45137</c:v>
                </c:pt>
                <c:pt idx="342">
                  <c:v>45136</c:v>
                </c:pt>
                <c:pt idx="343">
                  <c:v>45135</c:v>
                </c:pt>
                <c:pt idx="344">
                  <c:v>45134</c:v>
                </c:pt>
                <c:pt idx="345">
                  <c:v>45133</c:v>
                </c:pt>
                <c:pt idx="346">
                  <c:v>45132</c:v>
                </c:pt>
                <c:pt idx="347">
                  <c:v>45131</c:v>
                </c:pt>
                <c:pt idx="348">
                  <c:v>45130</c:v>
                </c:pt>
                <c:pt idx="349">
                  <c:v>45129</c:v>
                </c:pt>
                <c:pt idx="350">
                  <c:v>45128</c:v>
                </c:pt>
                <c:pt idx="351">
                  <c:v>45127</c:v>
                </c:pt>
                <c:pt idx="352">
                  <c:v>45126</c:v>
                </c:pt>
                <c:pt idx="353">
                  <c:v>45125</c:v>
                </c:pt>
                <c:pt idx="354">
                  <c:v>45124</c:v>
                </c:pt>
                <c:pt idx="355">
                  <c:v>45123</c:v>
                </c:pt>
                <c:pt idx="356">
                  <c:v>45122</c:v>
                </c:pt>
                <c:pt idx="357">
                  <c:v>45121</c:v>
                </c:pt>
                <c:pt idx="358">
                  <c:v>45120</c:v>
                </c:pt>
                <c:pt idx="359">
                  <c:v>45119</c:v>
                </c:pt>
                <c:pt idx="360">
                  <c:v>45118</c:v>
                </c:pt>
                <c:pt idx="361">
                  <c:v>45117</c:v>
                </c:pt>
                <c:pt idx="362">
                  <c:v>45116</c:v>
                </c:pt>
                <c:pt idx="363">
                  <c:v>45115</c:v>
                </c:pt>
                <c:pt idx="364">
                  <c:v>45114</c:v>
                </c:pt>
                <c:pt idx="365">
                  <c:v>45113</c:v>
                </c:pt>
                <c:pt idx="366">
                  <c:v>45112</c:v>
                </c:pt>
                <c:pt idx="367">
                  <c:v>45111</c:v>
                </c:pt>
                <c:pt idx="368">
                  <c:v>45110</c:v>
                </c:pt>
                <c:pt idx="369">
                  <c:v>45109</c:v>
                </c:pt>
                <c:pt idx="370">
                  <c:v>45108</c:v>
                </c:pt>
                <c:pt idx="371">
                  <c:v>45107</c:v>
                </c:pt>
                <c:pt idx="372">
                  <c:v>45106</c:v>
                </c:pt>
                <c:pt idx="373">
                  <c:v>45105</c:v>
                </c:pt>
                <c:pt idx="374">
                  <c:v>45104</c:v>
                </c:pt>
                <c:pt idx="375">
                  <c:v>45103</c:v>
                </c:pt>
                <c:pt idx="376">
                  <c:v>45102</c:v>
                </c:pt>
                <c:pt idx="377">
                  <c:v>45101</c:v>
                </c:pt>
                <c:pt idx="378">
                  <c:v>45100</c:v>
                </c:pt>
                <c:pt idx="379">
                  <c:v>45099</c:v>
                </c:pt>
                <c:pt idx="380">
                  <c:v>45098</c:v>
                </c:pt>
                <c:pt idx="381">
                  <c:v>45097</c:v>
                </c:pt>
                <c:pt idx="382">
                  <c:v>45096</c:v>
                </c:pt>
                <c:pt idx="383">
                  <c:v>45095</c:v>
                </c:pt>
                <c:pt idx="384">
                  <c:v>45094</c:v>
                </c:pt>
                <c:pt idx="385">
                  <c:v>45093</c:v>
                </c:pt>
                <c:pt idx="386">
                  <c:v>45092</c:v>
                </c:pt>
                <c:pt idx="387">
                  <c:v>45091</c:v>
                </c:pt>
                <c:pt idx="388">
                  <c:v>45090</c:v>
                </c:pt>
                <c:pt idx="389">
                  <c:v>45089</c:v>
                </c:pt>
                <c:pt idx="390">
                  <c:v>45088</c:v>
                </c:pt>
                <c:pt idx="391">
                  <c:v>45087</c:v>
                </c:pt>
                <c:pt idx="392">
                  <c:v>45086</c:v>
                </c:pt>
                <c:pt idx="393">
                  <c:v>45085</c:v>
                </c:pt>
                <c:pt idx="394">
                  <c:v>45084</c:v>
                </c:pt>
                <c:pt idx="395">
                  <c:v>45083</c:v>
                </c:pt>
                <c:pt idx="396">
                  <c:v>45082</c:v>
                </c:pt>
                <c:pt idx="397">
                  <c:v>45081</c:v>
                </c:pt>
                <c:pt idx="398">
                  <c:v>45080</c:v>
                </c:pt>
                <c:pt idx="399">
                  <c:v>45079</c:v>
                </c:pt>
                <c:pt idx="400">
                  <c:v>45078</c:v>
                </c:pt>
                <c:pt idx="401">
                  <c:v>45077</c:v>
                </c:pt>
                <c:pt idx="402">
                  <c:v>45076</c:v>
                </c:pt>
                <c:pt idx="403">
                  <c:v>45075</c:v>
                </c:pt>
                <c:pt idx="404">
                  <c:v>45074</c:v>
                </c:pt>
                <c:pt idx="405">
                  <c:v>45073</c:v>
                </c:pt>
                <c:pt idx="406">
                  <c:v>45072</c:v>
                </c:pt>
                <c:pt idx="407">
                  <c:v>45071</c:v>
                </c:pt>
                <c:pt idx="408">
                  <c:v>45070</c:v>
                </c:pt>
                <c:pt idx="409">
                  <c:v>45069</c:v>
                </c:pt>
                <c:pt idx="410">
                  <c:v>45068</c:v>
                </c:pt>
                <c:pt idx="411">
                  <c:v>45067</c:v>
                </c:pt>
                <c:pt idx="412">
                  <c:v>45066</c:v>
                </c:pt>
                <c:pt idx="413">
                  <c:v>45065</c:v>
                </c:pt>
                <c:pt idx="414">
                  <c:v>45064</c:v>
                </c:pt>
                <c:pt idx="415">
                  <c:v>45063</c:v>
                </c:pt>
                <c:pt idx="416">
                  <c:v>45062</c:v>
                </c:pt>
                <c:pt idx="417">
                  <c:v>45061</c:v>
                </c:pt>
                <c:pt idx="418">
                  <c:v>45060</c:v>
                </c:pt>
                <c:pt idx="419">
                  <c:v>45059</c:v>
                </c:pt>
                <c:pt idx="420">
                  <c:v>45058</c:v>
                </c:pt>
                <c:pt idx="421">
                  <c:v>45057</c:v>
                </c:pt>
                <c:pt idx="422">
                  <c:v>45056</c:v>
                </c:pt>
                <c:pt idx="423">
                  <c:v>45055</c:v>
                </c:pt>
                <c:pt idx="424">
                  <c:v>45054</c:v>
                </c:pt>
                <c:pt idx="425">
                  <c:v>45053</c:v>
                </c:pt>
                <c:pt idx="426">
                  <c:v>45052</c:v>
                </c:pt>
                <c:pt idx="427">
                  <c:v>45051</c:v>
                </c:pt>
                <c:pt idx="428">
                  <c:v>45050</c:v>
                </c:pt>
                <c:pt idx="429">
                  <c:v>45049</c:v>
                </c:pt>
                <c:pt idx="430">
                  <c:v>45048</c:v>
                </c:pt>
                <c:pt idx="431">
                  <c:v>45047</c:v>
                </c:pt>
                <c:pt idx="432">
                  <c:v>45046</c:v>
                </c:pt>
                <c:pt idx="433">
                  <c:v>45045</c:v>
                </c:pt>
                <c:pt idx="434">
                  <c:v>45044</c:v>
                </c:pt>
                <c:pt idx="435">
                  <c:v>45043</c:v>
                </c:pt>
                <c:pt idx="436">
                  <c:v>45042</c:v>
                </c:pt>
                <c:pt idx="437">
                  <c:v>45041</c:v>
                </c:pt>
                <c:pt idx="438">
                  <c:v>45040</c:v>
                </c:pt>
                <c:pt idx="439">
                  <c:v>45039</c:v>
                </c:pt>
                <c:pt idx="440">
                  <c:v>45038</c:v>
                </c:pt>
                <c:pt idx="441">
                  <c:v>45037</c:v>
                </c:pt>
                <c:pt idx="442">
                  <c:v>45036</c:v>
                </c:pt>
                <c:pt idx="443">
                  <c:v>45035</c:v>
                </c:pt>
                <c:pt idx="444">
                  <c:v>45034</c:v>
                </c:pt>
                <c:pt idx="445">
                  <c:v>45033</c:v>
                </c:pt>
                <c:pt idx="446">
                  <c:v>45032</c:v>
                </c:pt>
                <c:pt idx="447">
                  <c:v>45031</c:v>
                </c:pt>
                <c:pt idx="448">
                  <c:v>45030</c:v>
                </c:pt>
                <c:pt idx="449">
                  <c:v>45029</c:v>
                </c:pt>
                <c:pt idx="450">
                  <c:v>45028</c:v>
                </c:pt>
                <c:pt idx="451">
                  <c:v>45027</c:v>
                </c:pt>
                <c:pt idx="452">
                  <c:v>45026</c:v>
                </c:pt>
                <c:pt idx="453">
                  <c:v>45025</c:v>
                </c:pt>
                <c:pt idx="454">
                  <c:v>45024</c:v>
                </c:pt>
                <c:pt idx="455">
                  <c:v>45023</c:v>
                </c:pt>
                <c:pt idx="456">
                  <c:v>45022</c:v>
                </c:pt>
                <c:pt idx="457">
                  <c:v>45021</c:v>
                </c:pt>
                <c:pt idx="458">
                  <c:v>45020</c:v>
                </c:pt>
                <c:pt idx="459">
                  <c:v>45019</c:v>
                </c:pt>
                <c:pt idx="460">
                  <c:v>45018</c:v>
                </c:pt>
                <c:pt idx="461">
                  <c:v>45017</c:v>
                </c:pt>
                <c:pt idx="462">
                  <c:v>45016</c:v>
                </c:pt>
                <c:pt idx="463">
                  <c:v>45015</c:v>
                </c:pt>
                <c:pt idx="464">
                  <c:v>45014</c:v>
                </c:pt>
                <c:pt idx="465">
                  <c:v>45013</c:v>
                </c:pt>
                <c:pt idx="466">
                  <c:v>45012</c:v>
                </c:pt>
                <c:pt idx="467">
                  <c:v>45011</c:v>
                </c:pt>
                <c:pt idx="468">
                  <c:v>45010</c:v>
                </c:pt>
                <c:pt idx="469">
                  <c:v>45009</c:v>
                </c:pt>
                <c:pt idx="470">
                  <c:v>45008</c:v>
                </c:pt>
                <c:pt idx="471">
                  <c:v>45007</c:v>
                </c:pt>
                <c:pt idx="472">
                  <c:v>45006</c:v>
                </c:pt>
                <c:pt idx="473">
                  <c:v>45005</c:v>
                </c:pt>
                <c:pt idx="474">
                  <c:v>45004</c:v>
                </c:pt>
                <c:pt idx="475">
                  <c:v>45003</c:v>
                </c:pt>
                <c:pt idx="476">
                  <c:v>45002</c:v>
                </c:pt>
                <c:pt idx="477">
                  <c:v>45001</c:v>
                </c:pt>
                <c:pt idx="478">
                  <c:v>45000</c:v>
                </c:pt>
                <c:pt idx="479">
                  <c:v>44999</c:v>
                </c:pt>
                <c:pt idx="480">
                  <c:v>44998</c:v>
                </c:pt>
                <c:pt idx="481">
                  <c:v>44997</c:v>
                </c:pt>
                <c:pt idx="482">
                  <c:v>44996</c:v>
                </c:pt>
                <c:pt idx="483">
                  <c:v>44995</c:v>
                </c:pt>
                <c:pt idx="484">
                  <c:v>44994</c:v>
                </c:pt>
                <c:pt idx="485">
                  <c:v>44993</c:v>
                </c:pt>
                <c:pt idx="486">
                  <c:v>44992</c:v>
                </c:pt>
                <c:pt idx="487">
                  <c:v>44991</c:v>
                </c:pt>
                <c:pt idx="488">
                  <c:v>44990</c:v>
                </c:pt>
                <c:pt idx="489">
                  <c:v>44989</c:v>
                </c:pt>
                <c:pt idx="490">
                  <c:v>44988</c:v>
                </c:pt>
                <c:pt idx="491">
                  <c:v>44987</c:v>
                </c:pt>
                <c:pt idx="492">
                  <c:v>44986</c:v>
                </c:pt>
                <c:pt idx="493">
                  <c:v>44985</c:v>
                </c:pt>
                <c:pt idx="494">
                  <c:v>44984</c:v>
                </c:pt>
                <c:pt idx="495">
                  <c:v>44983</c:v>
                </c:pt>
                <c:pt idx="496">
                  <c:v>44982</c:v>
                </c:pt>
                <c:pt idx="497">
                  <c:v>44981</c:v>
                </c:pt>
                <c:pt idx="498">
                  <c:v>44980</c:v>
                </c:pt>
                <c:pt idx="499">
                  <c:v>44979</c:v>
                </c:pt>
                <c:pt idx="500">
                  <c:v>44978</c:v>
                </c:pt>
                <c:pt idx="501">
                  <c:v>44977</c:v>
                </c:pt>
                <c:pt idx="502">
                  <c:v>44976</c:v>
                </c:pt>
                <c:pt idx="503">
                  <c:v>44975</c:v>
                </c:pt>
                <c:pt idx="504">
                  <c:v>44974</c:v>
                </c:pt>
                <c:pt idx="505">
                  <c:v>44973</c:v>
                </c:pt>
                <c:pt idx="506">
                  <c:v>44972</c:v>
                </c:pt>
                <c:pt idx="507">
                  <c:v>44971</c:v>
                </c:pt>
                <c:pt idx="508">
                  <c:v>44970</c:v>
                </c:pt>
                <c:pt idx="509">
                  <c:v>44969</c:v>
                </c:pt>
                <c:pt idx="510">
                  <c:v>44968</c:v>
                </c:pt>
                <c:pt idx="511">
                  <c:v>44967</c:v>
                </c:pt>
                <c:pt idx="512">
                  <c:v>44966</c:v>
                </c:pt>
                <c:pt idx="513">
                  <c:v>44965</c:v>
                </c:pt>
                <c:pt idx="514">
                  <c:v>44964</c:v>
                </c:pt>
                <c:pt idx="515">
                  <c:v>44963</c:v>
                </c:pt>
                <c:pt idx="516">
                  <c:v>44962</c:v>
                </c:pt>
                <c:pt idx="517">
                  <c:v>44961</c:v>
                </c:pt>
                <c:pt idx="518">
                  <c:v>44960</c:v>
                </c:pt>
                <c:pt idx="519">
                  <c:v>44959</c:v>
                </c:pt>
                <c:pt idx="520">
                  <c:v>44958</c:v>
                </c:pt>
                <c:pt idx="521">
                  <c:v>44957</c:v>
                </c:pt>
                <c:pt idx="522">
                  <c:v>44956</c:v>
                </c:pt>
                <c:pt idx="523">
                  <c:v>44955</c:v>
                </c:pt>
                <c:pt idx="524">
                  <c:v>44954</c:v>
                </c:pt>
                <c:pt idx="525">
                  <c:v>44953</c:v>
                </c:pt>
                <c:pt idx="526">
                  <c:v>44952</c:v>
                </c:pt>
                <c:pt idx="527">
                  <c:v>44951</c:v>
                </c:pt>
                <c:pt idx="528">
                  <c:v>44950</c:v>
                </c:pt>
                <c:pt idx="529">
                  <c:v>44949</c:v>
                </c:pt>
                <c:pt idx="530">
                  <c:v>44948</c:v>
                </c:pt>
                <c:pt idx="531">
                  <c:v>44947</c:v>
                </c:pt>
                <c:pt idx="532">
                  <c:v>44946</c:v>
                </c:pt>
                <c:pt idx="533">
                  <c:v>44945</c:v>
                </c:pt>
                <c:pt idx="534">
                  <c:v>44944</c:v>
                </c:pt>
                <c:pt idx="535">
                  <c:v>44943</c:v>
                </c:pt>
                <c:pt idx="536">
                  <c:v>44942</c:v>
                </c:pt>
                <c:pt idx="537">
                  <c:v>44941</c:v>
                </c:pt>
                <c:pt idx="538">
                  <c:v>44940</c:v>
                </c:pt>
                <c:pt idx="539">
                  <c:v>44939</c:v>
                </c:pt>
                <c:pt idx="540">
                  <c:v>44938</c:v>
                </c:pt>
                <c:pt idx="541">
                  <c:v>44937</c:v>
                </c:pt>
                <c:pt idx="542">
                  <c:v>44936</c:v>
                </c:pt>
                <c:pt idx="543">
                  <c:v>44935</c:v>
                </c:pt>
                <c:pt idx="544">
                  <c:v>44934</c:v>
                </c:pt>
                <c:pt idx="545">
                  <c:v>44933</c:v>
                </c:pt>
                <c:pt idx="546">
                  <c:v>44932</c:v>
                </c:pt>
                <c:pt idx="547">
                  <c:v>44931</c:v>
                </c:pt>
                <c:pt idx="548">
                  <c:v>44930</c:v>
                </c:pt>
                <c:pt idx="549">
                  <c:v>44929</c:v>
                </c:pt>
                <c:pt idx="550">
                  <c:v>44928</c:v>
                </c:pt>
                <c:pt idx="551">
                  <c:v>44927</c:v>
                </c:pt>
                <c:pt idx="552">
                  <c:v>44926</c:v>
                </c:pt>
                <c:pt idx="553">
                  <c:v>44925</c:v>
                </c:pt>
                <c:pt idx="554">
                  <c:v>44924</c:v>
                </c:pt>
                <c:pt idx="555">
                  <c:v>44923</c:v>
                </c:pt>
                <c:pt idx="556">
                  <c:v>44922</c:v>
                </c:pt>
                <c:pt idx="557">
                  <c:v>44921</c:v>
                </c:pt>
                <c:pt idx="558">
                  <c:v>44920</c:v>
                </c:pt>
                <c:pt idx="559">
                  <c:v>44919</c:v>
                </c:pt>
                <c:pt idx="560">
                  <c:v>44918</c:v>
                </c:pt>
                <c:pt idx="561">
                  <c:v>44917</c:v>
                </c:pt>
                <c:pt idx="562">
                  <c:v>44916</c:v>
                </c:pt>
                <c:pt idx="563">
                  <c:v>44915</c:v>
                </c:pt>
                <c:pt idx="564">
                  <c:v>44914</c:v>
                </c:pt>
                <c:pt idx="565">
                  <c:v>44913</c:v>
                </c:pt>
                <c:pt idx="566">
                  <c:v>44912</c:v>
                </c:pt>
                <c:pt idx="567">
                  <c:v>44911</c:v>
                </c:pt>
                <c:pt idx="568">
                  <c:v>44910</c:v>
                </c:pt>
                <c:pt idx="569">
                  <c:v>44909</c:v>
                </c:pt>
                <c:pt idx="570">
                  <c:v>44908</c:v>
                </c:pt>
                <c:pt idx="571">
                  <c:v>44907</c:v>
                </c:pt>
                <c:pt idx="572">
                  <c:v>44906</c:v>
                </c:pt>
                <c:pt idx="573">
                  <c:v>44905</c:v>
                </c:pt>
                <c:pt idx="574">
                  <c:v>44904</c:v>
                </c:pt>
                <c:pt idx="575">
                  <c:v>44903</c:v>
                </c:pt>
                <c:pt idx="576">
                  <c:v>44902</c:v>
                </c:pt>
                <c:pt idx="577">
                  <c:v>44901</c:v>
                </c:pt>
                <c:pt idx="578">
                  <c:v>44900</c:v>
                </c:pt>
                <c:pt idx="579">
                  <c:v>44899</c:v>
                </c:pt>
                <c:pt idx="580">
                  <c:v>44898</c:v>
                </c:pt>
                <c:pt idx="581">
                  <c:v>44897</c:v>
                </c:pt>
                <c:pt idx="582">
                  <c:v>44896</c:v>
                </c:pt>
                <c:pt idx="583">
                  <c:v>44895</c:v>
                </c:pt>
                <c:pt idx="584">
                  <c:v>44894</c:v>
                </c:pt>
                <c:pt idx="585">
                  <c:v>44893</c:v>
                </c:pt>
                <c:pt idx="586">
                  <c:v>44892</c:v>
                </c:pt>
                <c:pt idx="587">
                  <c:v>44891</c:v>
                </c:pt>
                <c:pt idx="588">
                  <c:v>44890</c:v>
                </c:pt>
                <c:pt idx="589">
                  <c:v>44889</c:v>
                </c:pt>
                <c:pt idx="590">
                  <c:v>44888</c:v>
                </c:pt>
                <c:pt idx="591">
                  <c:v>44887</c:v>
                </c:pt>
                <c:pt idx="592">
                  <c:v>44886</c:v>
                </c:pt>
                <c:pt idx="593">
                  <c:v>44885</c:v>
                </c:pt>
                <c:pt idx="594">
                  <c:v>44884</c:v>
                </c:pt>
                <c:pt idx="595">
                  <c:v>44883</c:v>
                </c:pt>
                <c:pt idx="596">
                  <c:v>44882</c:v>
                </c:pt>
                <c:pt idx="597">
                  <c:v>44881</c:v>
                </c:pt>
                <c:pt idx="598">
                  <c:v>44880</c:v>
                </c:pt>
                <c:pt idx="599">
                  <c:v>44879</c:v>
                </c:pt>
                <c:pt idx="600">
                  <c:v>44878</c:v>
                </c:pt>
                <c:pt idx="601">
                  <c:v>44877</c:v>
                </c:pt>
                <c:pt idx="602">
                  <c:v>44876</c:v>
                </c:pt>
                <c:pt idx="603">
                  <c:v>44875</c:v>
                </c:pt>
                <c:pt idx="604">
                  <c:v>44874</c:v>
                </c:pt>
                <c:pt idx="605">
                  <c:v>44873</c:v>
                </c:pt>
                <c:pt idx="606">
                  <c:v>44872</c:v>
                </c:pt>
                <c:pt idx="607">
                  <c:v>44871</c:v>
                </c:pt>
                <c:pt idx="608">
                  <c:v>44870</c:v>
                </c:pt>
                <c:pt idx="609">
                  <c:v>44869</c:v>
                </c:pt>
                <c:pt idx="610">
                  <c:v>44868</c:v>
                </c:pt>
                <c:pt idx="611">
                  <c:v>44867</c:v>
                </c:pt>
                <c:pt idx="612">
                  <c:v>44866</c:v>
                </c:pt>
                <c:pt idx="613">
                  <c:v>44865</c:v>
                </c:pt>
                <c:pt idx="614">
                  <c:v>44864</c:v>
                </c:pt>
                <c:pt idx="615">
                  <c:v>44863</c:v>
                </c:pt>
                <c:pt idx="616">
                  <c:v>44862</c:v>
                </c:pt>
                <c:pt idx="617">
                  <c:v>44861</c:v>
                </c:pt>
                <c:pt idx="618">
                  <c:v>44860</c:v>
                </c:pt>
                <c:pt idx="619">
                  <c:v>44859</c:v>
                </c:pt>
                <c:pt idx="620">
                  <c:v>44858</c:v>
                </c:pt>
                <c:pt idx="621">
                  <c:v>44857</c:v>
                </c:pt>
                <c:pt idx="622">
                  <c:v>44856</c:v>
                </c:pt>
                <c:pt idx="623">
                  <c:v>44855</c:v>
                </c:pt>
                <c:pt idx="624">
                  <c:v>44854</c:v>
                </c:pt>
                <c:pt idx="625">
                  <c:v>44853</c:v>
                </c:pt>
                <c:pt idx="626">
                  <c:v>44852</c:v>
                </c:pt>
                <c:pt idx="627">
                  <c:v>44851</c:v>
                </c:pt>
                <c:pt idx="628">
                  <c:v>44850</c:v>
                </c:pt>
                <c:pt idx="629">
                  <c:v>44849</c:v>
                </c:pt>
                <c:pt idx="630">
                  <c:v>44848</c:v>
                </c:pt>
                <c:pt idx="631">
                  <c:v>44847</c:v>
                </c:pt>
                <c:pt idx="632">
                  <c:v>44846</c:v>
                </c:pt>
                <c:pt idx="633">
                  <c:v>44845</c:v>
                </c:pt>
                <c:pt idx="634">
                  <c:v>44844</c:v>
                </c:pt>
                <c:pt idx="635">
                  <c:v>44843</c:v>
                </c:pt>
                <c:pt idx="636">
                  <c:v>44842</c:v>
                </c:pt>
                <c:pt idx="637">
                  <c:v>44841</c:v>
                </c:pt>
                <c:pt idx="638">
                  <c:v>44840</c:v>
                </c:pt>
                <c:pt idx="639">
                  <c:v>44839</c:v>
                </c:pt>
                <c:pt idx="640">
                  <c:v>44838</c:v>
                </c:pt>
                <c:pt idx="641">
                  <c:v>44837</c:v>
                </c:pt>
                <c:pt idx="642">
                  <c:v>44836</c:v>
                </c:pt>
                <c:pt idx="643">
                  <c:v>44835</c:v>
                </c:pt>
                <c:pt idx="644">
                  <c:v>44834</c:v>
                </c:pt>
                <c:pt idx="645">
                  <c:v>44833</c:v>
                </c:pt>
                <c:pt idx="646">
                  <c:v>44832</c:v>
                </c:pt>
                <c:pt idx="647">
                  <c:v>44831</c:v>
                </c:pt>
                <c:pt idx="648">
                  <c:v>44830</c:v>
                </c:pt>
                <c:pt idx="649">
                  <c:v>44829</c:v>
                </c:pt>
                <c:pt idx="650">
                  <c:v>44828</c:v>
                </c:pt>
                <c:pt idx="651">
                  <c:v>44827</c:v>
                </c:pt>
                <c:pt idx="652">
                  <c:v>44826</c:v>
                </c:pt>
                <c:pt idx="653">
                  <c:v>44825</c:v>
                </c:pt>
                <c:pt idx="654">
                  <c:v>44824</c:v>
                </c:pt>
                <c:pt idx="655">
                  <c:v>44823</c:v>
                </c:pt>
                <c:pt idx="656">
                  <c:v>44822</c:v>
                </c:pt>
                <c:pt idx="657">
                  <c:v>44821</c:v>
                </c:pt>
                <c:pt idx="658">
                  <c:v>44820</c:v>
                </c:pt>
                <c:pt idx="659">
                  <c:v>44819</c:v>
                </c:pt>
                <c:pt idx="660">
                  <c:v>44818</c:v>
                </c:pt>
                <c:pt idx="661">
                  <c:v>44817</c:v>
                </c:pt>
                <c:pt idx="662">
                  <c:v>44816</c:v>
                </c:pt>
                <c:pt idx="663">
                  <c:v>44815</c:v>
                </c:pt>
                <c:pt idx="664">
                  <c:v>44814</c:v>
                </c:pt>
                <c:pt idx="665">
                  <c:v>44813</c:v>
                </c:pt>
                <c:pt idx="666">
                  <c:v>44812</c:v>
                </c:pt>
                <c:pt idx="667">
                  <c:v>44811</c:v>
                </c:pt>
                <c:pt idx="668">
                  <c:v>44810</c:v>
                </c:pt>
                <c:pt idx="669">
                  <c:v>44809</c:v>
                </c:pt>
                <c:pt idx="670">
                  <c:v>44808</c:v>
                </c:pt>
                <c:pt idx="671">
                  <c:v>44807</c:v>
                </c:pt>
                <c:pt idx="672">
                  <c:v>44806</c:v>
                </c:pt>
                <c:pt idx="673">
                  <c:v>44805</c:v>
                </c:pt>
                <c:pt idx="674">
                  <c:v>44804</c:v>
                </c:pt>
                <c:pt idx="675">
                  <c:v>44803</c:v>
                </c:pt>
                <c:pt idx="676">
                  <c:v>44802</c:v>
                </c:pt>
                <c:pt idx="677">
                  <c:v>44801</c:v>
                </c:pt>
                <c:pt idx="678">
                  <c:v>44800</c:v>
                </c:pt>
                <c:pt idx="679">
                  <c:v>44799</c:v>
                </c:pt>
                <c:pt idx="680">
                  <c:v>44798</c:v>
                </c:pt>
                <c:pt idx="681">
                  <c:v>44797</c:v>
                </c:pt>
                <c:pt idx="682">
                  <c:v>44796</c:v>
                </c:pt>
                <c:pt idx="683">
                  <c:v>44795</c:v>
                </c:pt>
                <c:pt idx="684">
                  <c:v>44794</c:v>
                </c:pt>
                <c:pt idx="685">
                  <c:v>44793</c:v>
                </c:pt>
                <c:pt idx="686">
                  <c:v>44792</c:v>
                </c:pt>
                <c:pt idx="687">
                  <c:v>44791</c:v>
                </c:pt>
                <c:pt idx="688">
                  <c:v>44790</c:v>
                </c:pt>
                <c:pt idx="689">
                  <c:v>44789</c:v>
                </c:pt>
                <c:pt idx="690">
                  <c:v>44788</c:v>
                </c:pt>
                <c:pt idx="691">
                  <c:v>44787</c:v>
                </c:pt>
                <c:pt idx="692">
                  <c:v>44786</c:v>
                </c:pt>
                <c:pt idx="693">
                  <c:v>44785</c:v>
                </c:pt>
                <c:pt idx="694">
                  <c:v>44784</c:v>
                </c:pt>
                <c:pt idx="695">
                  <c:v>44783</c:v>
                </c:pt>
                <c:pt idx="696">
                  <c:v>44782</c:v>
                </c:pt>
                <c:pt idx="697">
                  <c:v>44781</c:v>
                </c:pt>
                <c:pt idx="698">
                  <c:v>44780</c:v>
                </c:pt>
                <c:pt idx="699">
                  <c:v>44779</c:v>
                </c:pt>
                <c:pt idx="700">
                  <c:v>44778</c:v>
                </c:pt>
                <c:pt idx="701">
                  <c:v>44777</c:v>
                </c:pt>
                <c:pt idx="702">
                  <c:v>44776</c:v>
                </c:pt>
                <c:pt idx="703">
                  <c:v>44775</c:v>
                </c:pt>
                <c:pt idx="704">
                  <c:v>44774</c:v>
                </c:pt>
                <c:pt idx="705">
                  <c:v>44773</c:v>
                </c:pt>
                <c:pt idx="706">
                  <c:v>44772</c:v>
                </c:pt>
                <c:pt idx="707">
                  <c:v>44771</c:v>
                </c:pt>
                <c:pt idx="708">
                  <c:v>44770</c:v>
                </c:pt>
                <c:pt idx="709">
                  <c:v>44769</c:v>
                </c:pt>
                <c:pt idx="710">
                  <c:v>44768</c:v>
                </c:pt>
                <c:pt idx="711">
                  <c:v>44767</c:v>
                </c:pt>
                <c:pt idx="712">
                  <c:v>44766</c:v>
                </c:pt>
                <c:pt idx="713">
                  <c:v>44765</c:v>
                </c:pt>
                <c:pt idx="714">
                  <c:v>44764</c:v>
                </c:pt>
                <c:pt idx="715">
                  <c:v>44763</c:v>
                </c:pt>
                <c:pt idx="716">
                  <c:v>44762</c:v>
                </c:pt>
                <c:pt idx="717">
                  <c:v>44761</c:v>
                </c:pt>
                <c:pt idx="718">
                  <c:v>44760</c:v>
                </c:pt>
                <c:pt idx="719">
                  <c:v>44759</c:v>
                </c:pt>
                <c:pt idx="720">
                  <c:v>44758</c:v>
                </c:pt>
                <c:pt idx="721">
                  <c:v>44757</c:v>
                </c:pt>
                <c:pt idx="722">
                  <c:v>44756</c:v>
                </c:pt>
                <c:pt idx="723">
                  <c:v>44755</c:v>
                </c:pt>
                <c:pt idx="724">
                  <c:v>44754</c:v>
                </c:pt>
                <c:pt idx="725">
                  <c:v>44753</c:v>
                </c:pt>
                <c:pt idx="726">
                  <c:v>44752</c:v>
                </c:pt>
                <c:pt idx="727">
                  <c:v>44751</c:v>
                </c:pt>
                <c:pt idx="728">
                  <c:v>44750</c:v>
                </c:pt>
                <c:pt idx="729">
                  <c:v>44749</c:v>
                </c:pt>
                <c:pt idx="730">
                  <c:v>44748</c:v>
                </c:pt>
                <c:pt idx="731">
                  <c:v>44747</c:v>
                </c:pt>
                <c:pt idx="732">
                  <c:v>44746</c:v>
                </c:pt>
                <c:pt idx="733">
                  <c:v>44745</c:v>
                </c:pt>
                <c:pt idx="734">
                  <c:v>44744</c:v>
                </c:pt>
                <c:pt idx="735">
                  <c:v>44743</c:v>
                </c:pt>
                <c:pt idx="736">
                  <c:v>44742</c:v>
                </c:pt>
                <c:pt idx="737">
                  <c:v>44741</c:v>
                </c:pt>
                <c:pt idx="738">
                  <c:v>44740</c:v>
                </c:pt>
                <c:pt idx="739">
                  <c:v>44739</c:v>
                </c:pt>
                <c:pt idx="740">
                  <c:v>44738</c:v>
                </c:pt>
                <c:pt idx="741">
                  <c:v>44737</c:v>
                </c:pt>
                <c:pt idx="742">
                  <c:v>44736</c:v>
                </c:pt>
                <c:pt idx="743">
                  <c:v>44735</c:v>
                </c:pt>
                <c:pt idx="744">
                  <c:v>44734</c:v>
                </c:pt>
                <c:pt idx="745">
                  <c:v>44733</c:v>
                </c:pt>
                <c:pt idx="746">
                  <c:v>44732</c:v>
                </c:pt>
                <c:pt idx="747">
                  <c:v>44731</c:v>
                </c:pt>
                <c:pt idx="748">
                  <c:v>44730</c:v>
                </c:pt>
                <c:pt idx="749">
                  <c:v>44729</c:v>
                </c:pt>
                <c:pt idx="750">
                  <c:v>44728</c:v>
                </c:pt>
                <c:pt idx="751">
                  <c:v>44727</c:v>
                </c:pt>
                <c:pt idx="752">
                  <c:v>44726</c:v>
                </c:pt>
                <c:pt idx="753">
                  <c:v>44725</c:v>
                </c:pt>
                <c:pt idx="754">
                  <c:v>44724</c:v>
                </c:pt>
                <c:pt idx="755">
                  <c:v>44723</c:v>
                </c:pt>
                <c:pt idx="756">
                  <c:v>44722</c:v>
                </c:pt>
                <c:pt idx="757">
                  <c:v>44721</c:v>
                </c:pt>
                <c:pt idx="758">
                  <c:v>44720</c:v>
                </c:pt>
                <c:pt idx="759">
                  <c:v>44719</c:v>
                </c:pt>
                <c:pt idx="760">
                  <c:v>44718</c:v>
                </c:pt>
                <c:pt idx="761">
                  <c:v>44717</c:v>
                </c:pt>
                <c:pt idx="762">
                  <c:v>44716</c:v>
                </c:pt>
                <c:pt idx="763">
                  <c:v>44715</c:v>
                </c:pt>
                <c:pt idx="764">
                  <c:v>44714</c:v>
                </c:pt>
                <c:pt idx="765">
                  <c:v>44713</c:v>
                </c:pt>
                <c:pt idx="766">
                  <c:v>44712</c:v>
                </c:pt>
                <c:pt idx="767">
                  <c:v>44711</c:v>
                </c:pt>
                <c:pt idx="768">
                  <c:v>44710</c:v>
                </c:pt>
                <c:pt idx="769">
                  <c:v>44709</c:v>
                </c:pt>
                <c:pt idx="770">
                  <c:v>44708</c:v>
                </c:pt>
                <c:pt idx="771">
                  <c:v>44707</c:v>
                </c:pt>
                <c:pt idx="772">
                  <c:v>44706</c:v>
                </c:pt>
                <c:pt idx="773">
                  <c:v>44705</c:v>
                </c:pt>
                <c:pt idx="774">
                  <c:v>44704</c:v>
                </c:pt>
                <c:pt idx="775">
                  <c:v>44703</c:v>
                </c:pt>
                <c:pt idx="776">
                  <c:v>44702</c:v>
                </c:pt>
                <c:pt idx="777">
                  <c:v>44701</c:v>
                </c:pt>
                <c:pt idx="778">
                  <c:v>44700</c:v>
                </c:pt>
                <c:pt idx="779">
                  <c:v>44699</c:v>
                </c:pt>
                <c:pt idx="780">
                  <c:v>44698</c:v>
                </c:pt>
                <c:pt idx="781">
                  <c:v>44697</c:v>
                </c:pt>
                <c:pt idx="782">
                  <c:v>44696</c:v>
                </c:pt>
                <c:pt idx="783">
                  <c:v>44695</c:v>
                </c:pt>
                <c:pt idx="784">
                  <c:v>44694</c:v>
                </c:pt>
                <c:pt idx="785">
                  <c:v>44693</c:v>
                </c:pt>
                <c:pt idx="786">
                  <c:v>44692</c:v>
                </c:pt>
                <c:pt idx="787">
                  <c:v>44691</c:v>
                </c:pt>
                <c:pt idx="788">
                  <c:v>44690</c:v>
                </c:pt>
                <c:pt idx="789">
                  <c:v>44689</c:v>
                </c:pt>
                <c:pt idx="790">
                  <c:v>44688</c:v>
                </c:pt>
                <c:pt idx="791">
                  <c:v>44687</c:v>
                </c:pt>
                <c:pt idx="792">
                  <c:v>44686</c:v>
                </c:pt>
                <c:pt idx="793">
                  <c:v>44685</c:v>
                </c:pt>
                <c:pt idx="794">
                  <c:v>44684</c:v>
                </c:pt>
                <c:pt idx="795">
                  <c:v>44683</c:v>
                </c:pt>
                <c:pt idx="796">
                  <c:v>44682</c:v>
                </c:pt>
                <c:pt idx="797">
                  <c:v>44681</c:v>
                </c:pt>
                <c:pt idx="798">
                  <c:v>44680</c:v>
                </c:pt>
                <c:pt idx="799">
                  <c:v>44679</c:v>
                </c:pt>
                <c:pt idx="800">
                  <c:v>44678</c:v>
                </c:pt>
                <c:pt idx="801">
                  <c:v>44677</c:v>
                </c:pt>
                <c:pt idx="802">
                  <c:v>44676</c:v>
                </c:pt>
                <c:pt idx="803">
                  <c:v>44675</c:v>
                </c:pt>
                <c:pt idx="804">
                  <c:v>44674</c:v>
                </c:pt>
                <c:pt idx="805">
                  <c:v>44673</c:v>
                </c:pt>
                <c:pt idx="806">
                  <c:v>44672</c:v>
                </c:pt>
                <c:pt idx="807">
                  <c:v>44671</c:v>
                </c:pt>
                <c:pt idx="808">
                  <c:v>44670</c:v>
                </c:pt>
                <c:pt idx="809">
                  <c:v>44669</c:v>
                </c:pt>
                <c:pt idx="810">
                  <c:v>44668</c:v>
                </c:pt>
                <c:pt idx="811">
                  <c:v>44667</c:v>
                </c:pt>
                <c:pt idx="812">
                  <c:v>44666</c:v>
                </c:pt>
                <c:pt idx="813">
                  <c:v>44665</c:v>
                </c:pt>
                <c:pt idx="814">
                  <c:v>44664</c:v>
                </c:pt>
                <c:pt idx="815">
                  <c:v>44663</c:v>
                </c:pt>
                <c:pt idx="816">
                  <c:v>44662</c:v>
                </c:pt>
                <c:pt idx="817">
                  <c:v>44661</c:v>
                </c:pt>
                <c:pt idx="818">
                  <c:v>44660</c:v>
                </c:pt>
                <c:pt idx="819">
                  <c:v>44659</c:v>
                </c:pt>
                <c:pt idx="820">
                  <c:v>44658</c:v>
                </c:pt>
                <c:pt idx="821">
                  <c:v>44657</c:v>
                </c:pt>
                <c:pt idx="822">
                  <c:v>44656</c:v>
                </c:pt>
                <c:pt idx="823">
                  <c:v>44655</c:v>
                </c:pt>
                <c:pt idx="824">
                  <c:v>44654</c:v>
                </c:pt>
                <c:pt idx="825">
                  <c:v>44653</c:v>
                </c:pt>
                <c:pt idx="826">
                  <c:v>44652</c:v>
                </c:pt>
                <c:pt idx="827">
                  <c:v>44651</c:v>
                </c:pt>
                <c:pt idx="828">
                  <c:v>44650</c:v>
                </c:pt>
                <c:pt idx="829">
                  <c:v>44649</c:v>
                </c:pt>
                <c:pt idx="830">
                  <c:v>44648</c:v>
                </c:pt>
                <c:pt idx="831">
                  <c:v>44647</c:v>
                </c:pt>
                <c:pt idx="832">
                  <c:v>44646</c:v>
                </c:pt>
                <c:pt idx="833">
                  <c:v>44645</c:v>
                </c:pt>
                <c:pt idx="834">
                  <c:v>44644</c:v>
                </c:pt>
                <c:pt idx="835">
                  <c:v>44643</c:v>
                </c:pt>
                <c:pt idx="836">
                  <c:v>44642</c:v>
                </c:pt>
                <c:pt idx="837">
                  <c:v>44641</c:v>
                </c:pt>
                <c:pt idx="838">
                  <c:v>44640</c:v>
                </c:pt>
                <c:pt idx="839">
                  <c:v>44639</c:v>
                </c:pt>
                <c:pt idx="840">
                  <c:v>44638</c:v>
                </c:pt>
                <c:pt idx="841">
                  <c:v>44637</c:v>
                </c:pt>
                <c:pt idx="842">
                  <c:v>44636</c:v>
                </c:pt>
                <c:pt idx="843">
                  <c:v>44635</c:v>
                </c:pt>
                <c:pt idx="844">
                  <c:v>44634</c:v>
                </c:pt>
                <c:pt idx="845">
                  <c:v>44633</c:v>
                </c:pt>
                <c:pt idx="846">
                  <c:v>44632</c:v>
                </c:pt>
                <c:pt idx="847">
                  <c:v>44631</c:v>
                </c:pt>
                <c:pt idx="848">
                  <c:v>44630</c:v>
                </c:pt>
                <c:pt idx="849">
                  <c:v>44629</c:v>
                </c:pt>
                <c:pt idx="850">
                  <c:v>44628</c:v>
                </c:pt>
                <c:pt idx="851">
                  <c:v>44627</c:v>
                </c:pt>
                <c:pt idx="852">
                  <c:v>44626</c:v>
                </c:pt>
                <c:pt idx="853">
                  <c:v>44625</c:v>
                </c:pt>
                <c:pt idx="854">
                  <c:v>44624</c:v>
                </c:pt>
                <c:pt idx="855">
                  <c:v>44623</c:v>
                </c:pt>
                <c:pt idx="856">
                  <c:v>44622</c:v>
                </c:pt>
                <c:pt idx="857">
                  <c:v>44621</c:v>
                </c:pt>
                <c:pt idx="858">
                  <c:v>44620</c:v>
                </c:pt>
                <c:pt idx="859">
                  <c:v>44619</c:v>
                </c:pt>
                <c:pt idx="860">
                  <c:v>44618</c:v>
                </c:pt>
                <c:pt idx="861">
                  <c:v>44617</c:v>
                </c:pt>
                <c:pt idx="862">
                  <c:v>44616</c:v>
                </c:pt>
                <c:pt idx="863">
                  <c:v>44615</c:v>
                </c:pt>
                <c:pt idx="864">
                  <c:v>44614</c:v>
                </c:pt>
                <c:pt idx="865">
                  <c:v>44613</c:v>
                </c:pt>
                <c:pt idx="866">
                  <c:v>44612</c:v>
                </c:pt>
                <c:pt idx="867">
                  <c:v>44611</c:v>
                </c:pt>
                <c:pt idx="868">
                  <c:v>44610</c:v>
                </c:pt>
                <c:pt idx="869">
                  <c:v>44609</c:v>
                </c:pt>
                <c:pt idx="870">
                  <c:v>44608</c:v>
                </c:pt>
                <c:pt idx="871">
                  <c:v>44607</c:v>
                </c:pt>
                <c:pt idx="872">
                  <c:v>44606</c:v>
                </c:pt>
                <c:pt idx="873">
                  <c:v>44605</c:v>
                </c:pt>
                <c:pt idx="874">
                  <c:v>44604</c:v>
                </c:pt>
                <c:pt idx="875">
                  <c:v>44603</c:v>
                </c:pt>
                <c:pt idx="876">
                  <c:v>44602</c:v>
                </c:pt>
                <c:pt idx="877">
                  <c:v>44601</c:v>
                </c:pt>
                <c:pt idx="878">
                  <c:v>44600</c:v>
                </c:pt>
                <c:pt idx="879">
                  <c:v>44599</c:v>
                </c:pt>
                <c:pt idx="880">
                  <c:v>44598</c:v>
                </c:pt>
                <c:pt idx="881">
                  <c:v>44597</c:v>
                </c:pt>
                <c:pt idx="882">
                  <c:v>44596</c:v>
                </c:pt>
                <c:pt idx="883">
                  <c:v>44595</c:v>
                </c:pt>
                <c:pt idx="884">
                  <c:v>44594</c:v>
                </c:pt>
                <c:pt idx="885">
                  <c:v>44593</c:v>
                </c:pt>
                <c:pt idx="886">
                  <c:v>44592</c:v>
                </c:pt>
                <c:pt idx="887">
                  <c:v>44591</c:v>
                </c:pt>
                <c:pt idx="888">
                  <c:v>44590</c:v>
                </c:pt>
                <c:pt idx="889">
                  <c:v>44589</c:v>
                </c:pt>
                <c:pt idx="890">
                  <c:v>44588</c:v>
                </c:pt>
                <c:pt idx="891">
                  <c:v>44587</c:v>
                </c:pt>
                <c:pt idx="892">
                  <c:v>44586</c:v>
                </c:pt>
                <c:pt idx="893">
                  <c:v>44585</c:v>
                </c:pt>
                <c:pt idx="894">
                  <c:v>44584</c:v>
                </c:pt>
                <c:pt idx="895">
                  <c:v>44583</c:v>
                </c:pt>
                <c:pt idx="896">
                  <c:v>44582</c:v>
                </c:pt>
                <c:pt idx="897">
                  <c:v>44581</c:v>
                </c:pt>
                <c:pt idx="898">
                  <c:v>44580</c:v>
                </c:pt>
                <c:pt idx="899">
                  <c:v>44579</c:v>
                </c:pt>
                <c:pt idx="900">
                  <c:v>44578</c:v>
                </c:pt>
                <c:pt idx="901">
                  <c:v>44577</c:v>
                </c:pt>
                <c:pt idx="902">
                  <c:v>44576</c:v>
                </c:pt>
                <c:pt idx="903">
                  <c:v>44575</c:v>
                </c:pt>
                <c:pt idx="904">
                  <c:v>44574</c:v>
                </c:pt>
                <c:pt idx="905">
                  <c:v>44573</c:v>
                </c:pt>
                <c:pt idx="906">
                  <c:v>44572</c:v>
                </c:pt>
                <c:pt idx="907">
                  <c:v>44571</c:v>
                </c:pt>
                <c:pt idx="908">
                  <c:v>44570</c:v>
                </c:pt>
                <c:pt idx="909">
                  <c:v>44569</c:v>
                </c:pt>
                <c:pt idx="910">
                  <c:v>44568</c:v>
                </c:pt>
                <c:pt idx="911">
                  <c:v>44567</c:v>
                </c:pt>
                <c:pt idx="912">
                  <c:v>44566</c:v>
                </c:pt>
                <c:pt idx="913">
                  <c:v>44565</c:v>
                </c:pt>
                <c:pt idx="914">
                  <c:v>44564</c:v>
                </c:pt>
                <c:pt idx="915">
                  <c:v>44563</c:v>
                </c:pt>
                <c:pt idx="916">
                  <c:v>44562</c:v>
                </c:pt>
                <c:pt idx="917">
                  <c:v>44561</c:v>
                </c:pt>
                <c:pt idx="918">
                  <c:v>44560</c:v>
                </c:pt>
                <c:pt idx="919">
                  <c:v>44559</c:v>
                </c:pt>
                <c:pt idx="920">
                  <c:v>44558</c:v>
                </c:pt>
                <c:pt idx="921">
                  <c:v>44557</c:v>
                </c:pt>
                <c:pt idx="922">
                  <c:v>44556</c:v>
                </c:pt>
              </c:numCache>
            </c:numRef>
          </c:cat>
          <c:val>
            <c:numRef>
              <c:f>百川电极!$U$3:$U$925</c:f>
              <c:numCache>
                <c:formatCode>0_);[Red]\(0\)</c:formatCode>
                <c:ptCount val="923"/>
                <c:pt idx="0">
                  <c:v>8800</c:v>
                </c:pt>
                <c:pt idx="1">
                  <c:v>8800</c:v>
                </c:pt>
                <c:pt idx="2">
                  <c:v>8800</c:v>
                </c:pt>
                <c:pt idx="3">
                  <c:v>8800</c:v>
                </c:pt>
                <c:pt idx="4">
                  <c:v>8800</c:v>
                </c:pt>
                <c:pt idx="5">
                  <c:v>8800</c:v>
                </c:pt>
                <c:pt idx="6">
                  <c:v>8800</c:v>
                </c:pt>
                <c:pt idx="7">
                  <c:v>8800</c:v>
                </c:pt>
                <c:pt idx="8">
                  <c:v>8800</c:v>
                </c:pt>
                <c:pt idx="9">
                  <c:v>8800</c:v>
                </c:pt>
                <c:pt idx="10">
                  <c:v>8800</c:v>
                </c:pt>
                <c:pt idx="11">
                  <c:v>8800</c:v>
                </c:pt>
                <c:pt idx="12">
                  <c:v>8800</c:v>
                </c:pt>
                <c:pt idx="13">
                  <c:v>8800</c:v>
                </c:pt>
                <c:pt idx="14">
                  <c:v>8800</c:v>
                </c:pt>
                <c:pt idx="15">
                  <c:v>8800</c:v>
                </c:pt>
                <c:pt idx="16">
                  <c:v>8800</c:v>
                </c:pt>
                <c:pt idx="17">
                  <c:v>8800</c:v>
                </c:pt>
                <c:pt idx="18">
                  <c:v>8800</c:v>
                </c:pt>
                <c:pt idx="19">
                  <c:v>8800</c:v>
                </c:pt>
                <c:pt idx="20">
                  <c:v>8800</c:v>
                </c:pt>
                <c:pt idx="21">
                  <c:v>8800</c:v>
                </c:pt>
                <c:pt idx="22">
                  <c:v>8800</c:v>
                </c:pt>
                <c:pt idx="23">
                  <c:v>8800</c:v>
                </c:pt>
                <c:pt idx="24">
                  <c:v>8800</c:v>
                </c:pt>
                <c:pt idx="25">
                  <c:v>8800</c:v>
                </c:pt>
                <c:pt idx="26">
                  <c:v>8800</c:v>
                </c:pt>
                <c:pt idx="27">
                  <c:v>8800</c:v>
                </c:pt>
                <c:pt idx="28">
                  <c:v>8800</c:v>
                </c:pt>
                <c:pt idx="29">
                  <c:v>9500</c:v>
                </c:pt>
                <c:pt idx="30">
                  <c:v>9500</c:v>
                </c:pt>
                <c:pt idx="31">
                  <c:v>9500</c:v>
                </c:pt>
                <c:pt idx="32">
                  <c:v>9500</c:v>
                </c:pt>
                <c:pt idx="33">
                  <c:v>9500</c:v>
                </c:pt>
                <c:pt idx="34">
                  <c:v>9500</c:v>
                </c:pt>
                <c:pt idx="35">
                  <c:v>9500</c:v>
                </c:pt>
                <c:pt idx="36">
                  <c:v>9500</c:v>
                </c:pt>
                <c:pt idx="37">
                  <c:v>9500</c:v>
                </c:pt>
                <c:pt idx="38">
                  <c:v>9500</c:v>
                </c:pt>
                <c:pt idx="39">
                  <c:v>9500</c:v>
                </c:pt>
                <c:pt idx="40">
                  <c:v>9500</c:v>
                </c:pt>
                <c:pt idx="41">
                  <c:v>9500</c:v>
                </c:pt>
                <c:pt idx="42">
                  <c:v>9500</c:v>
                </c:pt>
                <c:pt idx="43">
                  <c:v>9500</c:v>
                </c:pt>
                <c:pt idx="44">
                  <c:v>9500</c:v>
                </c:pt>
                <c:pt idx="45">
                  <c:v>9500</c:v>
                </c:pt>
                <c:pt idx="46">
                  <c:v>9500</c:v>
                </c:pt>
                <c:pt idx="47">
                  <c:v>9500</c:v>
                </c:pt>
                <c:pt idx="48">
                  <c:v>9500</c:v>
                </c:pt>
                <c:pt idx="49">
                  <c:v>9500</c:v>
                </c:pt>
                <c:pt idx="50">
                  <c:v>9500</c:v>
                </c:pt>
                <c:pt idx="51">
                  <c:v>9500</c:v>
                </c:pt>
                <c:pt idx="52">
                  <c:v>9500</c:v>
                </c:pt>
                <c:pt idx="53">
                  <c:v>9500</c:v>
                </c:pt>
                <c:pt idx="54">
                  <c:v>9500</c:v>
                </c:pt>
                <c:pt idx="55">
                  <c:v>9500</c:v>
                </c:pt>
                <c:pt idx="56">
                  <c:v>9500</c:v>
                </c:pt>
                <c:pt idx="57">
                  <c:v>9500</c:v>
                </c:pt>
                <c:pt idx="58">
                  <c:v>9500</c:v>
                </c:pt>
                <c:pt idx="59">
                  <c:v>9500</c:v>
                </c:pt>
                <c:pt idx="60">
                  <c:v>9500</c:v>
                </c:pt>
                <c:pt idx="61">
                  <c:v>9500</c:v>
                </c:pt>
                <c:pt idx="62">
                  <c:v>9500</c:v>
                </c:pt>
                <c:pt idx="63">
                  <c:v>9500</c:v>
                </c:pt>
                <c:pt idx="64">
                  <c:v>9500</c:v>
                </c:pt>
                <c:pt idx="65">
                  <c:v>9500</c:v>
                </c:pt>
                <c:pt idx="66">
                  <c:v>9500</c:v>
                </c:pt>
                <c:pt idx="67">
                  <c:v>9500</c:v>
                </c:pt>
                <c:pt idx="68">
                  <c:v>9500</c:v>
                </c:pt>
                <c:pt idx="69">
                  <c:v>9500</c:v>
                </c:pt>
                <c:pt idx="70">
                  <c:v>9500</c:v>
                </c:pt>
                <c:pt idx="71">
                  <c:v>9500</c:v>
                </c:pt>
                <c:pt idx="72">
                  <c:v>9500</c:v>
                </c:pt>
                <c:pt idx="73">
                  <c:v>9500</c:v>
                </c:pt>
                <c:pt idx="74">
                  <c:v>9500</c:v>
                </c:pt>
                <c:pt idx="75">
                  <c:v>9500</c:v>
                </c:pt>
                <c:pt idx="76">
                  <c:v>9500</c:v>
                </c:pt>
                <c:pt idx="77">
                  <c:v>9500</c:v>
                </c:pt>
                <c:pt idx="78">
                  <c:v>9500</c:v>
                </c:pt>
                <c:pt idx="79">
                  <c:v>9500</c:v>
                </c:pt>
                <c:pt idx="80">
                  <c:v>9500</c:v>
                </c:pt>
                <c:pt idx="81">
                  <c:v>9500</c:v>
                </c:pt>
                <c:pt idx="82">
                  <c:v>9500</c:v>
                </c:pt>
                <c:pt idx="83">
                  <c:v>9500</c:v>
                </c:pt>
                <c:pt idx="84">
                  <c:v>9500</c:v>
                </c:pt>
                <c:pt idx="85">
                  <c:v>9500</c:v>
                </c:pt>
                <c:pt idx="86">
                  <c:v>9500</c:v>
                </c:pt>
                <c:pt idx="87">
                  <c:v>9500</c:v>
                </c:pt>
                <c:pt idx="88">
                  <c:v>9500</c:v>
                </c:pt>
                <c:pt idx="89">
                  <c:v>9500</c:v>
                </c:pt>
                <c:pt idx="90">
                  <c:v>9500</c:v>
                </c:pt>
                <c:pt idx="91">
                  <c:v>9500</c:v>
                </c:pt>
                <c:pt idx="92">
                  <c:v>9500</c:v>
                </c:pt>
                <c:pt idx="93">
                  <c:v>9500</c:v>
                </c:pt>
                <c:pt idx="94">
                  <c:v>9500</c:v>
                </c:pt>
                <c:pt idx="95">
                  <c:v>9500</c:v>
                </c:pt>
                <c:pt idx="96">
                  <c:v>9500</c:v>
                </c:pt>
                <c:pt idx="97">
                  <c:v>9500</c:v>
                </c:pt>
                <c:pt idx="98">
                  <c:v>9500</c:v>
                </c:pt>
                <c:pt idx="99">
                  <c:v>9500</c:v>
                </c:pt>
                <c:pt idx="100">
                  <c:v>9500</c:v>
                </c:pt>
                <c:pt idx="101">
                  <c:v>9500</c:v>
                </c:pt>
                <c:pt idx="102">
                  <c:v>9500</c:v>
                </c:pt>
                <c:pt idx="103">
                  <c:v>9500</c:v>
                </c:pt>
                <c:pt idx="104">
                  <c:v>9500</c:v>
                </c:pt>
                <c:pt idx="105">
                  <c:v>9500</c:v>
                </c:pt>
                <c:pt idx="106">
                  <c:v>9500</c:v>
                </c:pt>
                <c:pt idx="107">
                  <c:v>9500</c:v>
                </c:pt>
                <c:pt idx="108">
                  <c:v>9500</c:v>
                </c:pt>
                <c:pt idx="109">
                  <c:v>9500</c:v>
                </c:pt>
                <c:pt idx="110">
                  <c:v>9500</c:v>
                </c:pt>
                <c:pt idx="111">
                  <c:v>9500</c:v>
                </c:pt>
                <c:pt idx="112">
                  <c:v>9500</c:v>
                </c:pt>
                <c:pt idx="113">
                  <c:v>9500</c:v>
                </c:pt>
                <c:pt idx="114">
                  <c:v>9500</c:v>
                </c:pt>
                <c:pt idx="115">
                  <c:v>9500</c:v>
                </c:pt>
                <c:pt idx="116">
                  <c:v>9500</c:v>
                </c:pt>
                <c:pt idx="117">
                  <c:v>9500</c:v>
                </c:pt>
                <c:pt idx="118">
                  <c:v>9500</c:v>
                </c:pt>
                <c:pt idx="119">
                  <c:v>9500</c:v>
                </c:pt>
                <c:pt idx="120">
                  <c:v>9500</c:v>
                </c:pt>
                <c:pt idx="121">
                  <c:v>9500</c:v>
                </c:pt>
                <c:pt idx="122">
                  <c:v>9500</c:v>
                </c:pt>
                <c:pt idx="123">
                  <c:v>9500</c:v>
                </c:pt>
                <c:pt idx="124">
                  <c:v>9500</c:v>
                </c:pt>
                <c:pt idx="125">
                  <c:v>9500</c:v>
                </c:pt>
                <c:pt idx="126">
                  <c:v>9500</c:v>
                </c:pt>
                <c:pt idx="127">
                  <c:v>9500</c:v>
                </c:pt>
                <c:pt idx="128">
                  <c:v>9500</c:v>
                </c:pt>
                <c:pt idx="129">
                  <c:v>9500</c:v>
                </c:pt>
                <c:pt idx="130">
                  <c:v>9500</c:v>
                </c:pt>
                <c:pt idx="131">
                  <c:v>9500</c:v>
                </c:pt>
                <c:pt idx="132">
                  <c:v>9500</c:v>
                </c:pt>
                <c:pt idx="133">
                  <c:v>9500</c:v>
                </c:pt>
                <c:pt idx="134">
                  <c:v>9500</c:v>
                </c:pt>
                <c:pt idx="135">
                  <c:v>9500</c:v>
                </c:pt>
                <c:pt idx="136">
                  <c:v>9500</c:v>
                </c:pt>
                <c:pt idx="137">
                  <c:v>9500</c:v>
                </c:pt>
                <c:pt idx="138">
                  <c:v>9500</c:v>
                </c:pt>
                <c:pt idx="139">
                  <c:v>9500</c:v>
                </c:pt>
                <c:pt idx="140">
                  <c:v>9500</c:v>
                </c:pt>
                <c:pt idx="141">
                  <c:v>9500</c:v>
                </c:pt>
                <c:pt idx="142">
                  <c:v>9500</c:v>
                </c:pt>
                <c:pt idx="143">
                  <c:v>9500</c:v>
                </c:pt>
                <c:pt idx="144">
                  <c:v>9500</c:v>
                </c:pt>
                <c:pt idx="145">
                  <c:v>9500</c:v>
                </c:pt>
                <c:pt idx="146">
                  <c:v>9500</c:v>
                </c:pt>
                <c:pt idx="147">
                  <c:v>9500</c:v>
                </c:pt>
                <c:pt idx="148">
                  <c:v>9500</c:v>
                </c:pt>
                <c:pt idx="149">
                  <c:v>9500</c:v>
                </c:pt>
                <c:pt idx="150">
                  <c:v>9500</c:v>
                </c:pt>
                <c:pt idx="151">
                  <c:v>9500</c:v>
                </c:pt>
                <c:pt idx="152">
                  <c:v>9500</c:v>
                </c:pt>
                <c:pt idx="153">
                  <c:v>9500</c:v>
                </c:pt>
                <c:pt idx="154">
                  <c:v>9500</c:v>
                </c:pt>
                <c:pt idx="155">
                  <c:v>9500</c:v>
                </c:pt>
                <c:pt idx="156">
                  <c:v>9500</c:v>
                </c:pt>
                <c:pt idx="157">
                  <c:v>9500</c:v>
                </c:pt>
                <c:pt idx="158">
                  <c:v>9500</c:v>
                </c:pt>
                <c:pt idx="159">
                  <c:v>9500</c:v>
                </c:pt>
                <c:pt idx="160">
                  <c:v>9500</c:v>
                </c:pt>
                <c:pt idx="161">
                  <c:v>9500</c:v>
                </c:pt>
                <c:pt idx="162">
                  <c:v>9500</c:v>
                </c:pt>
                <c:pt idx="163">
                  <c:v>9500</c:v>
                </c:pt>
                <c:pt idx="164">
                  <c:v>9500</c:v>
                </c:pt>
                <c:pt idx="165">
                  <c:v>9500</c:v>
                </c:pt>
                <c:pt idx="166">
                  <c:v>9500</c:v>
                </c:pt>
                <c:pt idx="167">
                  <c:v>9500</c:v>
                </c:pt>
                <c:pt idx="168">
                  <c:v>9500</c:v>
                </c:pt>
                <c:pt idx="169">
                  <c:v>9500</c:v>
                </c:pt>
                <c:pt idx="170">
                  <c:v>9500</c:v>
                </c:pt>
                <c:pt idx="171">
                  <c:v>9500</c:v>
                </c:pt>
                <c:pt idx="172">
                  <c:v>9500</c:v>
                </c:pt>
                <c:pt idx="173">
                  <c:v>9500</c:v>
                </c:pt>
                <c:pt idx="174">
                  <c:v>9500</c:v>
                </c:pt>
                <c:pt idx="175">
                  <c:v>9500</c:v>
                </c:pt>
                <c:pt idx="176">
                  <c:v>9500</c:v>
                </c:pt>
                <c:pt idx="177">
                  <c:v>9500</c:v>
                </c:pt>
                <c:pt idx="178">
                  <c:v>9500</c:v>
                </c:pt>
                <c:pt idx="179">
                  <c:v>9500</c:v>
                </c:pt>
                <c:pt idx="180">
                  <c:v>9500</c:v>
                </c:pt>
                <c:pt idx="181">
                  <c:v>9500</c:v>
                </c:pt>
                <c:pt idx="182">
                  <c:v>9500</c:v>
                </c:pt>
                <c:pt idx="183">
                  <c:v>9500</c:v>
                </c:pt>
                <c:pt idx="184">
                  <c:v>9500</c:v>
                </c:pt>
                <c:pt idx="185">
                  <c:v>9500</c:v>
                </c:pt>
                <c:pt idx="186">
                  <c:v>9500</c:v>
                </c:pt>
                <c:pt idx="187">
                  <c:v>9500</c:v>
                </c:pt>
                <c:pt idx="188">
                  <c:v>9500</c:v>
                </c:pt>
                <c:pt idx="189">
                  <c:v>9500</c:v>
                </c:pt>
                <c:pt idx="190">
                  <c:v>9500</c:v>
                </c:pt>
                <c:pt idx="191">
                  <c:v>9500</c:v>
                </c:pt>
                <c:pt idx="192">
                  <c:v>9500</c:v>
                </c:pt>
                <c:pt idx="193">
                  <c:v>9500</c:v>
                </c:pt>
                <c:pt idx="194">
                  <c:v>9500</c:v>
                </c:pt>
                <c:pt idx="195">
                  <c:v>9500</c:v>
                </c:pt>
                <c:pt idx="196">
                  <c:v>9500</c:v>
                </c:pt>
                <c:pt idx="197">
                  <c:v>9500</c:v>
                </c:pt>
                <c:pt idx="198">
                  <c:v>9500</c:v>
                </c:pt>
                <c:pt idx="199">
                  <c:v>9500</c:v>
                </c:pt>
                <c:pt idx="200">
                  <c:v>9500</c:v>
                </c:pt>
                <c:pt idx="201">
                  <c:v>9500</c:v>
                </c:pt>
                <c:pt idx="202">
                  <c:v>9500</c:v>
                </c:pt>
                <c:pt idx="203">
                  <c:v>9500</c:v>
                </c:pt>
                <c:pt idx="204">
                  <c:v>9500</c:v>
                </c:pt>
                <c:pt idx="205">
                  <c:v>9500</c:v>
                </c:pt>
                <c:pt idx="206">
                  <c:v>9500</c:v>
                </c:pt>
                <c:pt idx="207">
                  <c:v>9500</c:v>
                </c:pt>
                <c:pt idx="208">
                  <c:v>9500</c:v>
                </c:pt>
                <c:pt idx="209">
                  <c:v>9500</c:v>
                </c:pt>
                <c:pt idx="210">
                  <c:v>9500</c:v>
                </c:pt>
                <c:pt idx="211">
                  <c:v>9500</c:v>
                </c:pt>
                <c:pt idx="212">
                  <c:v>9500</c:v>
                </c:pt>
                <c:pt idx="213">
                  <c:v>9500</c:v>
                </c:pt>
                <c:pt idx="214">
                  <c:v>9500</c:v>
                </c:pt>
                <c:pt idx="215">
                  <c:v>9500</c:v>
                </c:pt>
                <c:pt idx="216">
                  <c:v>9500</c:v>
                </c:pt>
                <c:pt idx="217">
                  <c:v>9500</c:v>
                </c:pt>
                <c:pt idx="218">
                  <c:v>9500</c:v>
                </c:pt>
                <c:pt idx="219">
                  <c:v>9500</c:v>
                </c:pt>
                <c:pt idx="220">
                  <c:v>9500</c:v>
                </c:pt>
                <c:pt idx="221">
                  <c:v>9500</c:v>
                </c:pt>
                <c:pt idx="222">
                  <c:v>9500</c:v>
                </c:pt>
                <c:pt idx="223">
                  <c:v>9500</c:v>
                </c:pt>
                <c:pt idx="224">
                  <c:v>9500</c:v>
                </c:pt>
                <c:pt idx="225">
                  <c:v>9500</c:v>
                </c:pt>
                <c:pt idx="226">
                  <c:v>9500</c:v>
                </c:pt>
                <c:pt idx="227">
                  <c:v>9500</c:v>
                </c:pt>
                <c:pt idx="228">
                  <c:v>9500</c:v>
                </c:pt>
                <c:pt idx="229">
                  <c:v>9500</c:v>
                </c:pt>
                <c:pt idx="230">
                  <c:v>9500</c:v>
                </c:pt>
                <c:pt idx="231">
                  <c:v>9500</c:v>
                </c:pt>
                <c:pt idx="232">
                  <c:v>9500</c:v>
                </c:pt>
                <c:pt idx="233">
                  <c:v>9500</c:v>
                </c:pt>
                <c:pt idx="234">
                  <c:v>9500</c:v>
                </c:pt>
                <c:pt idx="235">
                  <c:v>9500</c:v>
                </c:pt>
                <c:pt idx="236">
                  <c:v>9500</c:v>
                </c:pt>
                <c:pt idx="237">
                  <c:v>9500</c:v>
                </c:pt>
                <c:pt idx="238">
                  <c:v>9500</c:v>
                </c:pt>
                <c:pt idx="239">
                  <c:v>9500</c:v>
                </c:pt>
                <c:pt idx="240">
                  <c:v>9500</c:v>
                </c:pt>
                <c:pt idx="241">
                  <c:v>9500</c:v>
                </c:pt>
                <c:pt idx="242">
                  <c:v>9500</c:v>
                </c:pt>
                <c:pt idx="243">
                  <c:v>9500</c:v>
                </c:pt>
                <c:pt idx="244">
                  <c:v>9500</c:v>
                </c:pt>
                <c:pt idx="245">
                  <c:v>9500</c:v>
                </c:pt>
                <c:pt idx="246">
                  <c:v>9500</c:v>
                </c:pt>
                <c:pt idx="247">
                  <c:v>9500</c:v>
                </c:pt>
                <c:pt idx="248">
                  <c:v>9500</c:v>
                </c:pt>
                <c:pt idx="249">
                  <c:v>9500</c:v>
                </c:pt>
                <c:pt idx="250">
                  <c:v>9500</c:v>
                </c:pt>
                <c:pt idx="251">
                  <c:v>9500</c:v>
                </c:pt>
                <c:pt idx="252">
                  <c:v>9500</c:v>
                </c:pt>
                <c:pt idx="253">
                  <c:v>9500</c:v>
                </c:pt>
                <c:pt idx="254">
                  <c:v>9500</c:v>
                </c:pt>
                <c:pt idx="255">
                  <c:v>9500</c:v>
                </c:pt>
                <c:pt idx="256">
                  <c:v>9500</c:v>
                </c:pt>
                <c:pt idx="257">
                  <c:v>9500</c:v>
                </c:pt>
                <c:pt idx="258">
                  <c:v>9500</c:v>
                </c:pt>
                <c:pt idx="259">
                  <c:v>9500</c:v>
                </c:pt>
                <c:pt idx="260">
                  <c:v>9500</c:v>
                </c:pt>
                <c:pt idx="261">
                  <c:v>9500</c:v>
                </c:pt>
                <c:pt idx="262">
                  <c:v>9500</c:v>
                </c:pt>
                <c:pt idx="263">
                  <c:v>9500</c:v>
                </c:pt>
                <c:pt idx="264">
                  <c:v>9500</c:v>
                </c:pt>
                <c:pt idx="265">
                  <c:v>9500</c:v>
                </c:pt>
                <c:pt idx="266">
                  <c:v>9500</c:v>
                </c:pt>
                <c:pt idx="267">
                  <c:v>9500</c:v>
                </c:pt>
                <c:pt idx="268">
                  <c:v>9500</c:v>
                </c:pt>
                <c:pt idx="269">
                  <c:v>9500</c:v>
                </c:pt>
                <c:pt idx="270">
                  <c:v>9500</c:v>
                </c:pt>
                <c:pt idx="271">
                  <c:v>9500</c:v>
                </c:pt>
                <c:pt idx="272">
                  <c:v>9500</c:v>
                </c:pt>
                <c:pt idx="273">
                  <c:v>9500</c:v>
                </c:pt>
                <c:pt idx="274">
                  <c:v>9500</c:v>
                </c:pt>
                <c:pt idx="275">
                  <c:v>9500</c:v>
                </c:pt>
                <c:pt idx="276">
                  <c:v>9500</c:v>
                </c:pt>
                <c:pt idx="277">
                  <c:v>9500</c:v>
                </c:pt>
                <c:pt idx="278">
                  <c:v>9500</c:v>
                </c:pt>
                <c:pt idx="279">
                  <c:v>9500</c:v>
                </c:pt>
                <c:pt idx="280">
                  <c:v>9500</c:v>
                </c:pt>
                <c:pt idx="281">
                  <c:v>9500</c:v>
                </c:pt>
                <c:pt idx="282">
                  <c:v>9500</c:v>
                </c:pt>
                <c:pt idx="283">
                  <c:v>9500</c:v>
                </c:pt>
                <c:pt idx="284">
                  <c:v>9500</c:v>
                </c:pt>
                <c:pt idx="285">
                  <c:v>9500</c:v>
                </c:pt>
                <c:pt idx="286">
                  <c:v>9500</c:v>
                </c:pt>
                <c:pt idx="287">
                  <c:v>9500</c:v>
                </c:pt>
                <c:pt idx="288">
                  <c:v>9500</c:v>
                </c:pt>
                <c:pt idx="289">
                  <c:v>9500</c:v>
                </c:pt>
                <c:pt idx="290">
                  <c:v>9500</c:v>
                </c:pt>
                <c:pt idx="291">
                  <c:v>9500</c:v>
                </c:pt>
                <c:pt idx="292">
                  <c:v>9500</c:v>
                </c:pt>
                <c:pt idx="293">
                  <c:v>9500</c:v>
                </c:pt>
                <c:pt idx="294">
                  <c:v>9500</c:v>
                </c:pt>
                <c:pt idx="295">
                  <c:v>9500</c:v>
                </c:pt>
                <c:pt idx="296">
                  <c:v>9500</c:v>
                </c:pt>
                <c:pt idx="297">
                  <c:v>9500</c:v>
                </c:pt>
                <c:pt idx="298">
                  <c:v>9500</c:v>
                </c:pt>
                <c:pt idx="299">
                  <c:v>9500</c:v>
                </c:pt>
                <c:pt idx="300">
                  <c:v>9500</c:v>
                </c:pt>
                <c:pt idx="301">
                  <c:v>9500</c:v>
                </c:pt>
                <c:pt idx="302">
                  <c:v>9500</c:v>
                </c:pt>
                <c:pt idx="303">
                  <c:v>9500</c:v>
                </c:pt>
                <c:pt idx="304">
                  <c:v>9500</c:v>
                </c:pt>
                <c:pt idx="305">
                  <c:v>9500</c:v>
                </c:pt>
                <c:pt idx="306">
                  <c:v>9500</c:v>
                </c:pt>
                <c:pt idx="307">
                  <c:v>9500</c:v>
                </c:pt>
                <c:pt idx="308">
                  <c:v>9500</c:v>
                </c:pt>
                <c:pt idx="309">
                  <c:v>9500</c:v>
                </c:pt>
                <c:pt idx="310">
                  <c:v>9500</c:v>
                </c:pt>
                <c:pt idx="311">
                  <c:v>9500</c:v>
                </c:pt>
                <c:pt idx="312">
                  <c:v>9500</c:v>
                </c:pt>
                <c:pt idx="313">
                  <c:v>9500</c:v>
                </c:pt>
                <c:pt idx="314">
                  <c:v>9500</c:v>
                </c:pt>
                <c:pt idx="315">
                  <c:v>9500</c:v>
                </c:pt>
                <c:pt idx="316">
                  <c:v>9500</c:v>
                </c:pt>
                <c:pt idx="317">
                  <c:v>10500</c:v>
                </c:pt>
                <c:pt idx="318">
                  <c:v>10500</c:v>
                </c:pt>
                <c:pt idx="319">
                  <c:v>10500</c:v>
                </c:pt>
                <c:pt idx="320">
                  <c:v>10500</c:v>
                </c:pt>
                <c:pt idx="321">
                  <c:v>10500</c:v>
                </c:pt>
                <c:pt idx="322">
                  <c:v>10500</c:v>
                </c:pt>
                <c:pt idx="323">
                  <c:v>10500</c:v>
                </c:pt>
                <c:pt idx="324">
                  <c:v>10500</c:v>
                </c:pt>
                <c:pt idx="325">
                  <c:v>10500</c:v>
                </c:pt>
                <c:pt idx="326">
                  <c:v>10500</c:v>
                </c:pt>
                <c:pt idx="327">
                  <c:v>10500</c:v>
                </c:pt>
                <c:pt idx="328">
                  <c:v>10500</c:v>
                </c:pt>
                <c:pt idx="329">
                  <c:v>10500</c:v>
                </c:pt>
                <c:pt idx="330">
                  <c:v>10500</c:v>
                </c:pt>
                <c:pt idx="331">
                  <c:v>11500</c:v>
                </c:pt>
                <c:pt idx="332">
                  <c:v>11500</c:v>
                </c:pt>
                <c:pt idx="333">
                  <c:v>11500</c:v>
                </c:pt>
                <c:pt idx="334">
                  <c:v>11500</c:v>
                </c:pt>
                <c:pt idx="335">
                  <c:v>11500</c:v>
                </c:pt>
                <c:pt idx="336">
                  <c:v>11500</c:v>
                </c:pt>
                <c:pt idx="337">
                  <c:v>11500</c:v>
                </c:pt>
                <c:pt idx="338">
                  <c:v>11500</c:v>
                </c:pt>
                <c:pt idx="339">
                  <c:v>12500</c:v>
                </c:pt>
                <c:pt idx="340">
                  <c:v>12500</c:v>
                </c:pt>
                <c:pt idx="341">
                  <c:v>12500</c:v>
                </c:pt>
                <c:pt idx="342">
                  <c:v>12500</c:v>
                </c:pt>
                <c:pt idx="343">
                  <c:v>12500</c:v>
                </c:pt>
                <c:pt idx="344">
                  <c:v>12500</c:v>
                </c:pt>
                <c:pt idx="345">
                  <c:v>12500</c:v>
                </c:pt>
                <c:pt idx="346">
                  <c:v>12500</c:v>
                </c:pt>
                <c:pt idx="347">
                  <c:v>12500</c:v>
                </c:pt>
                <c:pt idx="348">
                  <c:v>12500</c:v>
                </c:pt>
                <c:pt idx="349">
                  <c:v>12500</c:v>
                </c:pt>
                <c:pt idx="350">
                  <c:v>12500</c:v>
                </c:pt>
                <c:pt idx="351">
                  <c:v>12500</c:v>
                </c:pt>
                <c:pt idx="352">
                  <c:v>12500</c:v>
                </c:pt>
                <c:pt idx="353">
                  <c:v>12500</c:v>
                </c:pt>
                <c:pt idx="354">
                  <c:v>13500</c:v>
                </c:pt>
                <c:pt idx="355">
                  <c:v>13500</c:v>
                </c:pt>
                <c:pt idx="356">
                  <c:v>13500</c:v>
                </c:pt>
                <c:pt idx="357">
                  <c:v>13500</c:v>
                </c:pt>
                <c:pt idx="358">
                  <c:v>13500</c:v>
                </c:pt>
                <c:pt idx="359">
                  <c:v>13500</c:v>
                </c:pt>
                <c:pt idx="360">
                  <c:v>13500</c:v>
                </c:pt>
                <c:pt idx="361">
                  <c:v>13500</c:v>
                </c:pt>
                <c:pt idx="362">
                  <c:v>13500</c:v>
                </c:pt>
                <c:pt idx="363">
                  <c:v>13500</c:v>
                </c:pt>
                <c:pt idx="364">
                  <c:v>13500</c:v>
                </c:pt>
                <c:pt idx="365">
                  <c:v>13500</c:v>
                </c:pt>
                <c:pt idx="366">
                  <c:v>13500</c:v>
                </c:pt>
                <c:pt idx="367">
                  <c:v>13500</c:v>
                </c:pt>
                <c:pt idx="368">
                  <c:v>13500</c:v>
                </c:pt>
                <c:pt idx="369">
                  <c:v>13500</c:v>
                </c:pt>
                <c:pt idx="370">
                  <c:v>13500</c:v>
                </c:pt>
                <c:pt idx="371">
                  <c:v>13500</c:v>
                </c:pt>
                <c:pt idx="372">
                  <c:v>13500</c:v>
                </c:pt>
                <c:pt idx="373">
                  <c:v>13500</c:v>
                </c:pt>
                <c:pt idx="374">
                  <c:v>13500</c:v>
                </c:pt>
                <c:pt idx="375">
                  <c:v>13500</c:v>
                </c:pt>
                <c:pt idx="376">
                  <c:v>13500</c:v>
                </c:pt>
                <c:pt idx="377">
                  <c:v>13500</c:v>
                </c:pt>
                <c:pt idx="378">
                  <c:v>13500</c:v>
                </c:pt>
                <c:pt idx="379">
                  <c:v>13500</c:v>
                </c:pt>
                <c:pt idx="380">
                  <c:v>13500</c:v>
                </c:pt>
                <c:pt idx="381">
                  <c:v>13500</c:v>
                </c:pt>
                <c:pt idx="382">
                  <c:v>13500</c:v>
                </c:pt>
                <c:pt idx="383">
                  <c:v>13500</c:v>
                </c:pt>
                <c:pt idx="384">
                  <c:v>13500</c:v>
                </c:pt>
                <c:pt idx="385">
                  <c:v>13500</c:v>
                </c:pt>
                <c:pt idx="386">
                  <c:v>13500</c:v>
                </c:pt>
                <c:pt idx="387">
                  <c:v>13500</c:v>
                </c:pt>
                <c:pt idx="388">
                  <c:v>13500</c:v>
                </c:pt>
                <c:pt idx="389">
                  <c:v>13500</c:v>
                </c:pt>
                <c:pt idx="390">
                  <c:v>15500</c:v>
                </c:pt>
                <c:pt idx="391">
                  <c:v>15500</c:v>
                </c:pt>
                <c:pt idx="392">
                  <c:v>15500</c:v>
                </c:pt>
                <c:pt idx="393">
                  <c:v>15500</c:v>
                </c:pt>
                <c:pt idx="394">
                  <c:v>15500</c:v>
                </c:pt>
                <c:pt idx="395">
                  <c:v>15500</c:v>
                </c:pt>
                <c:pt idx="396">
                  <c:v>15500</c:v>
                </c:pt>
                <c:pt idx="397">
                  <c:v>15500</c:v>
                </c:pt>
                <c:pt idx="398">
                  <c:v>15500</c:v>
                </c:pt>
                <c:pt idx="399">
                  <c:v>15500</c:v>
                </c:pt>
                <c:pt idx="400">
                  <c:v>15500</c:v>
                </c:pt>
                <c:pt idx="401">
                  <c:v>15500</c:v>
                </c:pt>
                <c:pt idx="402">
                  <c:v>15500</c:v>
                </c:pt>
                <c:pt idx="403">
                  <c:v>15500</c:v>
                </c:pt>
                <c:pt idx="404">
                  <c:v>15500</c:v>
                </c:pt>
                <c:pt idx="405">
                  <c:v>15500</c:v>
                </c:pt>
                <c:pt idx="406">
                  <c:v>15500</c:v>
                </c:pt>
                <c:pt idx="407">
                  <c:v>15500</c:v>
                </c:pt>
                <c:pt idx="408">
                  <c:v>16000</c:v>
                </c:pt>
                <c:pt idx="409">
                  <c:v>16000</c:v>
                </c:pt>
                <c:pt idx="410">
                  <c:v>16000</c:v>
                </c:pt>
                <c:pt idx="411">
                  <c:v>16000</c:v>
                </c:pt>
                <c:pt idx="412">
                  <c:v>16000</c:v>
                </c:pt>
                <c:pt idx="413">
                  <c:v>16000</c:v>
                </c:pt>
                <c:pt idx="414">
                  <c:v>16000</c:v>
                </c:pt>
                <c:pt idx="415">
                  <c:v>16000</c:v>
                </c:pt>
                <c:pt idx="416">
                  <c:v>16000</c:v>
                </c:pt>
                <c:pt idx="417">
                  <c:v>16000</c:v>
                </c:pt>
                <c:pt idx="418">
                  <c:v>16000</c:v>
                </c:pt>
                <c:pt idx="419">
                  <c:v>16000</c:v>
                </c:pt>
                <c:pt idx="420">
                  <c:v>16000</c:v>
                </c:pt>
                <c:pt idx="421">
                  <c:v>16000</c:v>
                </c:pt>
                <c:pt idx="422">
                  <c:v>17000</c:v>
                </c:pt>
                <c:pt idx="423">
                  <c:v>17000</c:v>
                </c:pt>
                <c:pt idx="424">
                  <c:v>17000</c:v>
                </c:pt>
                <c:pt idx="425">
                  <c:v>17000</c:v>
                </c:pt>
                <c:pt idx="426">
                  <c:v>17000</c:v>
                </c:pt>
                <c:pt idx="427">
                  <c:v>17000</c:v>
                </c:pt>
                <c:pt idx="428">
                  <c:v>17000</c:v>
                </c:pt>
                <c:pt idx="429">
                  <c:v>17000</c:v>
                </c:pt>
                <c:pt idx="430">
                  <c:v>17000</c:v>
                </c:pt>
                <c:pt idx="431">
                  <c:v>17000</c:v>
                </c:pt>
                <c:pt idx="432">
                  <c:v>17000</c:v>
                </c:pt>
                <c:pt idx="433">
                  <c:v>17000</c:v>
                </c:pt>
                <c:pt idx="434">
                  <c:v>17000</c:v>
                </c:pt>
                <c:pt idx="435">
                  <c:v>17000</c:v>
                </c:pt>
                <c:pt idx="436">
                  <c:v>17000</c:v>
                </c:pt>
                <c:pt idx="437">
                  <c:v>17000</c:v>
                </c:pt>
                <c:pt idx="438">
                  <c:v>17000</c:v>
                </c:pt>
                <c:pt idx="439">
                  <c:v>17000</c:v>
                </c:pt>
                <c:pt idx="440">
                  <c:v>17000</c:v>
                </c:pt>
                <c:pt idx="441">
                  <c:v>17000</c:v>
                </c:pt>
                <c:pt idx="442">
                  <c:v>17000</c:v>
                </c:pt>
                <c:pt idx="443">
                  <c:v>17000</c:v>
                </c:pt>
                <c:pt idx="444">
                  <c:v>17000</c:v>
                </c:pt>
                <c:pt idx="445">
                  <c:v>17000</c:v>
                </c:pt>
                <c:pt idx="446">
                  <c:v>17000</c:v>
                </c:pt>
                <c:pt idx="447">
                  <c:v>17000</c:v>
                </c:pt>
                <c:pt idx="448">
                  <c:v>17000</c:v>
                </c:pt>
                <c:pt idx="449">
                  <c:v>17000</c:v>
                </c:pt>
                <c:pt idx="450">
                  <c:v>17000</c:v>
                </c:pt>
                <c:pt idx="451">
                  <c:v>17000</c:v>
                </c:pt>
                <c:pt idx="452">
                  <c:v>17000</c:v>
                </c:pt>
                <c:pt idx="453">
                  <c:v>17000</c:v>
                </c:pt>
                <c:pt idx="454">
                  <c:v>17000</c:v>
                </c:pt>
                <c:pt idx="455">
                  <c:v>17000</c:v>
                </c:pt>
                <c:pt idx="456">
                  <c:v>17000</c:v>
                </c:pt>
                <c:pt idx="457">
                  <c:v>17000</c:v>
                </c:pt>
                <c:pt idx="458">
                  <c:v>17000</c:v>
                </c:pt>
                <c:pt idx="459">
                  <c:v>17000</c:v>
                </c:pt>
                <c:pt idx="460">
                  <c:v>17000</c:v>
                </c:pt>
                <c:pt idx="461">
                  <c:v>17000</c:v>
                </c:pt>
                <c:pt idx="462">
                  <c:v>17000</c:v>
                </c:pt>
                <c:pt idx="463">
                  <c:v>17000</c:v>
                </c:pt>
                <c:pt idx="464">
                  <c:v>17000</c:v>
                </c:pt>
                <c:pt idx="465">
                  <c:v>17000</c:v>
                </c:pt>
                <c:pt idx="466">
                  <c:v>17000</c:v>
                </c:pt>
                <c:pt idx="467">
                  <c:v>17000</c:v>
                </c:pt>
                <c:pt idx="468">
                  <c:v>17000</c:v>
                </c:pt>
                <c:pt idx="469">
                  <c:v>17000</c:v>
                </c:pt>
                <c:pt idx="470">
                  <c:v>17000</c:v>
                </c:pt>
                <c:pt idx="471">
                  <c:v>17000</c:v>
                </c:pt>
                <c:pt idx="472">
                  <c:v>18000</c:v>
                </c:pt>
                <c:pt idx="473">
                  <c:v>18000</c:v>
                </c:pt>
                <c:pt idx="474">
                  <c:v>18000</c:v>
                </c:pt>
                <c:pt idx="475">
                  <c:v>18000</c:v>
                </c:pt>
                <c:pt idx="476">
                  <c:v>18000</c:v>
                </c:pt>
                <c:pt idx="477">
                  <c:v>18000</c:v>
                </c:pt>
                <c:pt idx="478">
                  <c:v>18000</c:v>
                </c:pt>
                <c:pt idx="479">
                  <c:v>18000</c:v>
                </c:pt>
                <c:pt idx="480">
                  <c:v>18000</c:v>
                </c:pt>
                <c:pt idx="481">
                  <c:v>18000</c:v>
                </c:pt>
                <c:pt idx="482">
                  <c:v>18000</c:v>
                </c:pt>
                <c:pt idx="483">
                  <c:v>18000</c:v>
                </c:pt>
                <c:pt idx="484">
                  <c:v>18000</c:v>
                </c:pt>
                <c:pt idx="485">
                  <c:v>18000</c:v>
                </c:pt>
                <c:pt idx="486">
                  <c:v>18000</c:v>
                </c:pt>
                <c:pt idx="487">
                  <c:v>18000</c:v>
                </c:pt>
                <c:pt idx="488">
                  <c:v>18000</c:v>
                </c:pt>
                <c:pt idx="489">
                  <c:v>18000</c:v>
                </c:pt>
                <c:pt idx="490">
                  <c:v>18000</c:v>
                </c:pt>
                <c:pt idx="491">
                  <c:v>18000</c:v>
                </c:pt>
                <c:pt idx="492">
                  <c:v>18000</c:v>
                </c:pt>
                <c:pt idx="493">
                  <c:v>18000</c:v>
                </c:pt>
                <c:pt idx="494">
                  <c:v>18000</c:v>
                </c:pt>
                <c:pt idx="495">
                  <c:v>18000</c:v>
                </c:pt>
                <c:pt idx="496">
                  <c:v>18000</c:v>
                </c:pt>
                <c:pt idx="497">
                  <c:v>18000</c:v>
                </c:pt>
                <c:pt idx="498">
                  <c:v>18000</c:v>
                </c:pt>
                <c:pt idx="499">
                  <c:v>18000</c:v>
                </c:pt>
                <c:pt idx="500">
                  <c:v>18000</c:v>
                </c:pt>
                <c:pt idx="501">
                  <c:v>18000</c:v>
                </c:pt>
                <c:pt idx="502">
                  <c:v>18000</c:v>
                </c:pt>
                <c:pt idx="503">
                  <c:v>18000</c:v>
                </c:pt>
                <c:pt idx="504">
                  <c:v>18000</c:v>
                </c:pt>
                <c:pt idx="505">
                  <c:v>18000</c:v>
                </c:pt>
                <c:pt idx="506">
                  <c:v>18000</c:v>
                </c:pt>
                <c:pt idx="507">
                  <c:v>18000</c:v>
                </c:pt>
                <c:pt idx="508">
                  <c:v>18000</c:v>
                </c:pt>
                <c:pt idx="509">
                  <c:v>18000</c:v>
                </c:pt>
                <c:pt idx="510">
                  <c:v>18000</c:v>
                </c:pt>
                <c:pt idx="511">
                  <c:v>18000</c:v>
                </c:pt>
                <c:pt idx="512">
                  <c:v>19500</c:v>
                </c:pt>
                <c:pt idx="513">
                  <c:v>19500</c:v>
                </c:pt>
                <c:pt idx="514">
                  <c:v>19500</c:v>
                </c:pt>
                <c:pt idx="515">
                  <c:v>19500</c:v>
                </c:pt>
                <c:pt idx="516">
                  <c:v>19500</c:v>
                </c:pt>
                <c:pt idx="517">
                  <c:v>19500</c:v>
                </c:pt>
                <c:pt idx="518">
                  <c:v>19500</c:v>
                </c:pt>
                <c:pt idx="519">
                  <c:v>19500</c:v>
                </c:pt>
                <c:pt idx="520">
                  <c:v>19500</c:v>
                </c:pt>
                <c:pt idx="521">
                  <c:v>19500</c:v>
                </c:pt>
                <c:pt idx="522">
                  <c:v>19500</c:v>
                </c:pt>
                <c:pt idx="523">
                  <c:v>19500</c:v>
                </c:pt>
                <c:pt idx="524">
                  <c:v>19500</c:v>
                </c:pt>
                <c:pt idx="525">
                  <c:v>19500</c:v>
                </c:pt>
                <c:pt idx="526">
                  <c:v>19500</c:v>
                </c:pt>
                <c:pt idx="527">
                  <c:v>19500</c:v>
                </c:pt>
                <c:pt idx="528">
                  <c:v>19500</c:v>
                </c:pt>
                <c:pt idx="529">
                  <c:v>19500</c:v>
                </c:pt>
                <c:pt idx="530">
                  <c:v>19500</c:v>
                </c:pt>
                <c:pt idx="531">
                  <c:v>19500</c:v>
                </c:pt>
                <c:pt idx="532">
                  <c:v>19500</c:v>
                </c:pt>
                <c:pt idx="533">
                  <c:v>19500</c:v>
                </c:pt>
                <c:pt idx="534">
                  <c:v>19500</c:v>
                </c:pt>
                <c:pt idx="535">
                  <c:v>19500</c:v>
                </c:pt>
                <c:pt idx="536">
                  <c:v>19500</c:v>
                </c:pt>
                <c:pt idx="537">
                  <c:v>19500</c:v>
                </c:pt>
                <c:pt idx="538">
                  <c:v>19500</c:v>
                </c:pt>
                <c:pt idx="539">
                  <c:v>19500</c:v>
                </c:pt>
                <c:pt idx="540">
                  <c:v>19500</c:v>
                </c:pt>
                <c:pt idx="541">
                  <c:v>19500</c:v>
                </c:pt>
                <c:pt idx="542">
                  <c:v>19500</c:v>
                </c:pt>
                <c:pt idx="543">
                  <c:v>19500</c:v>
                </c:pt>
                <c:pt idx="544">
                  <c:v>19500</c:v>
                </c:pt>
                <c:pt idx="545">
                  <c:v>19500</c:v>
                </c:pt>
                <c:pt idx="546">
                  <c:v>19500</c:v>
                </c:pt>
                <c:pt idx="547">
                  <c:v>19500</c:v>
                </c:pt>
                <c:pt idx="548">
                  <c:v>19500</c:v>
                </c:pt>
                <c:pt idx="549">
                  <c:v>19500</c:v>
                </c:pt>
                <c:pt idx="550">
                  <c:v>19500</c:v>
                </c:pt>
                <c:pt idx="551">
                  <c:v>19500</c:v>
                </c:pt>
                <c:pt idx="552">
                  <c:v>19500</c:v>
                </c:pt>
                <c:pt idx="553">
                  <c:v>19500</c:v>
                </c:pt>
                <c:pt idx="554">
                  <c:v>19500</c:v>
                </c:pt>
                <c:pt idx="555">
                  <c:v>19500</c:v>
                </c:pt>
                <c:pt idx="556">
                  <c:v>19500</c:v>
                </c:pt>
                <c:pt idx="557">
                  <c:v>19500</c:v>
                </c:pt>
                <c:pt idx="558">
                  <c:v>19500</c:v>
                </c:pt>
                <c:pt idx="559">
                  <c:v>19500</c:v>
                </c:pt>
                <c:pt idx="560">
                  <c:v>19500</c:v>
                </c:pt>
                <c:pt idx="561">
                  <c:v>19500</c:v>
                </c:pt>
                <c:pt idx="562">
                  <c:v>19500</c:v>
                </c:pt>
                <c:pt idx="563">
                  <c:v>19500</c:v>
                </c:pt>
                <c:pt idx="564">
                  <c:v>19500</c:v>
                </c:pt>
                <c:pt idx="565">
                  <c:v>19500</c:v>
                </c:pt>
                <c:pt idx="566">
                  <c:v>19500</c:v>
                </c:pt>
                <c:pt idx="567">
                  <c:v>19500</c:v>
                </c:pt>
                <c:pt idx="568">
                  <c:v>19500</c:v>
                </c:pt>
                <c:pt idx="569">
                  <c:v>19500</c:v>
                </c:pt>
                <c:pt idx="570">
                  <c:v>19500</c:v>
                </c:pt>
                <c:pt idx="571">
                  <c:v>19500</c:v>
                </c:pt>
                <c:pt idx="572">
                  <c:v>19500</c:v>
                </c:pt>
                <c:pt idx="573">
                  <c:v>19500</c:v>
                </c:pt>
                <c:pt idx="574">
                  <c:v>19500</c:v>
                </c:pt>
                <c:pt idx="575">
                  <c:v>19500</c:v>
                </c:pt>
                <c:pt idx="576">
                  <c:v>19500</c:v>
                </c:pt>
                <c:pt idx="577">
                  <c:v>19500</c:v>
                </c:pt>
                <c:pt idx="578">
                  <c:v>19500</c:v>
                </c:pt>
                <c:pt idx="579">
                  <c:v>19500</c:v>
                </c:pt>
                <c:pt idx="580">
                  <c:v>19500</c:v>
                </c:pt>
                <c:pt idx="581">
                  <c:v>19500</c:v>
                </c:pt>
                <c:pt idx="582">
                  <c:v>19500</c:v>
                </c:pt>
                <c:pt idx="583">
                  <c:v>19500</c:v>
                </c:pt>
                <c:pt idx="584">
                  <c:v>19500</c:v>
                </c:pt>
                <c:pt idx="585">
                  <c:v>19500</c:v>
                </c:pt>
                <c:pt idx="586">
                  <c:v>19500</c:v>
                </c:pt>
                <c:pt idx="587">
                  <c:v>19500</c:v>
                </c:pt>
                <c:pt idx="588">
                  <c:v>19500</c:v>
                </c:pt>
                <c:pt idx="589">
                  <c:v>19500</c:v>
                </c:pt>
                <c:pt idx="590">
                  <c:v>19500</c:v>
                </c:pt>
                <c:pt idx="591">
                  <c:v>19500</c:v>
                </c:pt>
                <c:pt idx="592">
                  <c:v>19500</c:v>
                </c:pt>
                <c:pt idx="593">
                  <c:v>19500</c:v>
                </c:pt>
                <c:pt idx="594">
                  <c:v>19500</c:v>
                </c:pt>
                <c:pt idx="595">
                  <c:v>19500</c:v>
                </c:pt>
                <c:pt idx="596">
                  <c:v>19500</c:v>
                </c:pt>
                <c:pt idx="597">
                  <c:v>19500</c:v>
                </c:pt>
                <c:pt idx="598">
                  <c:v>19500</c:v>
                </c:pt>
                <c:pt idx="599">
                  <c:v>19500</c:v>
                </c:pt>
                <c:pt idx="600">
                  <c:v>19500</c:v>
                </c:pt>
                <c:pt idx="601">
                  <c:v>19500</c:v>
                </c:pt>
                <c:pt idx="602">
                  <c:v>19500</c:v>
                </c:pt>
                <c:pt idx="603">
                  <c:v>19500</c:v>
                </c:pt>
                <c:pt idx="604">
                  <c:v>19500</c:v>
                </c:pt>
                <c:pt idx="605">
                  <c:v>19500</c:v>
                </c:pt>
                <c:pt idx="606">
                  <c:v>19500</c:v>
                </c:pt>
                <c:pt idx="607">
                  <c:v>19500</c:v>
                </c:pt>
                <c:pt idx="608">
                  <c:v>19500</c:v>
                </c:pt>
                <c:pt idx="609">
                  <c:v>19500</c:v>
                </c:pt>
                <c:pt idx="610">
                  <c:v>19500</c:v>
                </c:pt>
                <c:pt idx="611">
                  <c:v>19500</c:v>
                </c:pt>
                <c:pt idx="612">
                  <c:v>19500</c:v>
                </c:pt>
                <c:pt idx="613">
                  <c:v>19500</c:v>
                </c:pt>
                <c:pt idx="614">
                  <c:v>19500</c:v>
                </c:pt>
                <c:pt idx="615">
                  <c:v>19500</c:v>
                </c:pt>
                <c:pt idx="616">
                  <c:v>19500</c:v>
                </c:pt>
                <c:pt idx="617">
                  <c:v>19500</c:v>
                </c:pt>
                <c:pt idx="618">
                  <c:v>19500</c:v>
                </c:pt>
                <c:pt idx="619">
                  <c:v>19500</c:v>
                </c:pt>
                <c:pt idx="620">
                  <c:v>19500</c:v>
                </c:pt>
                <c:pt idx="621">
                  <c:v>19500</c:v>
                </c:pt>
                <c:pt idx="622">
                  <c:v>19500</c:v>
                </c:pt>
                <c:pt idx="623">
                  <c:v>19500</c:v>
                </c:pt>
                <c:pt idx="624">
                  <c:v>19500</c:v>
                </c:pt>
                <c:pt idx="625">
                  <c:v>19500</c:v>
                </c:pt>
                <c:pt idx="626">
                  <c:v>19500</c:v>
                </c:pt>
                <c:pt idx="627">
                  <c:v>19500</c:v>
                </c:pt>
                <c:pt idx="628">
                  <c:v>19500</c:v>
                </c:pt>
                <c:pt idx="629">
                  <c:v>19500</c:v>
                </c:pt>
                <c:pt idx="630">
                  <c:v>19500</c:v>
                </c:pt>
                <c:pt idx="631">
                  <c:v>19500</c:v>
                </c:pt>
                <c:pt idx="632">
                  <c:v>19500</c:v>
                </c:pt>
                <c:pt idx="633">
                  <c:v>19500</c:v>
                </c:pt>
                <c:pt idx="634">
                  <c:v>19500</c:v>
                </c:pt>
                <c:pt idx="635">
                  <c:v>19500</c:v>
                </c:pt>
                <c:pt idx="636">
                  <c:v>19500</c:v>
                </c:pt>
                <c:pt idx="637">
                  <c:v>19500</c:v>
                </c:pt>
                <c:pt idx="638">
                  <c:v>19500</c:v>
                </c:pt>
                <c:pt idx="639">
                  <c:v>19500</c:v>
                </c:pt>
                <c:pt idx="640">
                  <c:v>19500</c:v>
                </c:pt>
                <c:pt idx="641">
                  <c:v>19500</c:v>
                </c:pt>
                <c:pt idx="642">
                  <c:v>19500</c:v>
                </c:pt>
                <c:pt idx="643">
                  <c:v>19500</c:v>
                </c:pt>
                <c:pt idx="644">
                  <c:v>19500</c:v>
                </c:pt>
                <c:pt idx="645">
                  <c:v>19500</c:v>
                </c:pt>
                <c:pt idx="646">
                  <c:v>19500</c:v>
                </c:pt>
                <c:pt idx="647">
                  <c:v>19500</c:v>
                </c:pt>
                <c:pt idx="648">
                  <c:v>19500</c:v>
                </c:pt>
                <c:pt idx="649">
                  <c:v>19500</c:v>
                </c:pt>
                <c:pt idx="650">
                  <c:v>19500</c:v>
                </c:pt>
                <c:pt idx="651">
                  <c:v>19500</c:v>
                </c:pt>
                <c:pt idx="652">
                  <c:v>19500</c:v>
                </c:pt>
                <c:pt idx="653">
                  <c:v>19500</c:v>
                </c:pt>
                <c:pt idx="654">
                  <c:v>19500</c:v>
                </c:pt>
                <c:pt idx="655">
                  <c:v>19500</c:v>
                </c:pt>
                <c:pt idx="656">
                  <c:v>19500</c:v>
                </c:pt>
                <c:pt idx="657">
                  <c:v>19500</c:v>
                </c:pt>
                <c:pt idx="658">
                  <c:v>19500</c:v>
                </c:pt>
                <c:pt idx="659">
                  <c:v>19500</c:v>
                </c:pt>
                <c:pt idx="660">
                  <c:v>19500</c:v>
                </c:pt>
                <c:pt idx="661">
                  <c:v>19500</c:v>
                </c:pt>
                <c:pt idx="662">
                  <c:v>19500</c:v>
                </c:pt>
                <c:pt idx="663">
                  <c:v>19500</c:v>
                </c:pt>
                <c:pt idx="664">
                  <c:v>19500</c:v>
                </c:pt>
                <c:pt idx="665">
                  <c:v>19500</c:v>
                </c:pt>
                <c:pt idx="666">
                  <c:v>19500</c:v>
                </c:pt>
                <c:pt idx="667">
                  <c:v>19500</c:v>
                </c:pt>
                <c:pt idx="668">
                  <c:v>19500</c:v>
                </c:pt>
                <c:pt idx="669">
                  <c:v>19500</c:v>
                </c:pt>
                <c:pt idx="670">
                  <c:v>19500</c:v>
                </c:pt>
                <c:pt idx="671">
                  <c:v>19500</c:v>
                </c:pt>
                <c:pt idx="672">
                  <c:v>19500</c:v>
                </c:pt>
                <c:pt idx="673">
                  <c:v>19500</c:v>
                </c:pt>
                <c:pt idx="674">
                  <c:v>19500</c:v>
                </c:pt>
                <c:pt idx="675">
                  <c:v>19500</c:v>
                </c:pt>
                <c:pt idx="676">
                  <c:v>19500</c:v>
                </c:pt>
                <c:pt idx="677">
                  <c:v>19500</c:v>
                </c:pt>
                <c:pt idx="678">
                  <c:v>19500</c:v>
                </c:pt>
                <c:pt idx="679">
                  <c:v>19500</c:v>
                </c:pt>
                <c:pt idx="680">
                  <c:v>19500</c:v>
                </c:pt>
                <c:pt idx="681">
                  <c:v>19500</c:v>
                </c:pt>
                <c:pt idx="682">
                  <c:v>19500</c:v>
                </c:pt>
                <c:pt idx="683">
                  <c:v>19500</c:v>
                </c:pt>
                <c:pt idx="684">
                  <c:v>19500</c:v>
                </c:pt>
                <c:pt idx="685">
                  <c:v>19500</c:v>
                </c:pt>
                <c:pt idx="686">
                  <c:v>19500</c:v>
                </c:pt>
                <c:pt idx="687">
                  <c:v>19500</c:v>
                </c:pt>
                <c:pt idx="688">
                  <c:v>19500</c:v>
                </c:pt>
                <c:pt idx="689">
                  <c:v>19500</c:v>
                </c:pt>
                <c:pt idx="690">
                  <c:v>19500</c:v>
                </c:pt>
                <c:pt idx="691">
                  <c:v>19500</c:v>
                </c:pt>
                <c:pt idx="692">
                  <c:v>19500</c:v>
                </c:pt>
                <c:pt idx="693">
                  <c:v>19500</c:v>
                </c:pt>
                <c:pt idx="694">
                  <c:v>19500</c:v>
                </c:pt>
                <c:pt idx="695">
                  <c:v>19500</c:v>
                </c:pt>
                <c:pt idx="696">
                  <c:v>19500</c:v>
                </c:pt>
                <c:pt idx="697">
                  <c:v>19500</c:v>
                </c:pt>
                <c:pt idx="698">
                  <c:v>19500</c:v>
                </c:pt>
                <c:pt idx="699">
                  <c:v>19500</c:v>
                </c:pt>
                <c:pt idx="700">
                  <c:v>19500</c:v>
                </c:pt>
                <c:pt idx="701">
                  <c:v>19500</c:v>
                </c:pt>
                <c:pt idx="702">
                  <c:v>19500</c:v>
                </c:pt>
                <c:pt idx="703">
                  <c:v>19500</c:v>
                </c:pt>
                <c:pt idx="704">
                  <c:v>19500</c:v>
                </c:pt>
                <c:pt idx="705">
                  <c:v>19500</c:v>
                </c:pt>
                <c:pt idx="706">
                  <c:v>19500</c:v>
                </c:pt>
                <c:pt idx="707">
                  <c:v>19500</c:v>
                </c:pt>
                <c:pt idx="708">
                  <c:v>19500</c:v>
                </c:pt>
                <c:pt idx="709">
                  <c:v>19500</c:v>
                </c:pt>
                <c:pt idx="710">
                  <c:v>19500</c:v>
                </c:pt>
                <c:pt idx="711">
                  <c:v>19500</c:v>
                </c:pt>
                <c:pt idx="712">
                  <c:v>19500</c:v>
                </c:pt>
                <c:pt idx="713">
                  <c:v>19500</c:v>
                </c:pt>
                <c:pt idx="714">
                  <c:v>19500</c:v>
                </c:pt>
                <c:pt idx="715">
                  <c:v>19500</c:v>
                </c:pt>
                <c:pt idx="716">
                  <c:v>19500</c:v>
                </c:pt>
                <c:pt idx="717">
                  <c:v>19500</c:v>
                </c:pt>
                <c:pt idx="718">
                  <c:v>19500</c:v>
                </c:pt>
                <c:pt idx="719">
                  <c:v>19500</c:v>
                </c:pt>
                <c:pt idx="720">
                  <c:v>19500</c:v>
                </c:pt>
                <c:pt idx="721">
                  <c:v>19500</c:v>
                </c:pt>
                <c:pt idx="722">
                  <c:v>19500</c:v>
                </c:pt>
                <c:pt idx="723">
                  <c:v>19500</c:v>
                </c:pt>
                <c:pt idx="724">
                  <c:v>19500</c:v>
                </c:pt>
                <c:pt idx="725">
                  <c:v>19500</c:v>
                </c:pt>
                <c:pt idx="726">
                  <c:v>19500</c:v>
                </c:pt>
                <c:pt idx="727">
                  <c:v>19500</c:v>
                </c:pt>
                <c:pt idx="728">
                  <c:v>19500</c:v>
                </c:pt>
                <c:pt idx="729">
                  <c:v>19500</c:v>
                </c:pt>
                <c:pt idx="730">
                  <c:v>19500</c:v>
                </c:pt>
                <c:pt idx="731">
                  <c:v>19500</c:v>
                </c:pt>
                <c:pt idx="732">
                  <c:v>19500</c:v>
                </c:pt>
                <c:pt idx="733">
                  <c:v>19500</c:v>
                </c:pt>
                <c:pt idx="734">
                  <c:v>19500</c:v>
                </c:pt>
                <c:pt idx="735">
                  <c:v>19500</c:v>
                </c:pt>
                <c:pt idx="736">
                  <c:v>19500</c:v>
                </c:pt>
                <c:pt idx="737">
                  <c:v>19500</c:v>
                </c:pt>
                <c:pt idx="738">
                  <c:v>19500</c:v>
                </c:pt>
                <c:pt idx="739">
                  <c:v>19500</c:v>
                </c:pt>
                <c:pt idx="740">
                  <c:v>19500</c:v>
                </c:pt>
                <c:pt idx="741">
                  <c:v>19500</c:v>
                </c:pt>
                <c:pt idx="742">
                  <c:v>19500</c:v>
                </c:pt>
                <c:pt idx="743">
                  <c:v>19500</c:v>
                </c:pt>
                <c:pt idx="744">
                  <c:v>19500</c:v>
                </c:pt>
                <c:pt idx="745">
                  <c:v>19500</c:v>
                </c:pt>
                <c:pt idx="746">
                  <c:v>19500</c:v>
                </c:pt>
                <c:pt idx="747">
                  <c:v>19500</c:v>
                </c:pt>
                <c:pt idx="748">
                  <c:v>19500</c:v>
                </c:pt>
                <c:pt idx="749">
                  <c:v>19500</c:v>
                </c:pt>
                <c:pt idx="750">
                  <c:v>19500</c:v>
                </c:pt>
                <c:pt idx="751">
                  <c:v>19500</c:v>
                </c:pt>
                <c:pt idx="752">
                  <c:v>19500</c:v>
                </c:pt>
                <c:pt idx="753">
                  <c:v>19500</c:v>
                </c:pt>
                <c:pt idx="754">
                  <c:v>19500</c:v>
                </c:pt>
                <c:pt idx="755">
                  <c:v>19500</c:v>
                </c:pt>
                <c:pt idx="756">
                  <c:v>19500</c:v>
                </c:pt>
                <c:pt idx="757">
                  <c:v>19500</c:v>
                </c:pt>
                <c:pt idx="758">
                  <c:v>19500</c:v>
                </c:pt>
                <c:pt idx="759">
                  <c:v>19500</c:v>
                </c:pt>
                <c:pt idx="760">
                  <c:v>19500</c:v>
                </c:pt>
                <c:pt idx="761">
                  <c:v>19500</c:v>
                </c:pt>
                <c:pt idx="762">
                  <c:v>19500</c:v>
                </c:pt>
                <c:pt idx="763">
                  <c:v>19500</c:v>
                </c:pt>
                <c:pt idx="764">
                  <c:v>19500</c:v>
                </c:pt>
                <c:pt idx="765">
                  <c:v>19500</c:v>
                </c:pt>
                <c:pt idx="766">
                  <c:v>19500</c:v>
                </c:pt>
                <c:pt idx="767">
                  <c:v>19500</c:v>
                </c:pt>
                <c:pt idx="768">
                  <c:v>19500</c:v>
                </c:pt>
                <c:pt idx="769">
                  <c:v>19500</c:v>
                </c:pt>
                <c:pt idx="770">
                  <c:v>19500</c:v>
                </c:pt>
                <c:pt idx="771">
                  <c:v>19500</c:v>
                </c:pt>
                <c:pt idx="772">
                  <c:v>19500</c:v>
                </c:pt>
                <c:pt idx="773">
                  <c:v>19500</c:v>
                </c:pt>
                <c:pt idx="774">
                  <c:v>19500</c:v>
                </c:pt>
                <c:pt idx="775">
                  <c:v>19500</c:v>
                </c:pt>
                <c:pt idx="776">
                  <c:v>19500</c:v>
                </c:pt>
                <c:pt idx="777">
                  <c:v>19500</c:v>
                </c:pt>
                <c:pt idx="778">
                  <c:v>19500</c:v>
                </c:pt>
                <c:pt idx="779">
                  <c:v>19500</c:v>
                </c:pt>
                <c:pt idx="780">
                  <c:v>19500</c:v>
                </c:pt>
                <c:pt idx="781">
                  <c:v>19500</c:v>
                </c:pt>
                <c:pt idx="782">
                  <c:v>19500</c:v>
                </c:pt>
                <c:pt idx="783">
                  <c:v>19500</c:v>
                </c:pt>
                <c:pt idx="784">
                  <c:v>19500</c:v>
                </c:pt>
                <c:pt idx="785">
                  <c:v>19500</c:v>
                </c:pt>
                <c:pt idx="786">
                  <c:v>19500</c:v>
                </c:pt>
                <c:pt idx="787">
                  <c:v>19500</c:v>
                </c:pt>
                <c:pt idx="788">
                  <c:v>18000</c:v>
                </c:pt>
                <c:pt idx="789">
                  <c:v>18000</c:v>
                </c:pt>
                <c:pt idx="790">
                  <c:v>18000</c:v>
                </c:pt>
                <c:pt idx="791">
                  <c:v>18000</c:v>
                </c:pt>
                <c:pt idx="792">
                  <c:v>18000</c:v>
                </c:pt>
                <c:pt idx="793">
                  <c:v>18000</c:v>
                </c:pt>
                <c:pt idx="794">
                  <c:v>18000</c:v>
                </c:pt>
                <c:pt idx="795">
                  <c:v>18000</c:v>
                </c:pt>
                <c:pt idx="796">
                  <c:v>18000</c:v>
                </c:pt>
                <c:pt idx="797">
                  <c:v>18000</c:v>
                </c:pt>
                <c:pt idx="798">
                  <c:v>18000</c:v>
                </c:pt>
                <c:pt idx="799">
                  <c:v>18000</c:v>
                </c:pt>
                <c:pt idx="800">
                  <c:v>18000</c:v>
                </c:pt>
                <c:pt idx="801">
                  <c:v>18000</c:v>
                </c:pt>
                <c:pt idx="802">
                  <c:v>18000</c:v>
                </c:pt>
                <c:pt idx="803">
                  <c:v>18000</c:v>
                </c:pt>
                <c:pt idx="804">
                  <c:v>18000</c:v>
                </c:pt>
                <c:pt idx="805">
                  <c:v>18000</c:v>
                </c:pt>
                <c:pt idx="806">
                  <c:v>18000</c:v>
                </c:pt>
                <c:pt idx="807">
                  <c:v>18000</c:v>
                </c:pt>
                <c:pt idx="808">
                  <c:v>18000</c:v>
                </c:pt>
                <c:pt idx="809">
                  <c:v>18000</c:v>
                </c:pt>
                <c:pt idx="810">
                  <c:v>18000</c:v>
                </c:pt>
                <c:pt idx="811">
                  <c:v>16500</c:v>
                </c:pt>
                <c:pt idx="812">
                  <c:v>16500</c:v>
                </c:pt>
                <c:pt idx="813">
                  <c:v>16500</c:v>
                </c:pt>
                <c:pt idx="814">
                  <c:v>16500</c:v>
                </c:pt>
                <c:pt idx="815">
                  <c:v>16500</c:v>
                </c:pt>
                <c:pt idx="816">
                  <c:v>16500</c:v>
                </c:pt>
                <c:pt idx="817">
                  <c:v>16500</c:v>
                </c:pt>
                <c:pt idx="818">
                  <c:v>16500</c:v>
                </c:pt>
                <c:pt idx="819">
                  <c:v>16500</c:v>
                </c:pt>
                <c:pt idx="820">
                  <c:v>14500</c:v>
                </c:pt>
                <c:pt idx="821">
                  <c:v>14500</c:v>
                </c:pt>
                <c:pt idx="822">
                  <c:v>14500</c:v>
                </c:pt>
                <c:pt idx="823">
                  <c:v>14500</c:v>
                </c:pt>
                <c:pt idx="824">
                  <c:v>14500</c:v>
                </c:pt>
                <c:pt idx="825">
                  <c:v>14500</c:v>
                </c:pt>
                <c:pt idx="826">
                  <c:v>14500</c:v>
                </c:pt>
                <c:pt idx="827">
                  <c:v>14500</c:v>
                </c:pt>
                <c:pt idx="828">
                  <c:v>14500</c:v>
                </c:pt>
                <c:pt idx="829">
                  <c:v>14500</c:v>
                </c:pt>
                <c:pt idx="830">
                  <c:v>14500</c:v>
                </c:pt>
                <c:pt idx="831">
                  <c:v>14500</c:v>
                </c:pt>
                <c:pt idx="832">
                  <c:v>14500</c:v>
                </c:pt>
                <c:pt idx="833">
                  <c:v>14500</c:v>
                </c:pt>
                <c:pt idx="834">
                  <c:v>14500</c:v>
                </c:pt>
                <c:pt idx="835">
                  <c:v>14500</c:v>
                </c:pt>
                <c:pt idx="836">
                  <c:v>14500</c:v>
                </c:pt>
                <c:pt idx="837">
                  <c:v>14500</c:v>
                </c:pt>
                <c:pt idx="838">
                  <c:v>14500</c:v>
                </c:pt>
                <c:pt idx="839">
                  <c:v>14500</c:v>
                </c:pt>
                <c:pt idx="840">
                  <c:v>14500</c:v>
                </c:pt>
                <c:pt idx="841">
                  <c:v>14500</c:v>
                </c:pt>
                <c:pt idx="842">
                  <c:v>14500</c:v>
                </c:pt>
                <c:pt idx="843">
                  <c:v>14500</c:v>
                </c:pt>
                <c:pt idx="844">
                  <c:v>14500</c:v>
                </c:pt>
                <c:pt idx="845">
                  <c:v>14500</c:v>
                </c:pt>
                <c:pt idx="846">
                  <c:v>14500</c:v>
                </c:pt>
                <c:pt idx="847">
                  <c:v>14500</c:v>
                </c:pt>
                <c:pt idx="848">
                  <c:v>14500</c:v>
                </c:pt>
                <c:pt idx="849">
                  <c:v>14500</c:v>
                </c:pt>
                <c:pt idx="850">
                  <c:v>14500</c:v>
                </c:pt>
                <c:pt idx="851">
                  <c:v>14500</c:v>
                </c:pt>
                <c:pt idx="852">
                  <c:v>14500</c:v>
                </c:pt>
                <c:pt idx="853">
                  <c:v>14500</c:v>
                </c:pt>
                <c:pt idx="854">
                  <c:v>14500</c:v>
                </c:pt>
                <c:pt idx="855">
                  <c:v>14500</c:v>
                </c:pt>
                <c:pt idx="856">
                  <c:v>14500</c:v>
                </c:pt>
                <c:pt idx="857">
                  <c:v>14500</c:v>
                </c:pt>
                <c:pt idx="858">
                  <c:v>14500</c:v>
                </c:pt>
                <c:pt idx="859">
                  <c:v>14500</c:v>
                </c:pt>
                <c:pt idx="860">
                  <c:v>14500</c:v>
                </c:pt>
                <c:pt idx="861">
                  <c:v>14500</c:v>
                </c:pt>
                <c:pt idx="862">
                  <c:v>14500</c:v>
                </c:pt>
                <c:pt idx="863">
                  <c:v>14500</c:v>
                </c:pt>
                <c:pt idx="864">
                  <c:v>14500</c:v>
                </c:pt>
                <c:pt idx="865">
                  <c:v>14500</c:v>
                </c:pt>
                <c:pt idx="866">
                  <c:v>14500</c:v>
                </c:pt>
                <c:pt idx="867">
                  <c:v>14500</c:v>
                </c:pt>
                <c:pt idx="868">
                  <c:v>14500</c:v>
                </c:pt>
                <c:pt idx="869">
                  <c:v>14500</c:v>
                </c:pt>
                <c:pt idx="870">
                  <c:v>14500</c:v>
                </c:pt>
                <c:pt idx="871">
                  <c:v>14500</c:v>
                </c:pt>
                <c:pt idx="872">
                  <c:v>14500</c:v>
                </c:pt>
                <c:pt idx="873">
                  <c:v>14500</c:v>
                </c:pt>
                <c:pt idx="874">
                  <c:v>14500</c:v>
                </c:pt>
                <c:pt idx="875">
                  <c:v>14500</c:v>
                </c:pt>
                <c:pt idx="876">
                  <c:v>14500</c:v>
                </c:pt>
                <c:pt idx="877">
                  <c:v>14500</c:v>
                </c:pt>
                <c:pt idx="878">
                  <c:v>14500</c:v>
                </c:pt>
                <c:pt idx="879">
                  <c:v>14500</c:v>
                </c:pt>
                <c:pt idx="880">
                  <c:v>14500</c:v>
                </c:pt>
                <c:pt idx="881">
                  <c:v>14500</c:v>
                </c:pt>
                <c:pt idx="882">
                  <c:v>14500</c:v>
                </c:pt>
                <c:pt idx="883">
                  <c:v>14500</c:v>
                </c:pt>
                <c:pt idx="884">
                  <c:v>14500</c:v>
                </c:pt>
                <c:pt idx="885">
                  <c:v>14500</c:v>
                </c:pt>
                <c:pt idx="886">
                  <c:v>14500</c:v>
                </c:pt>
                <c:pt idx="887">
                  <c:v>14500</c:v>
                </c:pt>
                <c:pt idx="888">
                  <c:v>14500</c:v>
                </c:pt>
                <c:pt idx="889">
                  <c:v>14500</c:v>
                </c:pt>
                <c:pt idx="890">
                  <c:v>14500</c:v>
                </c:pt>
                <c:pt idx="891">
                  <c:v>14500</c:v>
                </c:pt>
                <c:pt idx="892">
                  <c:v>14500</c:v>
                </c:pt>
                <c:pt idx="893">
                  <c:v>14500</c:v>
                </c:pt>
                <c:pt idx="894">
                  <c:v>14500</c:v>
                </c:pt>
                <c:pt idx="895">
                  <c:v>14500</c:v>
                </c:pt>
                <c:pt idx="896">
                  <c:v>14500</c:v>
                </c:pt>
                <c:pt idx="897">
                  <c:v>14500</c:v>
                </c:pt>
                <c:pt idx="898">
                  <c:v>14500</c:v>
                </c:pt>
                <c:pt idx="899">
                  <c:v>14500</c:v>
                </c:pt>
                <c:pt idx="900">
                  <c:v>14500</c:v>
                </c:pt>
                <c:pt idx="901">
                  <c:v>14500</c:v>
                </c:pt>
                <c:pt idx="902">
                  <c:v>14500</c:v>
                </c:pt>
                <c:pt idx="903">
                  <c:v>14500</c:v>
                </c:pt>
                <c:pt idx="904">
                  <c:v>14500</c:v>
                </c:pt>
                <c:pt idx="905">
                  <c:v>14500</c:v>
                </c:pt>
                <c:pt idx="906">
                  <c:v>14500</c:v>
                </c:pt>
                <c:pt idx="907">
                  <c:v>14500</c:v>
                </c:pt>
                <c:pt idx="908">
                  <c:v>14500</c:v>
                </c:pt>
                <c:pt idx="909">
                  <c:v>14500</c:v>
                </c:pt>
                <c:pt idx="910">
                  <c:v>14500</c:v>
                </c:pt>
                <c:pt idx="911">
                  <c:v>14500</c:v>
                </c:pt>
                <c:pt idx="912">
                  <c:v>14500</c:v>
                </c:pt>
                <c:pt idx="913">
                  <c:v>14500</c:v>
                </c:pt>
                <c:pt idx="914">
                  <c:v>14500</c:v>
                </c:pt>
                <c:pt idx="915">
                  <c:v>14500</c:v>
                </c:pt>
                <c:pt idx="916">
                  <c:v>14500</c:v>
                </c:pt>
                <c:pt idx="917">
                  <c:v>14500</c:v>
                </c:pt>
                <c:pt idx="918">
                  <c:v>14500</c:v>
                </c:pt>
                <c:pt idx="919">
                  <c:v>14500</c:v>
                </c:pt>
                <c:pt idx="920">
                  <c:v>14500</c:v>
                </c:pt>
                <c:pt idx="921">
                  <c:v>14500</c:v>
                </c:pt>
                <c:pt idx="922">
                  <c:v>14500</c:v>
                </c:pt>
              </c:numCache>
            </c:numRef>
          </c:val>
          <c:smooth val="0"/>
          <c:extLst>
            <c:ext xmlns:c16="http://schemas.microsoft.com/office/drawing/2014/chart" uri="{C3380CC4-5D6E-409C-BE32-E72D297353CC}">
              <c16:uniqueId val="{00000000-83D2-427D-B0DB-D9DD225DE657}"/>
            </c:ext>
          </c:extLst>
        </c:ser>
        <c:ser>
          <c:idx val="1"/>
          <c:order val="1"/>
          <c:tx>
            <c:strRef>
              <c:f>百川电极!$V$2</c:f>
              <c:strCache>
                <c:ptCount val="1"/>
                <c:pt idx="0">
                  <c:v>华北炭电极1272mm</c:v>
                </c:pt>
              </c:strCache>
            </c:strRef>
          </c:tx>
          <c:spPr>
            <a:ln w="28575" cap="rnd">
              <a:solidFill>
                <a:schemeClr val="bg1">
                  <a:lumMod val="65000"/>
                </a:schemeClr>
              </a:solidFill>
              <a:round/>
            </a:ln>
            <a:effectLst/>
          </c:spPr>
          <c:marker>
            <c:symbol val="none"/>
          </c:marker>
          <c:cat>
            <c:numRef>
              <c:f>百川电极!$T$3:$T$925</c:f>
              <c:numCache>
                <c:formatCode>yyyy\-mm\-dd</c:formatCode>
                <c:ptCount val="923"/>
                <c:pt idx="0">
                  <c:v>45478</c:v>
                </c:pt>
                <c:pt idx="1">
                  <c:v>45477</c:v>
                </c:pt>
                <c:pt idx="2">
                  <c:v>45476</c:v>
                </c:pt>
                <c:pt idx="3">
                  <c:v>45475</c:v>
                </c:pt>
                <c:pt idx="4">
                  <c:v>45474</c:v>
                </c:pt>
                <c:pt idx="5">
                  <c:v>45473</c:v>
                </c:pt>
                <c:pt idx="6">
                  <c:v>45472</c:v>
                </c:pt>
                <c:pt idx="7">
                  <c:v>45471</c:v>
                </c:pt>
                <c:pt idx="8">
                  <c:v>45470</c:v>
                </c:pt>
                <c:pt idx="9">
                  <c:v>45469</c:v>
                </c:pt>
                <c:pt idx="10">
                  <c:v>45468</c:v>
                </c:pt>
                <c:pt idx="11">
                  <c:v>45467</c:v>
                </c:pt>
                <c:pt idx="12">
                  <c:v>45466</c:v>
                </c:pt>
                <c:pt idx="13">
                  <c:v>45465</c:v>
                </c:pt>
                <c:pt idx="14">
                  <c:v>45464</c:v>
                </c:pt>
                <c:pt idx="15">
                  <c:v>45463</c:v>
                </c:pt>
                <c:pt idx="16">
                  <c:v>45462</c:v>
                </c:pt>
                <c:pt idx="17">
                  <c:v>45461</c:v>
                </c:pt>
                <c:pt idx="18">
                  <c:v>45460</c:v>
                </c:pt>
                <c:pt idx="19">
                  <c:v>45459</c:v>
                </c:pt>
                <c:pt idx="20">
                  <c:v>45458</c:v>
                </c:pt>
                <c:pt idx="21">
                  <c:v>45457</c:v>
                </c:pt>
                <c:pt idx="22">
                  <c:v>45456</c:v>
                </c:pt>
                <c:pt idx="23">
                  <c:v>45455</c:v>
                </c:pt>
                <c:pt idx="24">
                  <c:v>45454</c:v>
                </c:pt>
                <c:pt idx="25">
                  <c:v>45453</c:v>
                </c:pt>
                <c:pt idx="26">
                  <c:v>45452</c:v>
                </c:pt>
                <c:pt idx="27">
                  <c:v>45451</c:v>
                </c:pt>
                <c:pt idx="28">
                  <c:v>45450</c:v>
                </c:pt>
                <c:pt idx="29">
                  <c:v>45449</c:v>
                </c:pt>
                <c:pt idx="30">
                  <c:v>45448</c:v>
                </c:pt>
                <c:pt idx="31">
                  <c:v>45447</c:v>
                </c:pt>
                <c:pt idx="32">
                  <c:v>45446</c:v>
                </c:pt>
                <c:pt idx="33">
                  <c:v>45445</c:v>
                </c:pt>
                <c:pt idx="34">
                  <c:v>45444</c:v>
                </c:pt>
                <c:pt idx="35">
                  <c:v>45443</c:v>
                </c:pt>
                <c:pt idx="36">
                  <c:v>45442</c:v>
                </c:pt>
                <c:pt idx="37">
                  <c:v>45441</c:v>
                </c:pt>
                <c:pt idx="38">
                  <c:v>45440</c:v>
                </c:pt>
                <c:pt idx="39">
                  <c:v>45439</c:v>
                </c:pt>
                <c:pt idx="40">
                  <c:v>45438</c:v>
                </c:pt>
                <c:pt idx="41">
                  <c:v>45437</c:v>
                </c:pt>
                <c:pt idx="42">
                  <c:v>45436</c:v>
                </c:pt>
                <c:pt idx="43">
                  <c:v>45435</c:v>
                </c:pt>
                <c:pt idx="44">
                  <c:v>45434</c:v>
                </c:pt>
                <c:pt idx="45">
                  <c:v>45433</c:v>
                </c:pt>
                <c:pt idx="46">
                  <c:v>45432</c:v>
                </c:pt>
                <c:pt idx="47">
                  <c:v>45431</c:v>
                </c:pt>
                <c:pt idx="48">
                  <c:v>45430</c:v>
                </c:pt>
                <c:pt idx="49">
                  <c:v>45429</c:v>
                </c:pt>
                <c:pt idx="50">
                  <c:v>45428</c:v>
                </c:pt>
                <c:pt idx="51">
                  <c:v>45427</c:v>
                </c:pt>
                <c:pt idx="52">
                  <c:v>45426</c:v>
                </c:pt>
                <c:pt idx="53">
                  <c:v>45425</c:v>
                </c:pt>
                <c:pt idx="54">
                  <c:v>45424</c:v>
                </c:pt>
                <c:pt idx="55">
                  <c:v>45423</c:v>
                </c:pt>
                <c:pt idx="56">
                  <c:v>45422</c:v>
                </c:pt>
                <c:pt idx="57">
                  <c:v>45421</c:v>
                </c:pt>
                <c:pt idx="58">
                  <c:v>45420</c:v>
                </c:pt>
                <c:pt idx="59">
                  <c:v>45419</c:v>
                </c:pt>
                <c:pt idx="60">
                  <c:v>45418</c:v>
                </c:pt>
                <c:pt idx="61">
                  <c:v>45417</c:v>
                </c:pt>
                <c:pt idx="62">
                  <c:v>45416</c:v>
                </c:pt>
                <c:pt idx="63">
                  <c:v>45415</c:v>
                </c:pt>
                <c:pt idx="64">
                  <c:v>45414</c:v>
                </c:pt>
                <c:pt idx="65">
                  <c:v>45413</c:v>
                </c:pt>
                <c:pt idx="66">
                  <c:v>45412</c:v>
                </c:pt>
                <c:pt idx="67">
                  <c:v>45411</c:v>
                </c:pt>
                <c:pt idx="68">
                  <c:v>45410</c:v>
                </c:pt>
                <c:pt idx="69">
                  <c:v>45409</c:v>
                </c:pt>
                <c:pt idx="70">
                  <c:v>45408</c:v>
                </c:pt>
                <c:pt idx="71">
                  <c:v>45407</c:v>
                </c:pt>
                <c:pt idx="72">
                  <c:v>45406</c:v>
                </c:pt>
                <c:pt idx="73">
                  <c:v>45405</c:v>
                </c:pt>
                <c:pt idx="74">
                  <c:v>45404</c:v>
                </c:pt>
                <c:pt idx="75">
                  <c:v>45403</c:v>
                </c:pt>
                <c:pt idx="76">
                  <c:v>45402</c:v>
                </c:pt>
                <c:pt idx="77">
                  <c:v>45401</c:v>
                </c:pt>
                <c:pt idx="78">
                  <c:v>45400</c:v>
                </c:pt>
                <c:pt idx="79">
                  <c:v>45399</c:v>
                </c:pt>
                <c:pt idx="80">
                  <c:v>45398</c:v>
                </c:pt>
                <c:pt idx="81">
                  <c:v>45397</c:v>
                </c:pt>
                <c:pt idx="82">
                  <c:v>45396</c:v>
                </c:pt>
                <c:pt idx="83">
                  <c:v>45395</c:v>
                </c:pt>
                <c:pt idx="84">
                  <c:v>45394</c:v>
                </c:pt>
                <c:pt idx="85">
                  <c:v>45393</c:v>
                </c:pt>
                <c:pt idx="86">
                  <c:v>45392</c:v>
                </c:pt>
                <c:pt idx="87">
                  <c:v>45391</c:v>
                </c:pt>
                <c:pt idx="88">
                  <c:v>45390</c:v>
                </c:pt>
                <c:pt idx="89">
                  <c:v>45389</c:v>
                </c:pt>
                <c:pt idx="90">
                  <c:v>45388</c:v>
                </c:pt>
                <c:pt idx="91">
                  <c:v>45387</c:v>
                </c:pt>
                <c:pt idx="92">
                  <c:v>45386</c:v>
                </c:pt>
                <c:pt idx="93">
                  <c:v>45385</c:v>
                </c:pt>
                <c:pt idx="94">
                  <c:v>45384</c:v>
                </c:pt>
                <c:pt idx="95">
                  <c:v>45383</c:v>
                </c:pt>
                <c:pt idx="96">
                  <c:v>45382</c:v>
                </c:pt>
                <c:pt idx="97">
                  <c:v>45381</c:v>
                </c:pt>
                <c:pt idx="98">
                  <c:v>45380</c:v>
                </c:pt>
                <c:pt idx="99">
                  <c:v>45379</c:v>
                </c:pt>
                <c:pt idx="100">
                  <c:v>45378</c:v>
                </c:pt>
                <c:pt idx="101">
                  <c:v>45377</c:v>
                </c:pt>
                <c:pt idx="102">
                  <c:v>45376</c:v>
                </c:pt>
                <c:pt idx="103">
                  <c:v>45375</c:v>
                </c:pt>
                <c:pt idx="104">
                  <c:v>45374</c:v>
                </c:pt>
                <c:pt idx="105">
                  <c:v>45373</c:v>
                </c:pt>
                <c:pt idx="106">
                  <c:v>45372</c:v>
                </c:pt>
                <c:pt idx="107">
                  <c:v>45371</c:v>
                </c:pt>
                <c:pt idx="108">
                  <c:v>45370</c:v>
                </c:pt>
                <c:pt idx="109">
                  <c:v>45369</c:v>
                </c:pt>
                <c:pt idx="110">
                  <c:v>45368</c:v>
                </c:pt>
                <c:pt idx="111">
                  <c:v>45367</c:v>
                </c:pt>
                <c:pt idx="112">
                  <c:v>45366</c:v>
                </c:pt>
                <c:pt idx="113">
                  <c:v>45365</c:v>
                </c:pt>
                <c:pt idx="114">
                  <c:v>45364</c:v>
                </c:pt>
                <c:pt idx="115">
                  <c:v>45363</c:v>
                </c:pt>
                <c:pt idx="116">
                  <c:v>45362</c:v>
                </c:pt>
                <c:pt idx="117">
                  <c:v>45361</c:v>
                </c:pt>
                <c:pt idx="118">
                  <c:v>45360</c:v>
                </c:pt>
                <c:pt idx="119">
                  <c:v>45359</c:v>
                </c:pt>
                <c:pt idx="120">
                  <c:v>45358</c:v>
                </c:pt>
                <c:pt idx="121">
                  <c:v>45357</c:v>
                </c:pt>
                <c:pt idx="122">
                  <c:v>45356</c:v>
                </c:pt>
                <c:pt idx="123">
                  <c:v>45355</c:v>
                </c:pt>
                <c:pt idx="124">
                  <c:v>45354</c:v>
                </c:pt>
                <c:pt idx="125">
                  <c:v>45353</c:v>
                </c:pt>
                <c:pt idx="126">
                  <c:v>45352</c:v>
                </c:pt>
                <c:pt idx="127">
                  <c:v>45351</c:v>
                </c:pt>
                <c:pt idx="128">
                  <c:v>45350</c:v>
                </c:pt>
                <c:pt idx="129">
                  <c:v>45349</c:v>
                </c:pt>
                <c:pt idx="130">
                  <c:v>45348</c:v>
                </c:pt>
                <c:pt idx="131">
                  <c:v>45347</c:v>
                </c:pt>
                <c:pt idx="132">
                  <c:v>45346</c:v>
                </c:pt>
                <c:pt idx="133">
                  <c:v>45345</c:v>
                </c:pt>
                <c:pt idx="134">
                  <c:v>45344</c:v>
                </c:pt>
                <c:pt idx="135">
                  <c:v>45343</c:v>
                </c:pt>
                <c:pt idx="136">
                  <c:v>45342</c:v>
                </c:pt>
                <c:pt idx="137">
                  <c:v>45341</c:v>
                </c:pt>
                <c:pt idx="138">
                  <c:v>45340</c:v>
                </c:pt>
                <c:pt idx="139">
                  <c:v>45339</c:v>
                </c:pt>
                <c:pt idx="140">
                  <c:v>45338</c:v>
                </c:pt>
                <c:pt idx="141">
                  <c:v>45337</c:v>
                </c:pt>
                <c:pt idx="142">
                  <c:v>45336</c:v>
                </c:pt>
                <c:pt idx="143">
                  <c:v>45335</c:v>
                </c:pt>
                <c:pt idx="144">
                  <c:v>45334</c:v>
                </c:pt>
                <c:pt idx="145">
                  <c:v>45333</c:v>
                </c:pt>
                <c:pt idx="146">
                  <c:v>45332</c:v>
                </c:pt>
                <c:pt idx="147">
                  <c:v>45331</c:v>
                </c:pt>
                <c:pt idx="148">
                  <c:v>45330</c:v>
                </c:pt>
                <c:pt idx="149">
                  <c:v>45329</c:v>
                </c:pt>
                <c:pt idx="150">
                  <c:v>45328</c:v>
                </c:pt>
                <c:pt idx="151">
                  <c:v>45327</c:v>
                </c:pt>
                <c:pt idx="152">
                  <c:v>45326</c:v>
                </c:pt>
                <c:pt idx="153">
                  <c:v>45325</c:v>
                </c:pt>
                <c:pt idx="154">
                  <c:v>45324</c:v>
                </c:pt>
                <c:pt idx="155">
                  <c:v>45323</c:v>
                </c:pt>
                <c:pt idx="156">
                  <c:v>45322</c:v>
                </c:pt>
                <c:pt idx="157">
                  <c:v>45321</c:v>
                </c:pt>
                <c:pt idx="158">
                  <c:v>45320</c:v>
                </c:pt>
                <c:pt idx="159">
                  <c:v>45319</c:v>
                </c:pt>
                <c:pt idx="160">
                  <c:v>45318</c:v>
                </c:pt>
                <c:pt idx="161">
                  <c:v>45317</c:v>
                </c:pt>
                <c:pt idx="162">
                  <c:v>45316</c:v>
                </c:pt>
                <c:pt idx="163">
                  <c:v>45315</c:v>
                </c:pt>
                <c:pt idx="164">
                  <c:v>45314</c:v>
                </c:pt>
                <c:pt idx="165">
                  <c:v>45313</c:v>
                </c:pt>
                <c:pt idx="166">
                  <c:v>45312</c:v>
                </c:pt>
                <c:pt idx="167">
                  <c:v>45311</c:v>
                </c:pt>
                <c:pt idx="168">
                  <c:v>45310</c:v>
                </c:pt>
                <c:pt idx="169">
                  <c:v>45309</c:v>
                </c:pt>
                <c:pt idx="170">
                  <c:v>45308</c:v>
                </c:pt>
                <c:pt idx="171">
                  <c:v>45307</c:v>
                </c:pt>
                <c:pt idx="172">
                  <c:v>45306</c:v>
                </c:pt>
                <c:pt idx="173">
                  <c:v>45305</c:v>
                </c:pt>
                <c:pt idx="174">
                  <c:v>45304</c:v>
                </c:pt>
                <c:pt idx="175">
                  <c:v>45303</c:v>
                </c:pt>
                <c:pt idx="176">
                  <c:v>45302</c:v>
                </c:pt>
                <c:pt idx="177">
                  <c:v>45301</c:v>
                </c:pt>
                <c:pt idx="178">
                  <c:v>45300</c:v>
                </c:pt>
                <c:pt idx="179">
                  <c:v>45299</c:v>
                </c:pt>
                <c:pt idx="180">
                  <c:v>45298</c:v>
                </c:pt>
                <c:pt idx="181">
                  <c:v>45297</c:v>
                </c:pt>
                <c:pt idx="182">
                  <c:v>45296</c:v>
                </c:pt>
                <c:pt idx="183">
                  <c:v>45295</c:v>
                </c:pt>
                <c:pt idx="184">
                  <c:v>45294</c:v>
                </c:pt>
                <c:pt idx="185">
                  <c:v>45293</c:v>
                </c:pt>
                <c:pt idx="186">
                  <c:v>45292</c:v>
                </c:pt>
                <c:pt idx="187">
                  <c:v>45291</c:v>
                </c:pt>
                <c:pt idx="188">
                  <c:v>45290</c:v>
                </c:pt>
                <c:pt idx="189">
                  <c:v>45289</c:v>
                </c:pt>
                <c:pt idx="190">
                  <c:v>45288</c:v>
                </c:pt>
                <c:pt idx="191">
                  <c:v>45287</c:v>
                </c:pt>
                <c:pt idx="192">
                  <c:v>45286</c:v>
                </c:pt>
                <c:pt idx="193">
                  <c:v>45285</c:v>
                </c:pt>
                <c:pt idx="194">
                  <c:v>45284</c:v>
                </c:pt>
                <c:pt idx="195">
                  <c:v>45283</c:v>
                </c:pt>
                <c:pt idx="196">
                  <c:v>45282</c:v>
                </c:pt>
                <c:pt idx="197">
                  <c:v>45281</c:v>
                </c:pt>
                <c:pt idx="198">
                  <c:v>45280</c:v>
                </c:pt>
                <c:pt idx="199">
                  <c:v>45279</c:v>
                </c:pt>
                <c:pt idx="200">
                  <c:v>45278</c:v>
                </c:pt>
                <c:pt idx="201">
                  <c:v>45277</c:v>
                </c:pt>
                <c:pt idx="202">
                  <c:v>45276</c:v>
                </c:pt>
                <c:pt idx="203">
                  <c:v>45275</c:v>
                </c:pt>
                <c:pt idx="204">
                  <c:v>45274</c:v>
                </c:pt>
                <c:pt idx="205">
                  <c:v>45273</c:v>
                </c:pt>
                <c:pt idx="206">
                  <c:v>45272</c:v>
                </c:pt>
                <c:pt idx="207">
                  <c:v>45271</c:v>
                </c:pt>
                <c:pt idx="208">
                  <c:v>45270</c:v>
                </c:pt>
                <c:pt idx="209">
                  <c:v>45269</c:v>
                </c:pt>
                <c:pt idx="210">
                  <c:v>45268</c:v>
                </c:pt>
                <c:pt idx="211">
                  <c:v>45267</c:v>
                </c:pt>
                <c:pt idx="212">
                  <c:v>45266</c:v>
                </c:pt>
                <c:pt idx="213">
                  <c:v>45265</c:v>
                </c:pt>
                <c:pt idx="214">
                  <c:v>45264</c:v>
                </c:pt>
                <c:pt idx="215">
                  <c:v>45263</c:v>
                </c:pt>
                <c:pt idx="216">
                  <c:v>45262</c:v>
                </c:pt>
                <c:pt idx="217">
                  <c:v>45261</c:v>
                </c:pt>
                <c:pt idx="218">
                  <c:v>45260</c:v>
                </c:pt>
                <c:pt idx="219">
                  <c:v>45259</c:v>
                </c:pt>
                <c:pt idx="220">
                  <c:v>45258</c:v>
                </c:pt>
                <c:pt idx="221">
                  <c:v>45257</c:v>
                </c:pt>
                <c:pt idx="222">
                  <c:v>45256</c:v>
                </c:pt>
                <c:pt idx="223">
                  <c:v>45255</c:v>
                </c:pt>
                <c:pt idx="224">
                  <c:v>45254</c:v>
                </c:pt>
                <c:pt idx="225">
                  <c:v>45253</c:v>
                </c:pt>
                <c:pt idx="226">
                  <c:v>45252</c:v>
                </c:pt>
                <c:pt idx="227">
                  <c:v>45251</c:v>
                </c:pt>
                <c:pt idx="228">
                  <c:v>45250</c:v>
                </c:pt>
                <c:pt idx="229">
                  <c:v>45249</c:v>
                </c:pt>
                <c:pt idx="230">
                  <c:v>45248</c:v>
                </c:pt>
                <c:pt idx="231">
                  <c:v>45247</c:v>
                </c:pt>
                <c:pt idx="232">
                  <c:v>45246</c:v>
                </c:pt>
                <c:pt idx="233">
                  <c:v>45245</c:v>
                </c:pt>
                <c:pt idx="234">
                  <c:v>45244</c:v>
                </c:pt>
                <c:pt idx="235">
                  <c:v>45243</c:v>
                </c:pt>
                <c:pt idx="236">
                  <c:v>45242</c:v>
                </c:pt>
                <c:pt idx="237">
                  <c:v>45241</c:v>
                </c:pt>
                <c:pt idx="238">
                  <c:v>45240</c:v>
                </c:pt>
                <c:pt idx="239">
                  <c:v>45239</c:v>
                </c:pt>
                <c:pt idx="240">
                  <c:v>45238</c:v>
                </c:pt>
                <c:pt idx="241">
                  <c:v>45237</c:v>
                </c:pt>
                <c:pt idx="242">
                  <c:v>45236</c:v>
                </c:pt>
                <c:pt idx="243">
                  <c:v>45235</c:v>
                </c:pt>
                <c:pt idx="244">
                  <c:v>45234</c:v>
                </c:pt>
                <c:pt idx="245">
                  <c:v>45233</c:v>
                </c:pt>
                <c:pt idx="246">
                  <c:v>45232</c:v>
                </c:pt>
                <c:pt idx="247">
                  <c:v>45231</c:v>
                </c:pt>
                <c:pt idx="248">
                  <c:v>45230</c:v>
                </c:pt>
                <c:pt idx="249">
                  <c:v>45229</c:v>
                </c:pt>
                <c:pt idx="250">
                  <c:v>45228</c:v>
                </c:pt>
                <c:pt idx="251">
                  <c:v>45227</c:v>
                </c:pt>
                <c:pt idx="252">
                  <c:v>45226</c:v>
                </c:pt>
                <c:pt idx="253">
                  <c:v>45225</c:v>
                </c:pt>
                <c:pt idx="254">
                  <c:v>45224</c:v>
                </c:pt>
                <c:pt idx="255">
                  <c:v>45223</c:v>
                </c:pt>
                <c:pt idx="256">
                  <c:v>45222</c:v>
                </c:pt>
                <c:pt idx="257">
                  <c:v>45221</c:v>
                </c:pt>
                <c:pt idx="258">
                  <c:v>45220</c:v>
                </c:pt>
                <c:pt idx="259">
                  <c:v>45219</c:v>
                </c:pt>
                <c:pt idx="260">
                  <c:v>45218</c:v>
                </c:pt>
                <c:pt idx="261">
                  <c:v>45217</c:v>
                </c:pt>
                <c:pt idx="262">
                  <c:v>45216</c:v>
                </c:pt>
                <c:pt idx="263">
                  <c:v>45215</c:v>
                </c:pt>
                <c:pt idx="264">
                  <c:v>45214</c:v>
                </c:pt>
                <c:pt idx="265">
                  <c:v>45213</c:v>
                </c:pt>
                <c:pt idx="266">
                  <c:v>45212</c:v>
                </c:pt>
                <c:pt idx="267">
                  <c:v>45211</c:v>
                </c:pt>
                <c:pt idx="268">
                  <c:v>45210</c:v>
                </c:pt>
                <c:pt idx="269">
                  <c:v>45209</c:v>
                </c:pt>
                <c:pt idx="270">
                  <c:v>45208</c:v>
                </c:pt>
                <c:pt idx="271">
                  <c:v>45207</c:v>
                </c:pt>
                <c:pt idx="272">
                  <c:v>45206</c:v>
                </c:pt>
                <c:pt idx="273">
                  <c:v>45205</c:v>
                </c:pt>
                <c:pt idx="274">
                  <c:v>45204</c:v>
                </c:pt>
                <c:pt idx="275">
                  <c:v>45203</c:v>
                </c:pt>
                <c:pt idx="276">
                  <c:v>45202</c:v>
                </c:pt>
                <c:pt idx="277">
                  <c:v>45201</c:v>
                </c:pt>
                <c:pt idx="278">
                  <c:v>45200</c:v>
                </c:pt>
                <c:pt idx="279">
                  <c:v>45199</c:v>
                </c:pt>
                <c:pt idx="280">
                  <c:v>45198</c:v>
                </c:pt>
                <c:pt idx="281">
                  <c:v>45197</c:v>
                </c:pt>
                <c:pt idx="282">
                  <c:v>45196</c:v>
                </c:pt>
                <c:pt idx="283">
                  <c:v>45195</c:v>
                </c:pt>
                <c:pt idx="284">
                  <c:v>45194</c:v>
                </c:pt>
                <c:pt idx="285">
                  <c:v>45193</c:v>
                </c:pt>
                <c:pt idx="286">
                  <c:v>45192</c:v>
                </c:pt>
                <c:pt idx="287">
                  <c:v>45191</c:v>
                </c:pt>
                <c:pt idx="288">
                  <c:v>45190</c:v>
                </c:pt>
                <c:pt idx="289">
                  <c:v>45189</c:v>
                </c:pt>
                <c:pt idx="290">
                  <c:v>45188</c:v>
                </c:pt>
                <c:pt idx="291">
                  <c:v>45187</c:v>
                </c:pt>
                <c:pt idx="292">
                  <c:v>45186</c:v>
                </c:pt>
                <c:pt idx="293">
                  <c:v>45185</c:v>
                </c:pt>
                <c:pt idx="294">
                  <c:v>45184</c:v>
                </c:pt>
                <c:pt idx="295">
                  <c:v>45183</c:v>
                </c:pt>
                <c:pt idx="296">
                  <c:v>45182</c:v>
                </c:pt>
                <c:pt idx="297">
                  <c:v>45181</c:v>
                </c:pt>
                <c:pt idx="298">
                  <c:v>45180</c:v>
                </c:pt>
                <c:pt idx="299">
                  <c:v>45179</c:v>
                </c:pt>
                <c:pt idx="300">
                  <c:v>45178</c:v>
                </c:pt>
                <c:pt idx="301">
                  <c:v>45177</c:v>
                </c:pt>
                <c:pt idx="302">
                  <c:v>45176</c:v>
                </c:pt>
                <c:pt idx="303">
                  <c:v>45175</c:v>
                </c:pt>
                <c:pt idx="304">
                  <c:v>45174</c:v>
                </c:pt>
                <c:pt idx="305">
                  <c:v>45173</c:v>
                </c:pt>
                <c:pt idx="306">
                  <c:v>45172</c:v>
                </c:pt>
                <c:pt idx="307">
                  <c:v>45171</c:v>
                </c:pt>
                <c:pt idx="308">
                  <c:v>45170</c:v>
                </c:pt>
                <c:pt idx="309">
                  <c:v>45169</c:v>
                </c:pt>
                <c:pt idx="310">
                  <c:v>45168</c:v>
                </c:pt>
                <c:pt idx="311">
                  <c:v>45167</c:v>
                </c:pt>
                <c:pt idx="312">
                  <c:v>45166</c:v>
                </c:pt>
                <c:pt idx="313">
                  <c:v>45165</c:v>
                </c:pt>
                <c:pt idx="314">
                  <c:v>45164</c:v>
                </c:pt>
                <c:pt idx="315">
                  <c:v>45163</c:v>
                </c:pt>
                <c:pt idx="316">
                  <c:v>45162</c:v>
                </c:pt>
                <c:pt idx="317">
                  <c:v>45161</c:v>
                </c:pt>
                <c:pt idx="318">
                  <c:v>45160</c:v>
                </c:pt>
                <c:pt idx="319">
                  <c:v>45159</c:v>
                </c:pt>
                <c:pt idx="320">
                  <c:v>45158</c:v>
                </c:pt>
                <c:pt idx="321">
                  <c:v>45157</c:v>
                </c:pt>
                <c:pt idx="322">
                  <c:v>45156</c:v>
                </c:pt>
                <c:pt idx="323">
                  <c:v>45155</c:v>
                </c:pt>
                <c:pt idx="324">
                  <c:v>45154</c:v>
                </c:pt>
                <c:pt idx="325">
                  <c:v>45153</c:v>
                </c:pt>
                <c:pt idx="326">
                  <c:v>45152</c:v>
                </c:pt>
                <c:pt idx="327">
                  <c:v>45151</c:v>
                </c:pt>
                <c:pt idx="328">
                  <c:v>45150</c:v>
                </c:pt>
                <c:pt idx="329">
                  <c:v>45149</c:v>
                </c:pt>
                <c:pt idx="330">
                  <c:v>45148</c:v>
                </c:pt>
                <c:pt idx="331">
                  <c:v>45147</c:v>
                </c:pt>
                <c:pt idx="332">
                  <c:v>45146</c:v>
                </c:pt>
                <c:pt idx="333">
                  <c:v>45145</c:v>
                </c:pt>
                <c:pt idx="334">
                  <c:v>45144</c:v>
                </c:pt>
                <c:pt idx="335">
                  <c:v>45143</c:v>
                </c:pt>
                <c:pt idx="336">
                  <c:v>45142</c:v>
                </c:pt>
                <c:pt idx="337">
                  <c:v>45141</c:v>
                </c:pt>
                <c:pt idx="338">
                  <c:v>45140</c:v>
                </c:pt>
                <c:pt idx="339">
                  <c:v>45139</c:v>
                </c:pt>
                <c:pt idx="340">
                  <c:v>45138</c:v>
                </c:pt>
                <c:pt idx="341">
                  <c:v>45137</c:v>
                </c:pt>
                <c:pt idx="342">
                  <c:v>45136</c:v>
                </c:pt>
                <c:pt idx="343">
                  <c:v>45135</c:v>
                </c:pt>
                <c:pt idx="344">
                  <c:v>45134</c:v>
                </c:pt>
                <c:pt idx="345">
                  <c:v>45133</c:v>
                </c:pt>
                <c:pt idx="346">
                  <c:v>45132</c:v>
                </c:pt>
                <c:pt idx="347">
                  <c:v>45131</c:v>
                </c:pt>
                <c:pt idx="348">
                  <c:v>45130</c:v>
                </c:pt>
                <c:pt idx="349">
                  <c:v>45129</c:v>
                </c:pt>
                <c:pt idx="350">
                  <c:v>45128</c:v>
                </c:pt>
                <c:pt idx="351">
                  <c:v>45127</c:v>
                </c:pt>
                <c:pt idx="352">
                  <c:v>45126</c:v>
                </c:pt>
                <c:pt idx="353">
                  <c:v>45125</c:v>
                </c:pt>
                <c:pt idx="354">
                  <c:v>45124</c:v>
                </c:pt>
                <c:pt idx="355">
                  <c:v>45123</c:v>
                </c:pt>
                <c:pt idx="356">
                  <c:v>45122</c:v>
                </c:pt>
                <c:pt idx="357">
                  <c:v>45121</c:v>
                </c:pt>
                <c:pt idx="358">
                  <c:v>45120</c:v>
                </c:pt>
                <c:pt idx="359">
                  <c:v>45119</c:v>
                </c:pt>
                <c:pt idx="360">
                  <c:v>45118</c:v>
                </c:pt>
                <c:pt idx="361">
                  <c:v>45117</c:v>
                </c:pt>
                <c:pt idx="362">
                  <c:v>45116</c:v>
                </c:pt>
                <c:pt idx="363">
                  <c:v>45115</c:v>
                </c:pt>
                <c:pt idx="364">
                  <c:v>45114</c:v>
                </c:pt>
                <c:pt idx="365">
                  <c:v>45113</c:v>
                </c:pt>
                <c:pt idx="366">
                  <c:v>45112</c:v>
                </c:pt>
                <c:pt idx="367">
                  <c:v>45111</c:v>
                </c:pt>
                <c:pt idx="368">
                  <c:v>45110</c:v>
                </c:pt>
                <c:pt idx="369">
                  <c:v>45109</c:v>
                </c:pt>
                <c:pt idx="370">
                  <c:v>45108</c:v>
                </c:pt>
                <c:pt idx="371">
                  <c:v>45107</c:v>
                </c:pt>
                <c:pt idx="372">
                  <c:v>45106</c:v>
                </c:pt>
                <c:pt idx="373">
                  <c:v>45105</c:v>
                </c:pt>
                <c:pt idx="374">
                  <c:v>45104</c:v>
                </c:pt>
                <c:pt idx="375">
                  <c:v>45103</c:v>
                </c:pt>
                <c:pt idx="376">
                  <c:v>45102</c:v>
                </c:pt>
                <c:pt idx="377">
                  <c:v>45101</c:v>
                </c:pt>
                <c:pt idx="378">
                  <c:v>45100</c:v>
                </c:pt>
                <c:pt idx="379">
                  <c:v>45099</c:v>
                </c:pt>
                <c:pt idx="380">
                  <c:v>45098</c:v>
                </c:pt>
                <c:pt idx="381">
                  <c:v>45097</c:v>
                </c:pt>
                <c:pt idx="382">
                  <c:v>45096</c:v>
                </c:pt>
                <c:pt idx="383">
                  <c:v>45095</c:v>
                </c:pt>
                <c:pt idx="384">
                  <c:v>45094</c:v>
                </c:pt>
                <c:pt idx="385">
                  <c:v>45093</c:v>
                </c:pt>
                <c:pt idx="386">
                  <c:v>45092</c:v>
                </c:pt>
                <c:pt idx="387">
                  <c:v>45091</c:v>
                </c:pt>
                <c:pt idx="388">
                  <c:v>45090</c:v>
                </c:pt>
                <c:pt idx="389">
                  <c:v>45089</c:v>
                </c:pt>
                <c:pt idx="390">
                  <c:v>45088</c:v>
                </c:pt>
                <c:pt idx="391">
                  <c:v>45087</c:v>
                </c:pt>
                <c:pt idx="392">
                  <c:v>45086</c:v>
                </c:pt>
                <c:pt idx="393">
                  <c:v>45085</c:v>
                </c:pt>
                <c:pt idx="394">
                  <c:v>45084</c:v>
                </c:pt>
                <c:pt idx="395">
                  <c:v>45083</c:v>
                </c:pt>
                <c:pt idx="396">
                  <c:v>45082</c:v>
                </c:pt>
                <c:pt idx="397">
                  <c:v>45081</c:v>
                </c:pt>
                <c:pt idx="398">
                  <c:v>45080</c:v>
                </c:pt>
                <c:pt idx="399">
                  <c:v>45079</c:v>
                </c:pt>
                <c:pt idx="400">
                  <c:v>45078</c:v>
                </c:pt>
                <c:pt idx="401">
                  <c:v>45077</c:v>
                </c:pt>
                <c:pt idx="402">
                  <c:v>45076</c:v>
                </c:pt>
                <c:pt idx="403">
                  <c:v>45075</c:v>
                </c:pt>
                <c:pt idx="404">
                  <c:v>45074</c:v>
                </c:pt>
                <c:pt idx="405">
                  <c:v>45073</c:v>
                </c:pt>
                <c:pt idx="406">
                  <c:v>45072</c:v>
                </c:pt>
                <c:pt idx="407">
                  <c:v>45071</c:v>
                </c:pt>
                <c:pt idx="408">
                  <c:v>45070</c:v>
                </c:pt>
                <c:pt idx="409">
                  <c:v>45069</c:v>
                </c:pt>
                <c:pt idx="410">
                  <c:v>45068</c:v>
                </c:pt>
                <c:pt idx="411">
                  <c:v>45067</c:v>
                </c:pt>
                <c:pt idx="412">
                  <c:v>45066</c:v>
                </c:pt>
                <c:pt idx="413">
                  <c:v>45065</c:v>
                </c:pt>
                <c:pt idx="414">
                  <c:v>45064</c:v>
                </c:pt>
                <c:pt idx="415">
                  <c:v>45063</c:v>
                </c:pt>
                <c:pt idx="416">
                  <c:v>45062</c:v>
                </c:pt>
                <c:pt idx="417">
                  <c:v>45061</c:v>
                </c:pt>
                <c:pt idx="418">
                  <c:v>45060</c:v>
                </c:pt>
                <c:pt idx="419">
                  <c:v>45059</c:v>
                </c:pt>
                <c:pt idx="420">
                  <c:v>45058</c:v>
                </c:pt>
                <c:pt idx="421">
                  <c:v>45057</c:v>
                </c:pt>
                <c:pt idx="422">
                  <c:v>45056</c:v>
                </c:pt>
                <c:pt idx="423">
                  <c:v>45055</c:v>
                </c:pt>
                <c:pt idx="424">
                  <c:v>45054</c:v>
                </c:pt>
                <c:pt idx="425">
                  <c:v>45053</c:v>
                </c:pt>
                <c:pt idx="426">
                  <c:v>45052</c:v>
                </c:pt>
                <c:pt idx="427">
                  <c:v>45051</c:v>
                </c:pt>
                <c:pt idx="428">
                  <c:v>45050</c:v>
                </c:pt>
                <c:pt idx="429">
                  <c:v>45049</c:v>
                </c:pt>
                <c:pt idx="430">
                  <c:v>45048</c:v>
                </c:pt>
                <c:pt idx="431">
                  <c:v>45047</c:v>
                </c:pt>
                <c:pt idx="432">
                  <c:v>45046</c:v>
                </c:pt>
                <c:pt idx="433">
                  <c:v>45045</c:v>
                </c:pt>
                <c:pt idx="434">
                  <c:v>45044</c:v>
                </c:pt>
                <c:pt idx="435">
                  <c:v>45043</c:v>
                </c:pt>
                <c:pt idx="436">
                  <c:v>45042</c:v>
                </c:pt>
                <c:pt idx="437">
                  <c:v>45041</c:v>
                </c:pt>
                <c:pt idx="438">
                  <c:v>45040</c:v>
                </c:pt>
                <c:pt idx="439">
                  <c:v>45039</c:v>
                </c:pt>
                <c:pt idx="440">
                  <c:v>45038</c:v>
                </c:pt>
                <c:pt idx="441">
                  <c:v>45037</c:v>
                </c:pt>
                <c:pt idx="442">
                  <c:v>45036</c:v>
                </c:pt>
                <c:pt idx="443">
                  <c:v>45035</c:v>
                </c:pt>
                <c:pt idx="444">
                  <c:v>45034</c:v>
                </c:pt>
                <c:pt idx="445">
                  <c:v>45033</c:v>
                </c:pt>
                <c:pt idx="446">
                  <c:v>45032</c:v>
                </c:pt>
                <c:pt idx="447">
                  <c:v>45031</c:v>
                </c:pt>
                <c:pt idx="448">
                  <c:v>45030</c:v>
                </c:pt>
                <c:pt idx="449">
                  <c:v>45029</c:v>
                </c:pt>
                <c:pt idx="450">
                  <c:v>45028</c:v>
                </c:pt>
                <c:pt idx="451">
                  <c:v>45027</c:v>
                </c:pt>
                <c:pt idx="452">
                  <c:v>45026</c:v>
                </c:pt>
                <c:pt idx="453">
                  <c:v>45025</c:v>
                </c:pt>
                <c:pt idx="454">
                  <c:v>45024</c:v>
                </c:pt>
                <c:pt idx="455">
                  <c:v>45023</c:v>
                </c:pt>
                <c:pt idx="456">
                  <c:v>45022</c:v>
                </c:pt>
                <c:pt idx="457">
                  <c:v>45021</c:v>
                </c:pt>
                <c:pt idx="458">
                  <c:v>45020</c:v>
                </c:pt>
                <c:pt idx="459">
                  <c:v>45019</c:v>
                </c:pt>
                <c:pt idx="460">
                  <c:v>45018</c:v>
                </c:pt>
                <c:pt idx="461">
                  <c:v>45017</c:v>
                </c:pt>
                <c:pt idx="462">
                  <c:v>45016</c:v>
                </c:pt>
                <c:pt idx="463">
                  <c:v>45015</c:v>
                </c:pt>
                <c:pt idx="464">
                  <c:v>45014</c:v>
                </c:pt>
                <c:pt idx="465">
                  <c:v>45013</c:v>
                </c:pt>
                <c:pt idx="466">
                  <c:v>45012</c:v>
                </c:pt>
                <c:pt idx="467">
                  <c:v>45011</c:v>
                </c:pt>
                <c:pt idx="468">
                  <c:v>45010</c:v>
                </c:pt>
                <c:pt idx="469">
                  <c:v>45009</c:v>
                </c:pt>
                <c:pt idx="470">
                  <c:v>45008</c:v>
                </c:pt>
                <c:pt idx="471">
                  <c:v>45007</c:v>
                </c:pt>
                <c:pt idx="472">
                  <c:v>45006</c:v>
                </c:pt>
                <c:pt idx="473">
                  <c:v>45005</c:v>
                </c:pt>
                <c:pt idx="474">
                  <c:v>45004</c:v>
                </c:pt>
                <c:pt idx="475">
                  <c:v>45003</c:v>
                </c:pt>
                <c:pt idx="476">
                  <c:v>45002</c:v>
                </c:pt>
                <c:pt idx="477">
                  <c:v>45001</c:v>
                </c:pt>
                <c:pt idx="478">
                  <c:v>45000</c:v>
                </c:pt>
                <c:pt idx="479">
                  <c:v>44999</c:v>
                </c:pt>
                <c:pt idx="480">
                  <c:v>44998</c:v>
                </c:pt>
                <c:pt idx="481">
                  <c:v>44997</c:v>
                </c:pt>
                <c:pt idx="482">
                  <c:v>44996</c:v>
                </c:pt>
                <c:pt idx="483">
                  <c:v>44995</c:v>
                </c:pt>
                <c:pt idx="484">
                  <c:v>44994</c:v>
                </c:pt>
                <c:pt idx="485">
                  <c:v>44993</c:v>
                </c:pt>
                <c:pt idx="486">
                  <c:v>44992</c:v>
                </c:pt>
                <c:pt idx="487">
                  <c:v>44991</c:v>
                </c:pt>
                <c:pt idx="488">
                  <c:v>44990</c:v>
                </c:pt>
                <c:pt idx="489">
                  <c:v>44989</c:v>
                </c:pt>
                <c:pt idx="490">
                  <c:v>44988</c:v>
                </c:pt>
                <c:pt idx="491">
                  <c:v>44987</c:v>
                </c:pt>
                <c:pt idx="492">
                  <c:v>44986</c:v>
                </c:pt>
                <c:pt idx="493">
                  <c:v>44985</c:v>
                </c:pt>
                <c:pt idx="494">
                  <c:v>44984</c:v>
                </c:pt>
                <c:pt idx="495">
                  <c:v>44983</c:v>
                </c:pt>
                <c:pt idx="496">
                  <c:v>44982</c:v>
                </c:pt>
                <c:pt idx="497">
                  <c:v>44981</c:v>
                </c:pt>
                <c:pt idx="498">
                  <c:v>44980</c:v>
                </c:pt>
                <c:pt idx="499">
                  <c:v>44979</c:v>
                </c:pt>
                <c:pt idx="500">
                  <c:v>44978</c:v>
                </c:pt>
                <c:pt idx="501">
                  <c:v>44977</c:v>
                </c:pt>
                <c:pt idx="502">
                  <c:v>44976</c:v>
                </c:pt>
                <c:pt idx="503">
                  <c:v>44975</c:v>
                </c:pt>
                <c:pt idx="504">
                  <c:v>44974</c:v>
                </c:pt>
                <c:pt idx="505">
                  <c:v>44973</c:v>
                </c:pt>
                <c:pt idx="506">
                  <c:v>44972</c:v>
                </c:pt>
                <c:pt idx="507">
                  <c:v>44971</c:v>
                </c:pt>
                <c:pt idx="508">
                  <c:v>44970</c:v>
                </c:pt>
                <c:pt idx="509">
                  <c:v>44969</c:v>
                </c:pt>
                <c:pt idx="510">
                  <c:v>44968</c:v>
                </c:pt>
                <c:pt idx="511">
                  <c:v>44967</c:v>
                </c:pt>
                <c:pt idx="512">
                  <c:v>44966</c:v>
                </c:pt>
                <c:pt idx="513">
                  <c:v>44965</c:v>
                </c:pt>
                <c:pt idx="514">
                  <c:v>44964</c:v>
                </c:pt>
                <c:pt idx="515">
                  <c:v>44963</c:v>
                </c:pt>
                <c:pt idx="516">
                  <c:v>44962</c:v>
                </c:pt>
                <c:pt idx="517">
                  <c:v>44961</c:v>
                </c:pt>
                <c:pt idx="518">
                  <c:v>44960</c:v>
                </c:pt>
                <c:pt idx="519">
                  <c:v>44959</c:v>
                </c:pt>
                <c:pt idx="520">
                  <c:v>44958</c:v>
                </c:pt>
                <c:pt idx="521">
                  <c:v>44957</c:v>
                </c:pt>
                <c:pt idx="522">
                  <c:v>44956</c:v>
                </c:pt>
                <c:pt idx="523">
                  <c:v>44955</c:v>
                </c:pt>
                <c:pt idx="524">
                  <c:v>44954</c:v>
                </c:pt>
                <c:pt idx="525">
                  <c:v>44953</c:v>
                </c:pt>
                <c:pt idx="526">
                  <c:v>44952</c:v>
                </c:pt>
                <c:pt idx="527">
                  <c:v>44951</c:v>
                </c:pt>
                <c:pt idx="528">
                  <c:v>44950</c:v>
                </c:pt>
                <c:pt idx="529">
                  <c:v>44949</c:v>
                </c:pt>
                <c:pt idx="530">
                  <c:v>44948</c:v>
                </c:pt>
                <c:pt idx="531">
                  <c:v>44947</c:v>
                </c:pt>
                <c:pt idx="532">
                  <c:v>44946</c:v>
                </c:pt>
                <c:pt idx="533">
                  <c:v>44945</c:v>
                </c:pt>
                <c:pt idx="534">
                  <c:v>44944</c:v>
                </c:pt>
                <c:pt idx="535">
                  <c:v>44943</c:v>
                </c:pt>
                <c:pt idx="536">
                  <c:v>44942</c:v>
                </c:pt>
                <c:pt idx="537">
                  <c:v>44941</c:v>
                </c:pt>
                <c:pt idx="538">
                  <c:v>44940</c:v>
                </c:pt>
                <c:pt idx="539">
                  <c:v>44939</c:v>
                </c:pt>
                <c:pt idx="540">
                  <c:v>44938</c:v>
                </c:pt>
                <c:pt idx="541">
                  <c:v>44937</c:v>
                </c:pt>
                <c:pt idx="542">
                  <c:v>44936</c:v>
                </c:pt>
                <c:pt idx="543">
                  <c:v>44935</c:v>
                </c:pt>
                <c:pt idx="544">
                  <c:v>44934</c:v>
                </c:pt>
                <c:pt idx="545">
                  <c:v>44933</c:v>
                </c:pt>
                <c:pt idx="546">
                  <c:v>44932</c:v>
                </c:pt>
                <c:pt idx="547">
                  <c:v>44931</c:v>
                </c:pt>
                <c:pt idx="548">
                  <c:v>44930</c:v>
                </c:pt>
                <c:pt idx="549">
                  <c:v>44929</c:v>
                </c:pt>
                <c:pt idx="550">
                  <c:v>44928</c:v>
                </c:pt>
                <c:pt idx="551">
                  <c:v>44927</c:v>
                </c:pt>
                <c:pt idx="552">
                  <c:v>44926</c:v>
                </c:pt>
                <c:pt idx="553">
                  <c:v>44925</c:v>
                </c:pt>
                <c:pt idx="554">
                  <c:v>44924</c:v>
                </c:pt>
                <c:pt idx="555">
                  <c:v>44923</c:v>
                </c:pt>
                <c:pt idx="556">
                  <c:v>44922</c:v>
                </c:pt>
                <c:pt idx="557">
                  <c:v>44921</c:v>
                </c:pt>
                <c:pt idx="558">
                  <c:v>44920</c:v>
                </c:pt>
                <c:pt idx="559">
                  <c:v>44919</c:v>
                </c:pt>
                <c:pt idx="560">
                  <c:v>44918</c:v>
                </c:pt>
                <c:pt idx="561">
                  <c:v>44917</c:v>
                </c:pt>
                <c:pt idx="562">
                  <c:v>44916</c:v>
                </c:pt>
                <c:pt idx="563">
                  <c:v>44915</c:v>
                </c:pt>
                <c:pt idx="564">
                  <c:v>44914</c:v>
                </c:pt>
                <c:pt idx="565">
                  <c:v>44913</c:v>
                </c:pt>
                <c:pt idx="566">
                  <c:v>44912</c:v>
                </c:pt>
                <c:pt idx="567">
                  <c:v>44911</c:v>
                </c:pt>
                <c:pt idx="568">
                  <c:v>44910</c:v>
                </c:pt>
                <c:pt idx="569">
                  <c:v>44909</c:v>
                </c:pt>
                <c:pt idx="570">
                  <c:v>44908</c:v>
                </c:pt>
                <c:pt idx="571">
                  <c:v>44907</c:v>
                </c:pt>
                <c:pt idx="572">
                  <c:v>44906</c:v>
                </c:pt>
                <c:pt idx="573">
                  <c:v>44905</c:v>
                </c:pt>
                <c:pt idx="574">
                  <c:v>44904</c:v>
                </c:pt>
                <c:pt idx="575">
                  <c:v>44903</c:v>
                </c:pt>
                <c:pt idx="576">
                  <c:v>44902</c:v>
                </c:pt>
                <c:pt idx="577">
                  <c:v>44901</c:v>
                </c:pt>
                <c:pt idx="578">
                  <c:v>44900</c:v>
                </c:pt>
                <c:pt idx="579">
                  <c:v>44899</c:v>
                </c:pt>
                <c:pt idx="580">
                  <c:v>44898</c:v>
                </c:pt>
                <c:pt idx="581">
                  <c:v>44897</c:v>
                </c:pt>
                <c:pt idx="582">
                  <c:v>44896</c:v>
                </c:pt>
                <c:pt idx="583">
                  <c:v>44895</c:v>
                </c:pt>
                <c:pt idx="584">
                  <c:v>44894</c:v>
                </c:pt>
                <c:pt idx="585">
                  <c:v>44893</c:v>
                </c:pt>
                <c:pt idx="586">
                  <c:v>44892</c:v>
                </c:pt>
                <c:pt idx="587">
                  <c:v>44891</c:v>
                </c:pt>
                <c:pt idx="588">
                  <c:v>44890</c:v>
                </c:pt>
                <c:pt idx="589">
                  <c:v>44889</c:v>
                </c:pt>
                <c:pt idx="590">
                  <c:v>44888</c:v>
                </c:pt>
                <c:pt idx="591">
                  <c:v>44887</c:v>
                </c:pt>
                <c:pt idx="592">
                  <c:v>44886</c:v>
                </c:pt>
                <c:pt idx="593">
                  <c:v>44885</c:v>
                </c:pt>
                <c:pt idx="594">
                  <c:v>44884</c:v>
                </c:pt>
                <c:pt idx="595">
                  <c:v>44883</c:v>
                </c:pt>
                <c:pt idx="596">
                  <c:v>44882</c:v>
                </c:pt>
                <c:pt idx="597">
                  <c:v>44881</c:v>
                </c:pt>
                <c:pt idx="598">
                  <c:v>44880</c:v>
                </c:pt>
                <c:pt idx="599">
                  <c:v>44879</c:v>
                </c:pt>
                <c:pt idx="600">
                  <c:v>44878</c:v>
                </c:pt>
                <c:pt idx="601">
                  <c:v>44877</c:v>
                </c:pt>
                <c:pt idx="602">
                  <c:v>44876</c:v>
                </c:pt>
                <c:pt idx="603">
                  <c:v>44875</c:v>
                </c:pt>
                <c:pt idx="604">
                  <c:v>44874</c:v>
                </c:pt>
                <c:pt idx="605">
                  <c:v>44873</c:v>
                </c:pt>
                <c:pt idx="606">
                  <c:v>44872</c:v>
                </c:pt>
                <c:pt idx="607">
                  <c:v>44871</c:v>
                </c:pt>
                <c:pt idx="608">
                  <c:v>44870</c:v>
                </c:pt>
                <c:pt idx="609">
                  <c:v>44869</c:v>
                </c:pt>
                <c:pt idx="610">
                  <c:v>44868</c:v>
                </c:pt>
                <c:pt idx="611">
                  <c:v>44867</c:v>
                </c:pt>
                <c:pt idx="612">
                  <c:v>44866</c:v>
                </c:pt>
                <c:pt idx="613">
                  <c:v>44865</c:v>
                </c:pt>
                <c:pt idx="614">
                  <c:v>44864</c:v>
                </c:pt>
                <c:pt idx="615">
                  <c:v>44863</c:v>
                </c:pt>
                <c:pt idx="616">
                  <c:v>44862</c:v>
                </c:pt>
                <c:pt idx="617">
                  <c:v>44861</c:v>
                </c:pt>
                <c:pt idx="618">
                  <c:v>44860</c:v>
                </c:pt>
                <c:pt idx="619">
                  <c:v>44859</c:v>
                </c:pt>
                <c:pt idx="620">
                  <c:v>44858</c:v>
                </c:pt>
                <c:pt idx="621">
                  <c:v>44857</c:v>
                </c:pt>
                <c:pt idx="622">
                  <c:v>44856</c:v>
                </c:pt>
                <c:pt idx="623">
                  <c:v>44855</c:v>
                </c:pt>
                <c:pt idx="624">
                  <c:v>44854</c:v>
                </c:pt>
                <c:pt idx="625">
                  <c:v>44853</c:v>
                </c:pt>
                <c:pt idx="626">
                  <c:v>44852</c:v>
                </c:pt>
                <c:pt idx="627">
                  <c:v>44851</c:v>
                </c:pt>
                <c:pt idx="628">
                  <c:v>44850</c:v>
                </c:pt>
                <c:pt idx="629">
                  <c:v>44849</c:v>
                </c:pt>
                <c:pt idx="630">
                  <c:v>44848</c:v>
                </c:pt>
                <c:pt idx="631">
                  <c:v>44847</c:v>
                </c:pt>
                <c:pt idx="632">
                  <c:v>44846</c:v>
                </c:pt>
                <c:pt idx="633">
                  <c:v>44845</c:v>
                </c:pt>
                <c:pt idx="634">
                  <c:v>44844</c:v>
                </c:pt>
                <c:pt idx="635">
                  <c:v>44843</c:v>
                </c:pt>
                <c:pt idx="636">
                  <c:v>44842</c:v>
                </c:pt>
                <c:pt idx="637">
                  <c:v>44841</c:v>
                </c:pt>
                <c:pt idx="638">
                  <c:v>44840</c:v>
                </c:pt>
                <c:pt idx="639">
                  <c:v>44839</c:v>
                </c:pt>
                <c:pt idx="640">
                  <c:v>44838</c:v>
                </c:pt>
                <c:pt idx="641">
                  <c:v>44837</c:v>
                </c:pt>
                <c:pt idx="642">
                  <c:v>44836</c:v>
                </c:pt>
                <c:pt idx="643">
                  <c:v>44835</c:v>
                </c:pt>
                <c:pt idx="644">
                  <c:v>44834</c:v>
                </c:pt>
                <c:pt idx="645">
                  <c:v>44833</c:v>
                </c:pt>
                <c:pt idx="646">
                  <c:v>44832</c:v>
                </c:pt>
                <c:pt idx="647">
                  <c:v>44831</c:v>
                </c:pt>
                <c:pt idx="648">
                  <c:v>44830</c:v>
                </c:pt>
                <c:pt idx="649">
                  <c:v>44829</c:v>
                </c:pt>
                <c:pt idx="650">
                  <c:v>44828</c:v>
                </c:pt>
                <c:pt idx="651">
                  <c:v>44827</c:v>
                </c:pt>
                <c:pt idx="652">
                  <c:v>44826</c:v>
                </c:pt>
                <c:pt idx="653">
                  <c:v>44825</c:v>
                </c:pt>
                <c:pt idx="654">
                  <c:v>44824</c:v>
                </c:pt>
                <c:pt idx="655">
                  <c:v>44823</c:v>
                </c:pt>
                <c:pt idx="656">
                  <c:v>44822</c:v>
                </c:pt>
                <c:pt idx="657">
                  <c:v>44821</c:v>
                </c:pt>
                <c:pt idx="658">
                  <c:v>44820</c:v>
                </c:pt>
                <c:pt idx="659">
                  <c:v>44819</c:v>
                </c:pt>
                <c:pt idx="660">
                  <c:v>44818</c:v>
                </c:pt>
                <c:pt idx="661">
                  <c:v>44817</c:v>
                </c:pt>
                <c:pt idx="662">
                  <c:v>44816</c:v>
                </c:pt>
                <c:pt idx="663">
                  <c:v>44815</c:v>
                </c:pt>
                <c:pt idx="664">
                  <c:v>44814</c:v>
                </c:pt>
                <c:pt idx="665">
                  <c:v>44813</c:v>
                </c:pt>
                <c:pt idx="666">
                  <c:v>44812</c:v>
                </c:pt>
                <c:pt idx="667">
                  <c:v>44811</c:v>
                </c:pt>
                <c:pt idx="668">
                  <c:v>44810</c:v>
                </c:pt>
                <c:pt idx="669">
                  <c:v>44809</c:v>
                </c:pt>
                <c:pt idx="670">
                  <c:v>44808</c:v>
                </c:pt>
                <c:pt idx="671">
                  <c:v>44807</c:v>
                </c:pt>
                <c:pt idx="672">
                  <c:v>44806</c:v>
                </c:pt>
                <c:pt idx="673">
                  <c:v>44805</c:v>
                </c:pt>
                <c:pt idx="674">
                  <c:v>44804</c:v>
                </c:pt>
                <c:pt idx="675">
                  <c:v>44803</c:v>
                </c:pt>
                <c:pt idx="676">
                  <c:v>44802</c:v>
                </c:pt>
                <c:pt idx="677">
                  <c:v>44801</c:v>
                </c:pt>
                <c:pt idx="678">
                  <c:v>44800</c:v>
                </c:pt>
                <c:pt idx="679">
                  <c:v>44799</c:v>
                </c:pt>
                <c:pt idx="680">
                  <c:v>44798</c:v>
                </c:pt>
                <c:pt idx="681">
                  <c:v>44797</c:v>
                </c:pt>
                <c:pt idx="682">
                  <c:v>44796</c:v>
                </c:pt>
                <c:pt idx="683">
                  <c:v>44795</c:v>
                </c:pt>
                <c:pt idx="684">
                  <c:v>44794</c:v>
                </c:pt>
                <c:pt idx="685">
                  <c:v>44793</c:v>
                </c:pt>
                <c:pt idx="686">
                  <c:v>44792</c:v>
                </c:pt>
                <c:pt idx="687">
                  <c:v>44791</c:v>
                </c:pt>
                <c:pt idx="688">
                  <c:v>44790</c:v>
                </c:pt>
                <c:pt idx="689">
                  <c:v>44789</c:v>
                </c:pt>
                <c:pt idx="690">
                  <c:v>44788</c:v>
                </c:pt>
                <c:pt idx="691">
                  <c:v>44787</c:v>
                </c:pt>
                <c:pt idx="692">
                  <c:v>44786</c:v>
                </c:pt>
                <c:pt idx="693">
                  <c:v>44785</c:v>
                </c:pt>
                <c:pt idx="694">
                  <c:v>44784</c:v>
                </c:pt>
                <c:pt idx="695">
                  <c:v>44783</c:v>
                </c:pt>
                <c:pt idx="696">
                  <c:v>44782</c:v>
                </c:pt>
                <c:pt idx="697">
                  <c:v>44781</c:v>
                </c:pt>
                <c:pt idx="698">
                  <c:v>44780</c:v>
                </c:pt>
                <c:pt idx="699">
                  <c:v>44779</c:v>
                </c:pt>
                <c:pt idx="700">
                  <c:v>44778</c:v>
                </c:pt>
                <c:pt idx="701">
                  <c:v>44777</c:v>
                </c:pt>
                <c:pt idx="702">
                  <c:v>44776</c:v>
                </c:pt>
                <c:pt idx="703">
                  <c:v>44775</c:v>
                </c:pt>
                <c:pt idx="704">
                  <c:v>44774</c:v>
                </c:pt>
                <c:pt idx="705">
                  <c:v>44773</c:v>
                </c:pt>
                <c:pt idx="706">
                  <c:v>44772</c:v>
                </c:pt>
                <c:pt idx="707">
                  <c:v>44771</c:v>
                </c:pt>
                <c:pt idx="708">
                  <c:v>44770</c:v>
                </c:pt>
                <c:pt idx="709">
                  <c:v>44769</c:v>
                </c:pt>
                <c:pt idx="710">
                  <c:v>44768</c:v>
                </c:pt>
                <c:pt idx="711">
                  <c:v>44767</c:v>
                </c:pt>
                <c:pt idx="712">
                  <c:v>44766</c:v>
                </c:pt>
                <c:pt idx="713">
                  <c:v>44765</c:v>
                </c:pt>
                <c:pt idx="714">
                  <c:v>44764</c:v>
                </c:pt>
                <c:pt idx="715">
                  <c:v>44763</c:v>
                </c:pt>
                <c:pt idx="716">
                  <c:v>44762</c:v>
                </c:pt>
                <c:pt idx="717">
                  <c:v>44761</c:v>
                </c:pt>
                <c:pt idx="718">
                  <c:v>44760</c:v>
                </c:pt>
                <c:pt idx="719">
                  <c:v>44759</c:v>
                </c:pt>
                <c:pt idx="720">
                  <c:v>44758</c:v>
                </c:pt>
                <c:pt idx="721">
                  <c:v>44757</c:v>
                </c:pt>
                <c:pt idx="722">
                  <c:v>44756</c:v>
                </c:pt>
                <c:pt idx="723">
                  <c:v>44755</c:v>
                </c:pt>
                <c:pt idx="724">
                  <c:v>44754</c:v>
                </c:pt>
                <c:pt idx="725">
                  <c:v>44753</c:v>
                </c:pt>
                <c:pt idx="726">
                  <c:v>44752</c:v>
                </c:pt>
                <c:pt idx="727">
                  <c:v>44751</c:v>
                </c:pt>
                <c:pt idx="728">
                  <c:v>44750</c:v>
                </c:pt>
                <c:pt idx="729">
                  <c:v>44749</c:v>
                </c:pt>
                <c:pt idx="730">
                  <c:v>44748</c:v>
                </c:pt>
                <c:pt idx="731">
                  <c:v>44747</c:v>
                </c:pt>
                <c:pt idx="732">
                  <c:v>44746</c:v>
                </c:pt>
                <c:pt idx="733">
                  <c:v>44745</c:v>
                </c:pt>
                <c:pt idx="734">
                  <c:v>44744</c:v>
                </c:pt>
                <c:pt idx="735">
                  <c:v>44743</c:v>
                </c:pt>
                <c:pt idx="736">
                  <c:v>44742</c:v>
                </c:pt>
                <c:pt idx="737">
                  <c:v>44741</c:v>
                </c:pt>
                <c:pt idx="738">
                  <c:v>44740</c:v>
                </c:pt>
                <c:pt idx="739">
                  <c:v>44739</c:v>
                </c:pt>
                <c:pt idx="740">
                  <c:v>44738</c:v>
                </c:pt>
                <c:pt idx="741">
                  <c:v>44737</c:v>
                </c:pt>
                <c:pt idx="742">
                  <c:v>44736</c:v>
                </c:pt>
                <c:pt idx="743">
                  <c:v>44735</c:v>
                </c:pt>
                <c:pt idx="744">
                  <c:v>44734</c:v>
                </c:pt>
                <c:pt idx="745">
                  <c:v>44733</c:v>
                </c:pt>
                <c:pt idx="746">
                  <c:v>44732</c:v>
                </c:pt>
                <c:pt idx="747">
                  <c:v>44731</c:v>
                </c:pt>
                <c:pt idx="748">
                  <c:v>44730</c:v>
                </c:pt>
                <c:pt idx="749">
                  <c:v>44729</c:v>
                </c:pt>
                <c:pt idx="750">
                  <c:v>44728</c:v>
                </c:pt>
                <c:pt idx="751">
                  <c:v>44727</c:v>
                </c:pt>
                <c:pt idx="752">
                  <c:v>44726</c:v>
                </c:pt>
                <c:pt idx="753">
                  <c:v>44725</c:v>
                </c:pt>
                <c:pt idx="754">
                  <c:v>44724</c:v>
                </c:pt>
                <c:pt idx="755">
                  <c:v>44723</c:v>
                </c:pt>
                <c:pt idx="756">
                  <c:v>44722</c:v>
                </c:pt>
                <c:pt idx="757">
                  <c:v>44721</c:v>
                </c:pt>
                <c:pt idx="758">
                  <c:v>44720</c:v>
                </c:pt>
                <c:pt idx="759">
                  <c:v>44719</c:v>
                </c:pt>
                <c:pt idx="760">
                  <c:v>44718</c:v>
                </c:pt>
                <c:pt idx="761">
                  <c:v>44717</c:v>
                </c:pt>
                <c:pt idx="762">
                  <c:v>44716</c:v>
                </c:pt>
                <c:pt idx="763">
                  <c:v>44715</c:v>
                </c:pt>
                <c:pt idx="764">
                  <c:v>44714</c:v>
                </c:pt>
                <c:pt idx="765">
                  <c:v>44713</c:v>
                </c:pt>
                <c:pt idx="766">
                  <c:v>44712</c:v>
                </c:pt>
                <c:pt idx="767">
                  <c:v>44711</c:v>
                </c:pt>
                <c:pt idx="768">
                  <c:v>44710</c:v>
                </c:pt>
                <c:pt idx="769">
                  <c:v>44709</c:v>
                </c:pt>
                <c:pt idx="770">
                  <c:v>44708</c:v>
                </c:pt>
                <c:pt idx="771">
                  <c:v>44707</c:v>
                </c:pt>
                <c:pt idx="772">
                  <c:v>44706</c:v>
                </c:pt>
                <c:pt idx="773">
                  <c:v>44705</c:v>
                </c:pt>
                <c:pt idx="774">
                  <c:v>44704</c:v>
                </c:pt>
                <c:pt idx="775">
                  <c:v>44703</c:v>
                </c:pt>
                <c:pt idx="776">
                  <c:v>44702</c:v>
                </c:pt>
                <c:pt idx="777">
                  <c:v>44701</c:v>
                </c:pt>
                <c:pt idx="778">
                  <c:v>44700</c:v>
                </c:pt>
                <c:pt idx="779">
                  <c:v>44699</c:v>
                </c:pt>
                <c:pt idx="780">
                  <c:v>44698</c:v>
                </c:pt>
                <c:pt idx="781">
                  <c:v>44697</c:v>
                </c:pt>
                <c:pt idx="782">
                  <c:v>44696</c:v>
                </c:pt>
                <c:pt idx="783">
                  <c:v>44695</c:v>
                </c:pt>
                <c:pt idx="784">
                  <c:v>44694</c:v>
                </c:pt>
                <c:pt idx="785">
                  <c:v>44693</c:v>
                </c:pt>
                <c:pt idx="786">
                  <c:v>44692</c:v>
                </c:pt>
                <c:pt idx="787">
                  <c:v>44691</c:v>
                </c:pt>
                <c:pt idx="788">
                  <c:v>44690</c:v>
                </c:pt>
                <c:pt idx="789">
                  <c:v>44689</c:v>
                </c:pt>
                <c:pt idx="790">
                  <c:v>44688</c:v>
                </c:pt>
                <c:pt idx="791">
                  <c:v>44687</c:v>
                </c:pt>
                <c:pt idx="792">
                  <c:v>44686</c:v>
                </c:pt>
                <c:pt idx="793">
                  <c:v>44685</c:v>
                </c:pt>
                <c:pt idx="794">
                  <c:v>44684</c:v>
                </c:pt>
                <c:pt idx="795">
                  <c:v>44683</c:v>
                </c:pt>
                <c:pt idx="796">
                  <c:v>44682</c:v>
                </c:pt>
                <c:pt idx="797">
                  <c:v>44681</c:v>
                </c:pt>
                <c:pt idx="798">
                  <c:v>44680</c:v>
                </c:pt>
                <c:pt idx="799">
                  <c:v>44679</c:v>
                </c:pt>
                <c:pt idx="800">
                  <c:v>44678</c:v>
                </c:pt>
                <c:pt idx="801">
                  <c:v>44677</c:v>
                </c:pt>
                <c:pt idx="802">
                  <c:v>44676</c:v>
                </c:pt>
                <c:pt idx="803">
                  <c:v>44675</c:v>
                </c:pt>
                <c:pt idx="804">
                  <c:v>44674</c:v>
                </c:pt>
                <c:pt idx="805">
                  <c:v>44673</c:v>
                </c:pt>
                <c:pt idx="806">
                  <c:v>44672</c:v>
                </c:pt>
                <c:pt idx="807">
                  <c:v>44671</c:v>
                </c:pt>
                <c:pt idx="808">
                  <c:v>44670</c:v>
                </c:pt>
                <c:pt idx="809">
                  <c:v>44669</c:v>
                </c:pt>
                <c:pt idx="810">
                  <c:v>44668</c:v>
                </c:pt>
                <c:pt idx="811">
                  <c:v>44667</c:v>
                </c:pt>
                <c:pt idx="812">
                  <c:v>44666</c:v>
                </c:pt>
                <c:pt idx="813">
                  <c:v>44665</c:v>
                </c:pt>
                <c:pt idx="814">
                  <c:v>44664</c:v>
                </c:pt>
                <c:pt idx="815">
                  <c:v>44663</c:v>
                </c:pt>
                <c:pt idx="816">
                  <c:v>44662</c:v>
                </c:pt>
                <c:pt idx="817">
                  <c:v>44661</c:v>
                </c:pt>
                <c:pt idx="818">
                  <c:v>44660</c:v>
                </c:pt>
                <c:pt idx="819">
                  <c:v>44659</c:v>
                </c:pt>
                <c:pt idx="820">
                  <c:v>44658</c:v>
                </c:pt>
                <c:pt idx="821">
                  <c:v>44657</c:v>
                </c:pt>
                <c:pt idx="822">
                  <c:v>44656</c:v>
                </c:pt>
                <c:pt idx="823">
                  <c:v>44655</c:v>
                </c:pt>
                <c:pt idx="824">
                  <c:v>44654</c:v>
                </c:pt>
                <c:pt idx="825">
                  <c:v>44653</c:v>
                </c:pt>
                <c:pt idx="826">
                  <c:v>44652</c:v>
                </c:pt>
                <c:pt idx="827">
                  <c:v>44651</c:v>
                </c:pt>
                <c:pt idx="828">
                  <c:v>44650</c:v>
                </c:pt>
                <c:pt idx="829">
                  <c:v>44649</c:v>
                </c:pt>
                <c:pt idx="830">
                  <c:v>44648</c:v>
                </c:pt>
                <c:pt idx="831">
                  <c:v>44647</c:v>
                </c:pt>
                <c:pt idx="832">
                  <c:v>44646</c:v>
                </c:pt>
                <c:pt idx="833">
                  <c:v>44645</c:v>
                </c:pt>
                <c:pt idx="834">
                  <c:v>44644</c:v>
                </c:pt>
                <c:pt idx="835">
                  <c:v>44643</c:v>
                </c:pt>
                <c:pt idx="836">
                  <c:v>44642</c:v>
                </c:pt>
                <c:pt idx="837">
                  <c:v>44641</c:v>
                </c:pt>
                <c:pt idx="838">
                  <c:v>44640</c:v>
                </c:pt>
                <c:pt idx="839">
                  <c:v>44639</c:v>
                </c:pt>
                <c:pt idx="840">
                  <c:v>44638</c:v>
                </c:pt>
                <c:pt idx="841">
                  <c:v>44637</c:v>
                </c:pt>
                <c:pt idx="842">
                  <c:v>44636</c:v>
                </c:pt>
                <c:pt idx="843">
                  <c:v>44635</c:v>
                </c:pt>
                <c:pt idx="844">
                  <c:v>44634</c:v>
                </c:pt>
                <c:pt idx="845">
                  <c:v>44633</c:v>
                </c:pt>
                <c:pt idx="846">
                  <c:v>44632</c:v>
                </c:pt>
                <c:pt idx="847">
                  <c:v>44631</c:v>
                </c:pt>
                <c:pt idx="848">
                  <c:v>44630</c:v>
                </c:pt>
                <c:pt idx="849">
                  <c:v>44629</c:v>
                </c:pt>
                <c:pt idx="850">
                  <c:v>44628</c:v>
                </c:pt>
                <c:pt idx="851">
                  <c:v>44627</c:v>
                </c:pt>
                <c:pt idx="852">
                  <c:v>44626</c:v>
                </c:pt>
                <c:pt idx="853">
                  <c:v>44625</c:v>
                </c:pt>
                <c:pt idx="854">
                  <c:v>44624</c:v>
                </c:pt>
                <c:pt idx="855">
                  <c:v>44623</c:v>
                </c:pt>
                <c:pt idx="856">
                  <c:v>44622</c:v>
                </c:pt>
                <c:pt idx="857">
                  <c:v>44621</c:v>
                </c:pt>
                <c:pt idx="858">
                  <c:v>44620</c:v>
                </c:pt>
                <c:pt idx="859">
                  <c:v>44619</c:v>
                </c:pt>
                <c:pt idx="860">
                  <c:v>44618</c:v>
                </c:pt>
                <c:pt idx="861">
                  <c:v>44617</c:v>
                </c:pt>
                <c:pt idx="862">
                  <c:v>44616</c:v>
                </c:pt>
                <c:pt idx="863">
                  <c:v>44615</c:v>
                </c:pt>
                <c:pt idx="864">
                  <c:v>44614</c:v>
                </c:pt>
                <c:pt idx="865">
                  <c:v>44613</c:v>
                </c:pt>
                <c:pt idx="866">
                  <c:v>44612</c:v>
                </c:pt>
                <c:pt idx="867">
                  <c:v>44611</c:v>
                </c:pt>
                <c:pt idx="868">
                  <c:v>44610</c:v>
                </c:pt>
                <c:pt idx="869">
                  <c:v>44609</c:v>
                </c:pt>
                <c:pt idx="870">
                  <c:v>44608</c:v>
                </c:pt>
                <c:pt idx="871">
                  <c:v>44607</c:v>
                </c:pt>
                <c:pt idx="872">
                  <c:v>44606</c:v>
                </c:pt>
                <c:pt idx="873">
                  <c:v>44605</c:v>
                </c:pt>
                <c:pt idx="874">
                  <c:v>44604</c:v>
                </c:pt>
                <c:pt idx="875">
                  <c:v>44603</c:v>
                </c:pt>
                <c:pt idx="876">
                  <c:v>44602</c:v>
                </c:pt>
                <c:pt idx="877">
                  <c:v>44601</c:v>
                </c:pt>
                <c:pt idx="878">
                  <c:v>44600</c:v>
                </c:pt>
                <c:pt idx="879">
                  <c:v>44599</c:v>
                </c:pt>
                <c:pt idx="880">
                  <c:v>44598</c:v>
                </c:pt>
                <c:pt idx="881">
                  <c:v>44597</c:v>
                </c:pt>
                <c:pt idx="882">
                  <c:v>44596</c:v>
                </c:pt>
                <c:pt idx="883">
                  <c:v>44595</c:v>
                </c:pt>
                <c:pt idx="884">
                  <c:v>44594</c:v>
                </c:pt>
                <c:pt idx="885">
                  <c:v>44593</c:v>
                </c:pt>
                <c:pt idx="886">
                  <c:v>44592</c:v>
                </c:pt>
                <c:pt idx="887">
                  <c:v>44591</c:v>
                </c:pt>
                <c:pt idx="888">
                  <c:v>44590</c:v>
                </c:pt>
                <c:pt idx="889">
                  <c:v>44589</c:v>
                </c:pt>
                <c:pt idx="890">
                  <c:v>44588</c:v>
                </c:pt>
                <c:pt idx="891">
                  <c:v>44587</c:v>
                </c:pt>
                <c:pt idx="892">
                  <c:v>44586</c:v>
                </c:pt>
                <c:pt idx="893">
                  <c:v>44585</c:v>
                </c:pt>
                <c:pt idx="894">
                  <c:v>44584</c:v>
                </c:pt>
                <c:pt idx="895">
                  <c:v>44583</c:v>
                </c:pt>
                <c:pt idx="896">
                  <c:v>44582</c:v>
                </c:pt>
                <c:pt idx="897">
                  <c:v>44581</c:v>
                </c:pt>
                <c:pt idx="898">
                  <c:v>44580</c:v>
                </c:pt>
                <c:pt idx="899">
                  <c:v>44579</c:v>
                </c:pt>
                <c:pt idx="900">
                  <c:v>44578</c:v>
                </c:pt>
                <c:pt idx="901">
                  <c:v>44577</c:v>
                </c:pt>
                <c:pt idx="902">
                  <c:v>44576</c:v>
                </c:pt>
                <c:pt idx="903">
                  <c:v>44575</c:v>
                </c:pt>
                <c:pt idx="904">
                  <c:v>44574</c:v>
                </c:pt>
                <c:pt idx="905">
                  <c:v>44573</c:v>
                </c:pt>
                <c:pt idx="906">
                  <c:v>44572</c:v>
                </c:pt>
                <c:pt idx="907">
                  <c:v>44571</c:v>
                </c:pt>
                <c:pt idx="908">
                  <c:v>44570</c:v>
                </c:pt>
                <c:pt idx="909">
                  <c:v>44569</c:v>
                </c:pt>
                <c:pt idx="910">
                  <c:v>44568</c:v>
                </c:pt>
                <c:pt idx="911">
                  <c:v>44567</c:v>
                </c:pt>
                <c:pt idx="912">
                  <c:v>44566</c:v>
                </c:pt>
                <c:pt idx="913">
                  <c:v>44565</c:v>
                </c:pt>
                <c:pt idx="914">
                  <c:v>44564</c:v>
                </c:pt>
                <c:pt idx="915">
                  <c:v>44563</c:v>
                </c:pt>
                <c:pt idx="916">
                  <c:v>44562</c:v>
                </c:pt>
                <c:pt idx="917">
                  <c:v>44561</c:v>
                </c:pt>
                <c:pt idx="918">
                  <c:v>44560</c:v>
                </c:pt>
                <c:pt idx="919">
                  <c:v>44559</c:v>
                </c:pt>
                <c:pt idx="920">
                  <c:v>44558</c:v>
                </c:pt>
                <c:pt idx="921">
                  <c:v>44557</c:v>
                </c:pt>
                <c:pt idx="922">
                  <c:v>44556</c:v>
                </c:pt>
              </c:numCache>
            </c:numRef>
          </c:cat>
          <c:val>
            <c:numRef>
              <c:f>百川电极!$V$3:$V$925</c:f>
              <c:numCache>
                <c:formatCode>0_);[Red]\(0\)</c:formatCode>
                <c:ptCount val="923"/>
                <c:pt idx="0">
                  <c:v>10850</c:v>
                </c:pt>
                <c:pt idx="1">
                  <c:v>10850</c:v>
                </c:pt>
                <c:pt idx="2">
                  <c:v>10850</c:v>
                </c:pt>
                <c:pt idx="3">
                  <c:v>10850</c:v>
                </c:pt>
                <c:pt idx="4">
                  <c:v>10850</c:v>
                </c:pt>
                <c:pt idx="5">
                  <c:v>10850</c:v>
                </c:pt>
                <c:pt idx="6">
                  <c:v>10850</c:v>
                </c:pt>
                <c:pt idx="7">
                  <c:v>10850</c:v>
                </c:pt>
                <c:pt idx="8">
                  <c:v>10850</c:v>
                </c:pt>
                <c:pt idx="9">
                  <c:v>10850</c:v>
                </c:pt>
                <c:pt idx="10">
                  <c:v>10850</c:v>
                </c:pt>
                <c:pt idx="11">
                  <c:v>10850</c:v>
                </c:pt>
                <c:pt idx="12">
                  <c:v>10850</c:v>
                </c:pt>
                <c:pt idx="13">
                  <c:v>10850</c:v>
                </c:pt>
                <c:pt idx="14">
                  <c:v>10850</c:v>
                </c:pt>
                <c:pt idx="15">
                  <c:v>10850</c:v>
                </c:pt>
                <c:pt idx="16">
                  <c:v>10850</c:v>
                </c:pt>
                <c:pt idx="17">
                  <c:v>10850</c:v>
                </c:pt>
                <c:pt idx="18">
                  <c:v>10850</c:v>
                </c:pt>
                <c:pt idx="19">
                  <c:v>10850</c:v>
                </c:pt>
                <c:pt idx="20">
                  <c:v>10850</c:v>
                </c:pt>
                <c:pt idx="21">
                  <c:v>10850</c:v>
                </c:pt>
                <c:pt idx="22">
                  <c:v>10850</c:v>
                </c:pt>
                <c:pt idx="23">
                  <c:v>10850</c:v>
                </c:pt>
                <c:pt idx="24">
                  <c:v>10850</c:v>
                </c:pt>
                <c:pt idx="25">
                  <c:v>10850</c:v>
                </c:pt>
                <c:pt idx="26">
                  <c:v>10850</c:v>
                </c:pt>
                <c:pt idx="27">
                  <c:v>10850</c:v>
                </c:pt>
                <c:pt idx="28">
                  <c:v>10850</c:v>
                </c:pt>
                <c:pt idx="29">
                  <c:v>10850</c:v>
                </c:pt>
                <c:pt idx="30">
                  <c:v>10850</c:v>
                </c:pt>
                <c:pt idx="31">
                  <c:v>10850</c:v>
                </c:pt>
                <c:pt idx="32">
                  <c:v>10850</c:v>
                </c:pt>
                <c:pt idx="33">
                  <c:v>10850</c:v>
                </c:pt>
                <c:pt idx="34">
                  <c:v>10850</c:v>
                </c:pt>
                <c:pt idx="35">
                  <c:v>10850</c:v>
                </c:pt>
                <c:pt idx="36">
                  <c:v>10850</c:v>
                </c:pt>
                <c:pt idx="37">
                  <c:v>10850</c:v>
                </c:pt>
                <c:pt idx="38">
                  <c:v>10850</c:v>
                </c:pt>
                <c:pt idx="39">
                  <c:v>10850</c:v>
                </c:pt>
                <c:pt idx="40">
                  <c:v>10850</c:v>
                </c:pt>
                <c:pt idx="41">
                  <c:v>10850</c:v>
                </c:pt>
                <c:pt idx="42">
                  <c:v>10850</c:v>
                </c:pt>
                <c:pt idx="43">
                  <c:v>10850</c:v>
                </c:pt>
                <c:pt idx="44">
                  <c:v>10850</c:v>
                </c:pt>
                <c:pt idx="45">
                  <c:v>10850</c:v>
                </c:pt>
                <c:pt idx="46">
                  <c:v>10850</c:v>
                </c:pt>
                <c:pt idx="47">
                  <c:v>10850</c:v>
                </c:pt>
                <c:pt idx="48">
                  <c:v>10850</c:v>
                </c:pt>
                <c:pt idx="49">
                  <c:v>10850</c:v>
                </c:pt>
                <c:pt idx="50">
                  <c:v>10850</c:v>
                </c:pt>
                <c:pt idx="51">
                  <c:v>10850</c:v>
                </c:pt>
                <c:pt idx="52">
                  <c:v>10850</c:v>
                </c:pt>
                <c:pt idx="53">
                  <c:v>10850</c:v>
                </c:pt>
                <c:pt idx="54">
                  <c:v>10850</c:v>
                </c:pt>
                <c:pt idx="55">
                  <c:v>10850</c:v>
                </c:pt>
                <c:pt idx="56">
                  <c:v>10850</c:v>
                </c:pt>
                <c:pt idx="57">
                  <c:v>10850</c:v>
                </c:pt>
                <c:pt idx="58">
                  <c:v>10850</c:v>
                </c:pt>
                <c:pt idx="59">
                  <c:v>10850</c:v>
                </c:pt>
                <c:pt idx="60">
                  <c:v>10850</c:v>
                </c:pt>
                <c:pt idx="61">
                  <c:v>10850</c:v>
                </c:pt>
                <c:pt idx="62">
                  <c:v>10850</c:v>
                </c:pt>
                <c:pt idx="63">
                  <c:v>10850</c:v>
                </c:pt>
                <c:pt idx="64">
                  <c:v>10850</c:v>
                </c:pt>
                <c:pt idx="65">
                  <c:v>10850</c:v>
                </c:pt>
                <c:pt idx="66">
                  <c:v>10850</c:v>
                </c:pt>
                <c:pt idx="67">
                  <c:v>10850</c:v>
                </c:pt>
                <c:pt idx="68">
                  <c:v>10850</c:v>
                </c:pt>
                <c:pt idx="69">
                  <c:v>10850</c:v>
                </c:pt>
                <c:pt idx="70">
                  <c:v>10850</c:v>
                </c:pt>
                <c:pt idx="71">
                  <c:v>10850</c:v>
                </c:pt>
                <c:pt idx="72">
                  <c:v>10850</c:v>
                </c:pt>
                <c:pt idx="73">
                  <c:v>10850</c:v>
                </c:pt>
                <c:pt idx="74">
                  <c:v>10850</c:v>
                </c:pt>
                <c:pt idx="75">
                  <c:v>10850</c:v>
                </c:pt>
                <c:pt idx="76">
                  <c:v>10850</c:v>
                </c:pt>
                <c:pt idx="77">
                  <c:v>10850</c:v>
                </c:pt>
                <c:pt idx="78">
                  <c:v>10850</c:v>
                </c:pt>
                <c:pt idx="79">
                  <c:v>10850</c:v>
                </c:pt>
                <c:pt idx="80">
                  <c:v>10850</c:v>
                </c:pt>
                <c:pt idx="81">
                  <c:v>10850</c:v>
                </c:pt>
                <c:pt idx="82">
                  <c:v>10850</c:v>
                </c:pt>
                <c:pt idx="83">
                  <c:v>10850</c:v>
                </c:pt>
                <c:pt idx="84">
                  <c:v>10850</c:v>
                </c:pt>
                <c:pt idx="85">
                  <c:v>10850</c:v>
                </c:pt>
                <c:pt idx="86">
                  <c:v>10850</c:v>
                </c:pt>
                <c:pt idx="87">
                  <c:v>10850</c:v>
                </c:pt>
                <c:pt idx="88">
                  <c:v>10850</c:v>
                </c:pt>
                <c:pt idx="89">
                  <c:v>10850</c:v>
                </c:pt>
                <c:pt idx="90">
                  <c:v>10850</c:v>
                </c:pt>
                <c:pt idx="91">
                  <c:v>10850</c:v>
                </c:pt>
                <c:pt idx="92">
                  <c:v>10850</c:v>
                </c:pt>
                <c:pt idx="93">
                  <c:v>10850</c:v>
                </c:pt>
                <c:pt idx="94">
                  <c:v>10850</c:v>
                </c:pt>
                <c:pt idx="95">
                  <c:v>10850</c:v>
                </c:pt>
                <c:pt idx="96">
                  <c:v>10850</c:v>
                </c:pt>
                <c:pt idx="97">
                  <c:v>10850</c:v>
                </c:pt>
                <c:pt idx="98">
                  <c:v>10850</c:v>
                </c:pt>
                <c:pt idx="99">
                  <c:v>10850</c:v>
                </c:pt>
                <c:pt idx="100">
                  <c:v>10850</c:v>
                </c:pt>
                <c:pt idx="101">
                  <c:v>10850</c:v>
                </c:pt>
                <c:pt idx="102">
                  <c:v>10850</c:v>
                </c:pt>
                <c:pt idx="103">
                  <c:v>10850</c:v>
                </c:pt>
                <c:pt idx="104">
                  <c:v>10850</c:v>
                </c:pt>
                <c:pt idx="105">
                  <c:v>10850</c:v>
                </c:pt>
                <c:pt idx="106">
                  <c:v>10850</c:v>
                </c:pt>
                <c:pt idx="107">
                  <c:v>10850</c:v>
                </c:pt>
                <c:pt idx="108">
                  <c:v>10850</c:v>
                </c:pt>
                <c:pt idx="109">
                  <c:v>10850</c:v>
                </c:pt>
                <c:pt idx="110">
                  <c:v>10850</c:v>
                </c:pt>
                <c:pt idx="111">
                  <c:v>10850</c:v>
                </c:pt>
                <c:pt idx="112">
                  <c:v>10850</c:v>
                </c:pt>
                <c:pt idx="113">
                  <c:v>10850</c:v>
                </c:pt>
                <c:pt idx="114">
                  <c:v>10850</c:v>
                </c:pt>
                <c:pt idx="115">
                  <c:v>10850</c:v>
                </c:pt>
                <c:pt idx="116">
                  <c:v>10850</c:v>
                </c:pt>
                <c:pt idx="117">
                  <c:v>10850</c:v>
                </c:pt>
                <c:pt idx="118">
                  <c:v>10850</c:v>
                </c:pt>
                <c:pt idx="119">
                  <c:v>10850</c:v>
                </c:pt>
                <c:pt idx="120">
                  <c:v>10850</c:v>
                </c:pt>
                <c:pt idx="121">
                  <c:v>10850</c:v>
                </c:pt>
                <c:pt idx="122">
                  <c:v>10850</c:v>
                </c:pt>
                <c:pt idx="123">
                  <c:v>10850</c:v>
                </c:pt>
                <c:pt idx="124">
                  <c:v>10850</c:v>
                </c:pt>
                <c:pt idx="125">
                  <c:v>10850</c:v>
                </c:pt>
                <c:pt idx="126">
                  <c:v>10850</c:v>
                </c:pt>
                <c:pt idx="127">
                  <c:v>10850</c:v>
                </c:pt>
                <c:pt idx="128">
                  <c:v>10850</c:v>
                </c:pt>
                <c:pt idx="129">
                  <c:v>10850</c:v>
                </c:pt>
                <c:pt idx="130">
                  <c:v>10850</c:v>
                </c:pt>
                <c:pt idx="131">
                  <c:v>10850</c:v>
                </c:pt>
                <c:pt idx="132">
                  <c:v>10850</c:v>
                </c:pt>
                <c:pt idx="133">
                  <c:v>10850</c:v>
                </c:pt>
                <c:pt idx="134">
                  <c:v>10850</c:v>
                </c:pt>
                <c:pt idx="135">
                  <c:v>10850</c:v>
                </c:pt>
                <c:pt idx="136">
                  <c:v>10850</c:v>
                </c:pt>
                <c:pt idx="137">
                  <c:v>10850</c:v>
                </c:pt>
                <c:pt idx="138">
                  <c:v>10850</c:v>
                </c:pt>
                <c:pt idx="139">
                  <c:v>10850</c:v>
                </c:pt>
                <c:pt idx="140">
                  <c:v>10850</c:v>
                </c:pt>
                <c:pt idx="141">
                  <c:v>10850</c:v>
                </c:pt>
                <c:pt idx="142">
                  <c:v>10850</c:v>
                </c:pt>
                <c:pt idx="143">
                  <c:v>10850</c:v>
                </c:pt>
                <c:pt idx="144">
                  <c:v>10850</c:v>
                </c:pt>
                <c:pt idx="145">
                  <c:v>10850</c:v>
                </c:pt>
                <c:pt idx="146">
                  <c:v>10850</c:v>
                </c:pt>
                <c:pt idx="147">
                  <c:v>10850</c:v>
                </c:pt>
                <c:pt idx="148">
                  <c:v>10850</c:v>
                </c:pt>
                <c:pt idx="149">
                  <c:v>10850</c:v>
                </c:pt>
                <c:pt idx="150">
                  <c:v>10850</c:v>
                </c:pt>
                <c:pt idx="151">
                  <c:v>10850</c:v>
                </c:pt>
                <c:pt idx="152">
                  <c:v>10850</c:v>
                </c:pt>
                <c:pt idx="153">
                  <c:v>10850</c:v>
                </c:pt>
                <c:pt idx="154">
                  <c:v>10850</c:v>
                </c:pt>
                <c:pt idx="155">
                  <c:v>10850</c:v>
                </c:pt>
                <c:pt idx="156">
                  <c:v>10850</c:v>
                </c:pt>
                <c:pt idx="157">
                  <c:v>10850</c:v>
                </c:pt>
                <c:pt idx="158">
                  <c:v>10850</c:v>
                </c:pt>
                <c:pt idx="159">
                  <c:v>10850</c:v>
                </c:pt>
                <c:pt idx="160">
                  <c:v>10850</c:v>
                </c:pt>
                <c:pt idx="161">
                  <c:v>10850</c:v>
                </c:pt>
                <c:pt idx="162">
                  <c:v>10850</c:v>
                </c:pt>
                <c:pt idx="163">
                  <c:v>10850</c:v>
                </c:pt>
                <c:pt idx="164">
                  <c:v>10850</c:v>
                </c:pt>
                <c:pt idx="165">
                  <c:v>10850</c:v>
                </c:pt>
                <c:pt idx="166">
                  <c:v>10850</c:v>
                </c:pt>
                <c:pt idx="167">
                  <c:v>10850</c:v>
                </c:pt>
                <c:pt idx="168">
                  <c:v>10850</c:v>
                </c:pt>
                <c:pt idx="169">
                  <c:v>10850</c:v>
                </c:pt>
                <c:pt idx="170">
                  <c:v>10850</c:v>
                </c:pt>
                <c:pt idx="171">
                  <c:v>10850</c:v>
                </c:pt>
                <c:pt idx="172">
                  <c:v>10850</c:v>
                </c:pt>
                <c:pt idx="173">
                  <c:v>10850</c:v>
                </c:pt>
                <c:pt idx="174">
                  <c:v>10850</c:v>
                </c:pt>
                <c:pt idx="175">
                  <c:v>10850</c:v>
                </c:pt>
                <c:pt idx="176">
                  <c:v>10850</c:v>
                </c:pt>
                <c:pt idx="177">
                  <c:v>10850</c:v>
                </c:pt>
                <c:pt idx="178">
                  <c:v>10850</c:v>
                </c:pt>
                <c:pt idx="179">
                  <c:v>10850</c:v>
                </c:pt>
                <c:pt idx="180">
                  <c:v>10850</c:v>
                </c:pt>
                <c:pt idx="181">
                  <c:v>10850</c:v>
                </c:pt>
                <c:pt idx="182">
                  <c:v>10850</c:v>
                </c:pt>
                <c:pt idx="183">
                  <c:v>10850</c:v>
                </c:pt>
                <c:pt idx="184">
                  <c:v>10850</c:v>
                </c:pt>
                <c:pt idx="185">
                  <c:v>10850</c:v>
                </c:pt>
                <c:pt idx="186">
                  <c:v>10850</c:v>
                </c:pt>
                <c:pt idx="187">
                  <c:v>10850</c:v>
                </c:pt>
                <c:pt idx="188">
                  <c:v>10850</c:v>
                </c:pt>
                <c:pt idx="189">
                  <c:v>10850</c:v>
                </c:pt>
                <c:pt idx="190">
                  <c:v>10850</c:v>
                </c:pt>
                <c:pt idx="191">
                  <c:v>10850</c:v>
                </c:pt>
                <c:pt idx="192">
                  <c:v>10850</c:v>
                </c:pt>
                <c:pt idx="193">
                  <c:v>10850</c:v>
                </c:pt>
                <c:pt idx="194">
                  <c:v>10850</c:v>
                </c:pt>
                <c:pt idx="195">
                  <c:v>10850</c:v>
                </c:pt>
                <c:pt idx="196">
                  <c:v>10850</c:v>
                </c:pt>
                <c:pt idx="197">
                  <c:v>10850</c:v>
                </c:pt>
                <c:pt idx="198">
                  <c:v>10850</c:v>
                </c:pt>
                <c:pt idx="199">
                  <c:v>10850</c:v>
                </c:pt>
                <c:pt idx="200">
                  <c:v>10850</c:v>
                </c:pt>
                <c:pt idx="201">
                  <c:v>10850</c:v>
                </c:pt>
                <c:pt idx="202">
                  <c:v>10850</c:v>
                </c:pt>
                <c:pt idx="203">
                  <c:v>10850</c:v>
                </c:pt>
                <c:pt idx="204">
                  <c:v>10850</c:v>
                </c:pt>
                <c:pt idx="205">
                  <c:v>10850</c:v>
                </c:pt>
                <c:pt idx="206">
                  <c:v>10850</c:v>
                </c:pt>
                <c:pt idx="207">
                  <c:v>10850</c:v>
                </c:pt>
                <c:pt idx="208">
                  <c:v>10850</c:v>
                </c:pt>
                <c:pt idx="209">
                  <c:v>10850</c:v>
                </c:pt>
                <c:pt idx="210">
                  <c:v>10850</c:v>
                </c:pt>
                <c:pt idx="211">
                  <c:v>10850</c:v>
                </c:pt>
                <c:pt idx="212">
                  <c:v>10850</c:v>
                </c:pt>
                <c:pt idx="213">
                  <c:v>10850</c:v>
                </c:pt>
                <c:pt idx="214">
                  <c:v>10850</c:v>
                </c:pt>
                <c:pt idx="215">
                  <c:v>10850</c:v>
                </c:pt>
                <c:pt idx="216">
                  <c:v>10850</c:v>
                </c:pt>
                <c:pt idx="217">
                  <c:v>10850</c:v>
                </c:pt>
                <c:pt idx="218">
                  <c:v>10850</c:v>
                </c:pt>
                <c:pt idx="219">
                  <c:v>11250</c:v>
                </c:pt>
                <c:pt idx="220">
                  <c:v>11250</c:v>
                </c:pt>
                <c:pt idx="221">
                  <c:v>11250</c:v>
                </c:pt>
                <c:pt idx="222">
                  <c:v>11250</c:v>
                </c:pt>
                <c:pt idx="223">
                  <c:v>11250</c:v>
                </c:pt>
                <c:pt idx="224">
                  <c:v>11250</c:v>
                </c:pt>
                <c:pt idx="225">
                  <c:v>11250</c:v>
                </c:pt>
                <c:pt idx="226">
                  <c:v>11250</c:v>
                </c:pt>
                <c:pt idx="227">
                  <c:v>11250</c:v>
                </c:pt>
                <c:pt idx="228">
                  <c:v>11250</c:v>
                </c:pt>
                <c:pt idx="229">
                  <c:v>11250</c:v>
                </c:pt>
                <c:pt idx="230">
                  <c:v>11250</c:v>
                </c:pt>
                <c:pt idx="231">
                  <c:v>11250</c:v>
                </c:pt>
                <c:pt idx="232">
                  <c:v>11250</c:v>
                </c:pt>
                <c:pt idx="233">
                  <c:v>11250</c:v>
                </c:pt>
                <c:pt idx="234">
                  <c:v>11250</c:v>
                </c:pt>
                <c:pt idx="235">
                  <c:v>11250</c:v>
                </c:pt>
                <c:pt idx="236">
                  <c:v>11250</c:v>
                </c:pt>
                <c:pt idx="237">
                  <c:v>11250</c:v>
                </c:pt>
                <c:pt idx="238">
                  <c:v>11250</c:v>
                </c:pt>
                <c:pt idx="239">
                  <c:v>11250</c:v>
                </c:pt>
                <c:pt idx="240">
                  <c:v>11250</c:v>
                </c:pt>
                <c:pt idx="241">
                  <c:v>11250</c:v>
                </c:pt>
                <c:pt idx="242">
                  <c:v>11250</c:v>
                </c:pt>
                <c:pt idx="243">
                  <c:v>11250</c:v>
                </c:pt>
                <c:pt idx="244">
                  <c:v>11250</c:v>
                </c:pt>
                <c:pt idx="245">
                  <c:v>11250</c:v>
                </c:pt>
                <c:pt idx="246">
                  <c:v>11500</c:v>
                </c:pt>
                <c:pt idx="247">
                  <c:v>11500</c:v>
                </c:pt>
                <c:pt idx="248">
                  <c:v>11500</c:v>
                </c:pt>
                <c:pt idx="249">
                  <c:v>11500</c:v>
                </c:pt>
                <c:pt idx="250">
                  <c:v>11500</c:v>
                </c:pt>
                <c:pt idx="251">
                  <c:v>11500</c:v>
                </c:pt>
                <c:pt idx="252">
                  <c:v>11500</c:v>
                </c:pt>
                <c:pt idx="253">
                  <c:v>11500</c:v>
                </c:pt>
                <c:pt idx="254">
                  <c:v>11500</c:v>
                </c:pt>
                <c:pt idx="255">
                  <c:v>11500</c:v>
                </c:pt>
                <c:pt idx="256">
                  <c:v>11500</c:v>
                </c:pt>
                <c:pt idx="257">
                  <c:v>11500</c:v>
                </c:pt>
                <c:pt idx="258">
                  <c:v>11500</c:v>
                </c:pt>
                <c:pt idx="259">
                  <c:v>11500</c:v>
                </c:pt>
                <c:pt idx="260">
                  <c:v>11500</c:v>
                </c:pt>
                <c:pt idx="261">
                  <c:v>11500</c:v>
                </c:pt>
                <c:pt idx="262">
                  <c:v>11500</c:v>
                </c:pt>
                <c:pt idx="263">
                  <c:v>11500</c:v>
                </c:pt>
                <c:pt idx="264">
                  <c:v>11500</c:v>
                </c:pt>
                <c:pt idx="265">
                  <c:v>11500</c:v>
                </c:pt>
                <c:pt idx="266">
                  <c:v>11500</c:v>
                </c:pt>
                <c:pt idx="267">
                  <c:v>11500</c:v>
                </c:pt>
                <c:pt idx="268">
                  <c:v>11500</c:v>
                </c:pt>
                <c:pt idx="269">
                  <c:v>11500</c:v>
                </c:pt>
                <c:pt idx="270">
                  <c:v>11500</c:v>
                </c:pt>
                <c:pt idx="271">
                  <c:v>11500</c:v>
                </c:pt>
                <c:pt idx="272">
                  <c:v>11500</c:v>
                </c:pt>
                <c:pt idx="273">
                  <c:v>11500</c:v>
                </c:pt>
                <c:pt idx="274">
                  <c:v>11500</c:v>
                </c:pt>
                <c:pt idx="275">
                  <c:v>11500</c:v>
                </c:pt>
                <c:pt idx="276">
                  <c:v>11500</c:v>
                </c:pt>
                <c:pt idx="277">
                  <c:v>11500</c:v>
                </c:pt>
                <c:pt idx="278">
                  <c:v>11500</c:v>
                </c:pt>
                <c:pt idx="279">
                  <c:v>11500</c:v>
                </c:pt>
                <c:pt idx="280">
                  <c:v>11500</c:v>
                </c:pt>
                <c:pt idx="281">
                  <c:v>11500</c:v>
                </c:pt>
                <c:pt idx="282">
                  <c:v>11500</c:v>
                </c:pt>
                <c:pt idx="283">
                  <c:v>11500</c:v>
                </c:pt>
                <c:pt idx="284">
                  <c:v>11500</c:v>
                </c:pt>
                <c:pt idx="285">
                  <c:v>11500</c:v>
                </c:pt>
                <c:pt idx="286">
                  <c:v>11500</c:v>
                </c:pt>
                <c:pt idx="287">
                  <c:v>11500</c:v>
                </c:pt>
                <c:pt idx="288">
                  <c:v>11500</c:v>
                </c:pt>
                <c:pt idx="289">
                  <c:v>11500</c:v>
                </c:pt>
                <c:pt idx="290">
                  <c:v>11500</c:v>
                </c:pt>
                <c:pt idx="291">
                  <c:v>11500</c:v>
                </c:pt>
                <c:pt idx="292">
                  <c:v>11500</c:v>
                </c:pt>
                <c:pt idx="293">
                  <c:v>11500</c:v>
                </c:pt>
                <c:pt idx="294">
                  <c:v>11500</c:v>
                </c:pt>
                <c:pt idx="295">
                  <c:v>11500</c:v>
                </c:pt>
                <c:pt idx="296">
                  <c:v>11500</c:v>
                </c:pt>
                <c:pt idx="297">
                  <c:v>11500</c:v>
                </c:pt>
                <c:pt idx="298">
                  <c:v>11500</c:v>
                </c:pt>
                <c:pt idx="299">
                  <c:v>11500</c:v>
                </c:pt>
                <c:pt idx="300">
                  <c:v>11500</c:v>
                </c:pt>
                <c:pt idx="301">
                  <c:v>11500</c:v>
                </c:pt>
                <c:pt idx="302">
                  <c:v>11500</c:v>
                </c:pt>
                <c:pt idx="303">
                  <c:v>11500</c:v>
                </c:pt>
                <c:pt idx="304">
                  <c:v>11500</c:v>
                </c:pt>
                <c:pt idx="305">
                  <c:v>11500</c:v>
                </c:pt>
                <c:pt idx="306">
                  <c:v>11500</c:v>
                </c:pt>
                <c:pt idx="307">
                  <c:v>11500</c:v>
                </c:pt>
                <c:pt idx="308">
                  <c:v>11500</c:v>
                </c:pt>
                <c:pt idx="309">
                  <c:v>11500</c:v>
                </c:pt>
                <c:pt idx="310">
                  <c:v>11500</c:v>
                </c:pt>
                <c:pt idx="311">
                  <c:v>11500</c:v>
                </c:pt>
                <c:pt idx="312">
                  <c:v>11500</c:v>
                </c:pt>
                <c:pt idx="313">
                  <c:v>11500</c:v>
                </c:pt>
                <c:pt idx="314">
                  <c:v>11500</c:v>
                </c:pt>
                <c:pt idx="315">
                  <c:v>11500</c:v>
                </c:pt>
                <c:pt idx="316">
                  <c:v>11500</c:v>
                </c:pt>
                <c:pt idx="317">
                  <c:v>12750</c:v>
                </c:pt>
                <c:pt idx="318">
                  <c:v>12750</c:v>
                </c:pt>
                <c:pt idx="319">
                  <c:v>12750</c:v>
                </c:pt>
                <c:pt idx="320">
                  <c:v>12750</c:v>
                </c:pt>
                <c:pt idx="321">
                  <c:v>12750</c:v>
                </c:pt>
                <c:pt idx="322">
                  <c:v>12750</c:v>
                </c:pt>
                <c:pt idx="323">
                  <c:v>12750</c:v>
                </c:pt>
                <c:pt idx="324">
                  <c:v>12750</c:v>
                </c:pt>
                <c:pt idx="325">
                  <c:v>12750</c:v>
                </c:pt>
                <c:pt idx="326">
                  <c:v>12750</c:v>
                </c:pt>
                <c:pt idx="327">
                  <c:v>12750</c:v>
                </c:pt>
                <c:pt idx="328">
                  <c:v>12750</c:v>
                </c:pt>
                <c:pt idx="329">
                  <c:v>12750</c:v>
                </c:pt>
                <c:pt idx="330">
                  <c:v>12750</c:v>
                </c:pt>
                <c:pt idx="331">
                  <c:v>13250</c:v>
                </c:pt>
                <c:pt idx="332">
                  <c:v>13250</c:v>
                </c:pt>
                <c:pt idx="333">
                  <c:v>13250</c:v>
                </c:pt>
                <c:pt idx="334">
                  <c:v>13250</c:v>
                </c:pt>
                <c:pt idx="335">
                  <c:v>13250</c:v>
                </c:pt>
                <c:pt idx="336">
                  <c:v>13250</c:v>
                </c:pt>
                <c:pt idx="337">
                  <c:v>13250</c:v>
                </c:pt>
                <c:pt idx="338">
                  <c:v>13250</c:v>
                </c:pt>
                <c:pt idx="339">
                  <c:v>13250</c:v>
                </c:pt>
                <c:pt idx="340">
                  <c:v>13500</c:v>
                </c:pt>
                <c:pt idx="341">
                  <c:v>13500</c:v>
                </c:pt>
                <c:pt idx="342">
                  <c:v>13500</c:v>
                </c:pt>
                <c:pt idx="343">
                  <c:v>13500</c:v>
                </c:pt>
                <c:pt idx="344">
                  <c:v>13500</c:v>
                </c:pt>
                <c:pt idx="345">
                  <c:v>13500</c:v>
                </c:pt>
                <c:pt idx="346">
                  <c:v>13500</c:v>
                </c:pt>
                <c:pt idx="347">
                  <c:v>13500</c:v>
                </c:pt>
                <c:pt idx="348">
                  <c:v>13500</c:v>
                </c:pt>
                <c:pt idx="349">
                  <c:v>13500</c:v>
                </c:pt>
                <c:pt idx="350">
                  <c:v>13500</c:v>
                </c:pt>
                <c:pt idx="351">
                  <c:v>13500</c:v>
                </c:pt>
                <c:pt idx="352">
                  <c:v>13500</c:v>
                </c:pt>
                <c:pt idx="353">
                  <c:v>13500</c:v>
                </c:pt>
                <c:pt idx="354">
                  <c:v>15200</c:v>
                </c:pt>
                <c:pt idx="355">
                  <c:v>15200</c:v>
                </c:pt>
                <c:pt idx="356">
                  <c:v>15200</c:v>
                </c:pt>
                <c:pt idx="357">
                  <c:v>15200</c:v>
                </c:pt>
                <c:pt idx="358">
                  <c:v>15200</c:v>
                </c:pt>
                <c:pt idx="359">
                  <c:v>15200</c:v>
                </c:pt>
                <c:pt idx="360">
                  <c:v>15200</c:v>
                </c:pt>
                <c:pt idx="361">
                  <c:v>15200</c:v>
                </c:pt>
                <c:pt idx="362">
                  <c:v>15200</c:v>
                </c:pt>
                <c:pt idx="363">
                  <c:v>15200</c:v>
                </c:pt>
                <c:pt idx="364">
                  <c:v>15200</c:v>
                </c:pt>
                <c:pt idx="365">
                  <c:v>15200</c:v>
                </c:pt>
                <c:pt idx="366">
                  <c:v>15200</c:v>
                </c:pt>
                <c:pt idx="367">
                  <c:v>15200</c:v>
                </c:pt>
                <c:pt idx="368">
                  <c:v>15200</c:v>
                </c:pt>
                <c:pt idx="369">
                  <c:v>15200</c:v>
                </c:pt>
                <c:pt idx="370">
                  <c:v>15200</c:v>
                </c:pt>
                <c:pt idx="371">
                  <c:v>15200</c:v>
                </c:pt>
                <c:pt idx="372">
                  <c:v>16400</c:v>
                </c:pt>
                <c:pt idx="373">
                  <c:v>16400</c:v>
                </c:pt>
                <c:pt idx="374">
                  <c:v>16400</c:v>
                </c:pt>
                <c:pt idx="375">
                  <c:v>16400</c:v>
                </c:pt>
                <c:pt idx="376">
                  <c:v>16400</c:v>
                </c:pt>
                <c:pt idx="377">
                  <c:v>16400</c:v>
                </c:pt>
                <c:pt idx="378">
                  <c:v>16400</c:v>
                </c:pt>
                <c:pt idx="379">
                  <c:v>16400</c:v>
                </c:pt>
                <c:pt idx="380">
                  <c:v>16400</c:v>
                </c:pt>
                <c:pt idx="381">
                  <c:v>16400</c:v>
                </c:pt>
                <c:pt idx="382">
                  <c:v>16400</c:v>
                </c:pt>
                <c:pt idx="383">
                  <c:v>16400</c:v>
                </c:pt>
                <c:pt idx="384">
                  <c:v>16400</c:v>
                </c:pt>
                <c:pt idx="385">
                  <c:v>16400</c:v>
                </c:pt>
                <c:pt idx="386">
                  <c:v>16400</c:v>
                </c:pt>
                <c:pt idx="387">
                  <c:v>16400</c:v>
                </c:pt>
                <c:pt idx="388">
                  <c:v>16400</c:v>
                </c:pt>
                <c:pt idx="389">
                  <c:v>16400</c:v>
                </c:pt>
                <c:pt idx="390">
                  <c:v>16850</c:v>
                </c:pt>
                <c:pt idx="391">
                  <c:v>16850</c:v>
                </c:pt>
                <c:pt idx="392">
                  <c:v>16850</c:v>
                </c:pt>
                <c:pt idx="393">
                  <c:v>16850</c:v>
                </c:pt>
                <c:pt idx="394">
                  <c:v>16850</c:v>
                </c:pt>
                <c:pt idx="395">
                  <c:v>16850</c:v>
                </c:pt>
                <c:pt idx="396">
                  <c:v>16850</c:v>
                </c:pt>
                <c:pt idx="397">
                  <c:v>16850</c:v>
                </c:pt>
                <c:pt idx="398">
                  <c:v>16850</c:v>
                </c:pt>
                <c:pt idx="399">
                  <c:v>16850</c:v>
                </c:pt>
                <c:pt idx="400">
                  <c:v>16850</c:v>
                </c:pt>
                <c:pt idx="401">
                  <c:v>16850</c:v>
                </c:pt>
                <c:pt idx="402">
                  <c:v>16850</c:v>
                </c:pt>
                <c:pt idx="403">
                  <c:v>16850</c:v>
                </c:pt>
                <c:pt idx="404">
                  <c:v>16850</c:v>
                </c:pt>
                <c:pt idx="405">
                  <c:v>16850</c:v>
                </c:pt>
                <c:pt idx="406">
                  <c:v>16850</c:v>
                </c:pt>
                <c:pt idx="407">
                  <c:v>16850</c:v>
                </c:pt>
                <c:pt idx="408">
                  <c:v>17000</c:v>
                </c:pt>
                <c:pt idx="409">
                  <c:v>17000</c:v>
                </c:pt>
                <c:pt idx="410">
                  <c:v>17000</c:v>
                </c:pt>
                <c:pt idx="411">
                  <c:v>17000</c:v>
                </c:pt>
                <c:pt idx="412">
                  <c:v>17000</c:v>
                </c:pt>
                <c:pt idx="413">
                  <c:v>17000</c:v>
                </c:pt>
                <c:pt idx="414">
                  <c:v>17000</c:v>
                </c:pt>
                <c:pt idx="415">
                  <c:v>17000</c:v>
                </c:pt>
                <c:pt idx="416">
                  <c:v>17000</c:v>
                </c:pt>
                <c:pt idx="417">
                  <c:v>17000</c:v>
                </c:pt>
                <c:pt idx="418">
                  <c:v>17000</c:v>
                </c:pt>
                <c:pt idx="419">
                  <c:v>17000</c:v>
                </c:pt>
                <c:pt idx="420">
                  <c:v>17000</c:v>
                </c:pt>
                <c:pt idx="421">
                  <c:v>17000</c:v>
                </c:pt>
                <c:pt idx="422">
                  <c:v>17350</c:v>
                </c:pt>
                <c:pt idx="423">
                  <c:v>17350</c:v>
                </c:pt>
                <c:pt idx="424">
                  <c:v>17350</c:v>
                </c:pt>
                <c:pt idx="425">
                  <c:v>17350</c:v>
                </c:pt>
                <c:pt idx="426">
                  <c:v>17350</c:v>
                </c:pt>
                <c:pt idx="427">
                  <c:v>17350</c:v>
                </c:pt>
                <c:pt idx="428">
                  <c:v>17350</c:v>
                </c:pt>
                <c:pt idx="429">
                  <c:v>17350</c:v>
                </c:pt>
                <c:pt idx="430">
                  <c:v>17350</c:v>
                </c:pt>
                <c:pt idx="431">
                  <c:v>17350</c:v>
                </c:pt>
                <c:pt idx="432">
                  <c:v>17350</c:v>
                </c:pt>
                <c:pt idx="433">
                  <c:v>17350</c:v>
                </c:pt>
                <c:pt idx="434">
                  <c:v>17350</c:v>
                </c:pt>
                <c:pt idx="435">
                  <c:v>17350</c:v>
                </c:pt>
                <c:pt idx="436">
                  <c:v>17350</c:v>
                </c:pt>
                <c:pt idx="437">
                  <c:v>17350</c:v>
                </c:pt>
                <c:pt idx="438">
                  <c:v>17350</c:v>
                </c:pt>
                <c:pt idx="439">
                  <c:v>17250</c:v>
                </c:pt>
                <c:pt idx="440">
                  <c:v>17250</c:v>
                </c:pt>
                <c:pt idx="441">
                  <c:v>17250</c:v>
                </c:pt>
                <c:pt idx="442">
                  <c:v>17250</c:v>
                </c:pt>
                <c:pt idx="443">
                  <c:v>17250</c:v>
                </c:pt>
                <c:pt idx="444">
                  <c:v>17250</c:v>
                </c:pt>
                <c:pt idx="445">
                  <c:v>17250</c:v>
                </c:pt>
                <c:pt idx="446">
                  <c:v>17250</c:v>
                </c:pt>
                <c:pt idx="447">
                  <c:v>17250</c:v>
                </c:pt>
                <c:pt idx="448">
                  <c:v>17250</c:v>
                </c:pt>
                <c:pt idx="449">
                  <c:v>17250</c:v>
                </c:pt>
                <c:pt idx="450">
                  <c:v>17250</c:v>
                </c:pt>
                <c:pt idx="451">
                  <c:v>17250</c:v>
                </c:pt>
                <c:pt idx="452">
                  <c:v>17250</c:v>
                </c:pt>
                <c:pt idx="453">
                  <c:v>17250</c:v>
                </c:pt>
                <c:pt idx="454">
                  <c:v>17250</c:v>
                </c:pt>
                <c:pt idx="455">
                  <c:v>17250</c:v>
                </c:pt>
                <c:pt idx="456">
                  <c:v>17250</c:v>
                </c:pt>
                <c:pt idx="457">
                  <c:v>17250</c:v>
                </c:pt>
                <c:pt idx="458">
                  <c:v>17250</c:v>
                </c:pt>
                <c:pt idx="459">
                  <c:v>17250</c:v>
                </c:pt>
                <c:pt idx="460">
                  <c:v>17250</c:v>
                </c:pt>
                <c:pt idx="461">
                  <c:v>17250</c:v>
                </c:pt>
                <c:pt idx="462">
                  <c:v>17250</c:v>
                </c:pt>
                <c:pt idx="463">
                  <c:v>17250</c:v>
                </c:pt>
                <c:pt idx="464">
                  <c:v>17250</c:v>
                </c:pt>
                <c:pt idx="465">
                  <c:v>17250</c:v>
                </c:pt>
                <c:pt idx="466">
                  <c:v>17250</c:v>
                </c:pt>
                <c:pt idx="467">
                  <c:v>17250</c:v>
                </c:pt>
                <c:pt idx="468">
                  <c:v>17250</c:v>
                </c:pt>
                <c:pt idx="469">
                  <c:v>17250</c:v>
                </c:pt>
                <c:pt idx="470">
                  <c:v>17250</c:v>
                </c:pt>
                <c:pt idx="471">
                  <c:v>19000</c:v>
                </c:pt>
                <c:pt idx="472">
                  <c:v>19000</c:v>
                </c:pt>
                <c:pt idx="473">
                  <c:v>19000</c:v>
                </c:pt>
                <c:pt idx="474">
                  <c:v>19000</c:v>
                </c:pt>
                <c:pt idx="475">
                  <c:v>19000</c:v>
                </c:pt>
                <c:pt idx="476">
                  <c:v>19000</c:v>
                </c:pt>
                <c:pt idx="477">
                  <c:v>19000</c:v>
                </c:pt>
                <c:pt idx="478">
                  <c:v>19000</c:v>
                </c:pt>
                <c:pt idx="479">
                  <c:v>19000</c:v>
                </c:pt>
                <c:pt idx="480">
                  <c:v>19000</c:v>
                </c:pt>
                <c:pt idx="481">
                  <c:v>19000</c:v>
                </c:pt>
                <c:pt idx="482">
                  <c:v>19000</c:v>
                </c:pt>
                <c:pt idx="483">
                  <c:v>19000</c:v>
                </c:pt>
                <c:pt idx="484">
                  <c:v>19000</c:v>
                </c:pt>
                <c:pt idx="485">
                  <c:v>19000</c:v>
                </c:pt>
                <c:pt idx="486">
                  <c:v>19000</c:v>
                </c:pt>
                <c:pt idx="487">
                  <c:v>19000</c:v>
                </c:pt>
                <c:pt idx="488">
                  <c:v>19000</c:v>
                </c:pt>
                <c:pt idx="489">
                  <c:v>19000</c:v>
                </c:pt>
                <c:pt idx="490">
                  <c:v>19000</c:v>
                </c:pt>
                <c:pt idx="491">
                  <c:v>19000</c:v>
                </c:pt>
                <c:pt idx="492">
                  <c:v>19000</c:v>
                </c:pt>
                <c:pt idx="493">
                  <c:v>19000</c:v>
                </c:pt>
                <c:pt idx="494">
                  <c:v>19000</c:v>
                </c:pt>
                <c:pt idx="495">
                  <c:v>19000</c:v>
                </c:pt>
                <c:pt idx="496">
                  <c:v>19000</c:v>
                </c:pt>
                <c:pt idx="497">
                  <c:v>19000</c:v>
                </c:pt>
                <c:pt idx="498">
                  <c:v>19000</c:v>
                </c:pt>
                <c:pt idx="499">
                  <c:v>19000</c:v>
                </c:pt>
                <c:pt idx="500">
                  <c:v>19000</c:v>
                </c:pt>
                <c:pt idx="501">
                  <c:v>19000</c:v>
                </c:pt>
                <c:pt idx="502">
                  <c:v>19000</c:v>
                </c:pt>
                <c:pt idx="503">
                  <c:v>19000</c:v>
                </c:pt>
                <c:pt idx="504">
                  <c:v>19000</c:v>
                </c:pt>
                <c:pt idx="505">
                  <c:v>19000</c:v>
                </c:pt>
                <c:pt idx="506">
                  <c:v>19000</c:v>
                </c:pt>
                <c:pt idx="507">
                  <c:v>19000</c:v>
                </c:pt>
                <c:pt idx="508">
                  <c:v>19000</c:v>
                </c:pt>
                <c:pt idx="509">
                  <c:v>19000</c:v>
                </c:pt>
                <c:pt idx="510">
                  <c:v>19000</c:v>
                </c:pt>
                <c:pt idx="511">
                  <c:v>19000</c:v>
                </c:pt>
                <c:pt idx="512">
                  <c:v>19000</c:v>
                </c:pt>
                <c:pt idx="513">
                  <c:v>19000</c:v>
                </c:pt>
                <c:pt idx="514">
                  <c:v>19000</c:v>
                </c:pt>
                <c:pt idx="515">
                  <c:v>19000</c:v>
                </c:pt>
                <c:pt idx="516">
                  <c:v>19000</c:v>
                </c:pt>
                <c:pt idx="517">
                  <c:v>19000</c:v>
                </c:pt>
                <c:pt idx="518">
                  <c:v>19000</c:v>
                </c:pt>
                <c:pt idx="519">
                  <c:v>19000</c:v>
                </c:pt>
                <c:pt idx="520">
                  <c:v>19000</c:v>
                </c:pt>
                <c:pt idx="521">
                  <c:v>19000</c:v>
                </c:pt>
                <c:pt idx="522">
                  <c:v>19000</c:v>
                </c:pt>
                <c:pt idx="523">
                  <c:v>19000</c:v>
                </c:pt>
                <c:pt idx="524">
                  <c:v>19000</c:v>
                </c:pt>
                <c:pt idx="525">
                  <c:v>19000</c:v>
                </c:pt>
                <c:pt idx="526">
                  <c:v>19000</c:v>
                </c:pt>
                <c:pt idx="527">
                  <c:v>19000</c:v>
                </c:pt>
                <c:pt idx="528">
                  <c:v>19000</c:v>
                </c:pt>
                <c:pt idx="529">
                  <c:v>19000</c:v>
                </c:pt>
                <c:pt idx="530">
                  <c:v>19000</c:v>
                </c:pt>
                <c:pt idx="531">
                  <c:v>19000</c:v>
                </c:pt>
                <c:pt idx="532">
                  <c:v>19000</c:v>
                </c:pt>
                <c:pt idx="533">
                  <c:v>19000</c:v>
                </c:pt>
                <c:pt idx="534">
                  <c:v>19000</c:v>
                </c:pt>
                <c:pt idx="535">
                  <c:v>19000</c:v>
                </c:pt>
                <c:pt idx="536">
                  <c:v>19000</c:v>
                </c:pt>
                <c:pt idx="537">
                  <c:v>19000</c:v>
                </c:pt>
                <c:pt idx="538">
                  <c:v>19000</c:v>
                </c:pt>
                <c:pt idx="539">
                  <c:v>19000</c:v>
                </c:pt>
                <c:pt idx="540">
                  <c:v>19000</c:v>
                </c:pt>
                <c:pt idx="541">
                  <c:v>19000</c:v>
                </c:pt>
                <c:pt idx="542">
                  <c:v>19000</c:v>
                </c:pt>
                <c:pt idx="543">
                  <c:v>19000</c:v>
                </c:pt>
                <c:pt idx="544">
                  <c:v>19000</c:v>
                </c:pt>
                <c:pt idx="545">
                  <c:v>19000</c:v>
                </c:pt>
                <c:pt idx="546">
                  <c:v>19000</c:v>
                </c:pt>
                <c:pt idx="547">
                  <c:v>19000</c:v>
                </c:pt>
                <c:pt idx="548">
                  <c:v>19000</c:v>
                </c:pt>
                <c:pt idx="549">
                  <c:v>19000</c:v>
                </c:pt>
                <c:pt idx="550">
                  <c:v>19000</c:v>
                </c:pt>
                <c:pt idx="551">
                  <c:v>19000</c:v>
                </c:pt>
                <c:pt idx="552">
                  <c:v>19000</c:v>
                </c:pt>
                <c:pt idx="553">
                  <c:v>19000</c:v>
                </c:pt>
                <c:pt idx="554">
                  <c:v>19000</c:v>
                </c:pt>
                <c:pt idx="555">
                  <c:v>19000</c:v>
                </c:pt>
                <c:pt idx="556">
                  <c:v>19000</c:v>
                </c:pt>
                <c:pt idx="557">
                  <c:v>19000</c:v>
                </c:pt>
                <c:pt idx="558">
                  <c:v>19000</c:v>
                </c:pt>
                <c:pt idx="559">
                  <c:v>19000</c:v>
                </c:pt>
                <c:pt idx="560">
                  <c:v>19000</c:v>
                </c:pt>
                <c:pt idx="561">
                  <c:v>19000</c:v>
                </c:pt>
                <c:pt idx="562">
                  <c:v>19000</c:v>
                </c:pt>
                <c:pt idx="563">
                  <c:v>19000</c:v>
                </c:pt>
                <c:pt idx="564">
                  <c:v>19000</c:v>
                </c:pt>
                <c:pt idx="565">
                  <c:v>19000</c:v>
                </c:pt>
                <c:pt idx="566">
                  <c:v>19000</c:v>
                </c:pt>
                <c:pt idx="567">
                  <c:v>19000</c:v>
                </c:pt>
                <c:pt idx="568">
                  <c:v>19000</c:v>
                </c:pt>
                <c:pt idx="569">
                  <c:v>19000</c:v>
                </c:pt>
                <c:pt idx="570">
                  <c:v>19000</c:v>
                </c:pt>
                <c:pt idx="571">
                  <c:v>19000</c:v>
                </c:pt>
                <c:pt idx="572">
                  <c:v>19000</c:v>
                </c:pt>
                <c:pt idx="573">
                  <c:v>19000</c:v>
                </c:pt>
                <c:pt idx="574">
                  <c:v>19000</c:v>
                </c:pt>
                <c:pt idx="575">
                  <c:v>19000</c:v>
                </c:pt>
                <c:pt idx="576">
                  <c:v>19000</c:v>
                </c:pt>
                <c:pt idx="577">
                  <c:v>19000</c:v>
                </c:pt>
                <c:pt idx="578">
                  <c:v>19000</c:v>
                </c:pt>
                <c:pt idx="579">
                  <c:v>19000</c:v>
                </c:pt>
                <c:pt idx="580">
                  <c:v>19000</c:v>
                </c:pt>
                <c:pt idx="581">
                  <c:v>19000</c:v>
                </c:pt>
                <c:pt idx="582">
                  <c:v>19000</c:v>
                </c:pt>
                <c:pt idx="583">
                  <c:v>19000</c:v>
                </c:pt>
                <c:pt idx="584">
                  <c:v>19000</c:v>
                </c:pt>
                <c:pt idx="585">
                  <c:v>19000</c:v>
                </c:pt>
                <c:pt idx="586">
                  <c:v>19000</c:v>
                </c:pt>
                <c:pt idx="587">
                  <c:v>19000</c:v>
                </c:pt>
                <c:pt idx="588">
                  <c:v>19000</c:v>
                </c:pt>
                <c:pt idx="589">
                  <c:v>19000</c:v>
                </c:pt>
                <c:pt idx="590">
                  <c:v>19000</c:v>
                </c:pt>
                <c:pt idx="591">
                  <c:v>19000</c:v>
                </c:pt>
                <c:pt idx="592">
                  <c:v>19000</c:v>
                </c:pt>
                <c:pt idx="593">
                  <c:v>19000</c:v>
                </c:pt>
                <c:pt idx="594">
                  <c:v>19000</c:v>
                </c:pt>
                <c:pt idx="595">
                  <c:v>19000</c:v>
                </c:pt>
                <c:pt idx="596">
                  <c:v>19000</c:v>
                </c:pt>
                <c:pt idx="597">
                  <c:v>19000</c:v>
                </c:pt>
                <c:pt idx="598">
                  <c:v>19000</c:v>
                </c:pt>
                <c:pt idx="599">
                  <c:v>19000</c:v>
                </c:pt>
                <c:pt idx="600">
                  <c:v>19000</c:v>
                </c:pt>
                <c:pt idx="601">
                  <c:v>19000</c:v>
                </c:pt>
                <c:pt idx="602">
                  <c:v>19000</c:v>
                </c:pt>
                <c:pt idx="603">
                  <c:v>19000</c:v>
                </c:pt>
                <c:pt idx="604">
                  <c:v>19000</c:v>
                </c:pt>
                <c:pt idx="605">
                  <c:v>19000</c:v>
                </c:pt>
                <c:pt idx="606">
                  <c:v>19000</c:v>
                </c:pt>
                <c:pt idx="607">
                  <c:v>19000</c:v>
                </c:pt>
                <c:pt idx="608">
                  <c:v>19000</c:v>
                </c:pt>
                <c:pt idx="609">
                  <c:v>19000</c:v>
                </c:pt>
                <c:pt idx="610">
                  <c:v>19000</c:v>
                </c:pt>
                <c:pt idx="611">
                  <c:v>19000</c:v>
                </c:pt>
                <c:pt idx="612">
                  <c:v>19000</c:v>
                </c:pt>
                <c:pt idx="613">
                  <c:v>19000</c:v>
                </c:pt>
                <c:pt idx="614">
                  <c:v>19000</c:v>
                </c:pt>
                <c:pt idx="615">
                  <c:v>19000</c:v>
                </c:pt>
                <c:pt idx="616">
                  <c:v>19000</c:v>
                </c:pt>
                <c:pt idx="617">
                  <c:v>19000</c:v>
                </c:pt>
                <c:pt idx="618">
                  <c:v>19000</c:v>
                </c:pt>
                <c:pt idx="619">
                  <c:v>19000</c:v>
                </c:pt>
                <c:pt idx="620">
                  <c:v>19000</c:v>
                </c:pt>
                <c:pt idx="621">
                  <c:v>19000</c:v>
                </c:pt>
                <c:pt idx="622">
                  <c:v>19000</c:v>
                </c:pt>
                <c:pt idx="623">
                  <c:v>19000</c:v>
                </c:pt>
                <c:pt idx="624">
                  <c:v>19000</c:v>
                </c:pt>
                <c:pt idx="625">
                  <c:v>19000</c:v>
                </c:pt>
                <c:pt idx="626">
                  <c:v>19000</c:v>
                </c:pt>
                <c:pt idx="627">
                  <c:v>19000</c:v>
                </c:pt>
                <c:pt idx="628">
                  <c:v>19000</c:v>
                </c:pt>
                <c:pt idx="629">
                  <c:v>19000</c:v>
                </c:pt>
                <c:pt idx="630">
                  <c:v>19000</c:v>
                </c:pt>
                <c:pt idx="631">
                  <c:v>19000</c:v>
                </c:pt>
                <c:pt idx="632">
                  <c:v>19000</c:v>
                </c:pt>
                <c:pt idx="633">
                  <c:v>19000</c:v>
                </c:pt>
                <c:pt idx="634">
                  <c:v>19000</c:v>
                </c:pt>
                <c:pt idx="635">
                  <c:v>19000</c:v>
                </c:pt>
                <c:pt idx="636">
                  <c:v>19000</c:v>
                </c:pt>
                <c:pt idx="637">
                  <c:v>19000</c:v>
                </c:pt>
                <c:pt idx="638">
                  <c:v>19000</c:v>
                </c:pt>
                <c:pt idx="639">
                  <c:v>19000</c:v>
                </c:pt>
                <c:pt idx="640">
                  <c:v>19000</c:v>
                </c:pt>
                <c:pt idx="641">
                  <c:v>19000</c:v>
                </c:pt>
                <c:pt idx="642">
                  <c:v>19000</c:v>
                </c:pt>
                <c:pt idx="643">
                  <c:v>19000</c:v>
                </c:pt>
                <c:pt idx="644">
                  <c:v>19000</c:v>
                </c:pt>
                <c:pt idx="645">
                  <c:v>19000</c:v>
                </c:pt>
                <c:pt idx="646">
                  <c:v>19000</c:v>
                </c:pt>
                <c:pt idx="647">
                  <c:v>19000</c:v>
                </c:pt>
                <c:pt idx="648">
                  <c:v>19000</c:v>
                </c:pt>
                <c:pt idx="649">
                  <c:v>19000</c:v>
                </c:pt>
                <c:pt idx="650">
                  <c:v>19000</c:v>
                </c:pt>
                <c:pt idx="651">
                  <c:v>19000</c:v>
                </c:pt>
                <c:pt idx="652">
                  <c:v>19000</c:v>
                </c:pt>
                <c:pt idx="653">
                  <c:v>19000</c:v>
                </c:pt>
                <c:pt idx="654">
                  <c:v>19000</c:v>
                </c:pt>
                <c:pt idx="655">
                  <c:v>19000</c:v>
                </c:pt>
                <c:pt idx="656">
                  <c:v>19000</c:v>
                </c:pt>
                <c:pt idx="657">
                  <c:v>19000</c:v>
                </c:pt>
                <c:pt idx="658">
                  <c:v>19000</c:v>
                </c:pt>
                <c:pt idx="659">
                  <c:v>19000</c:v>
                </c:pt>
                <c:pt idx="660">
                  <c:v>19000</c:v>
                </c:pt>
                <c:pt idx="661">
                  <c:v>19000</c:v>
                </c:pt>
                <c:pt idx="662">
                  <c:v>19000</c:v>
                </c:pt>
                <c:pt idx="663">
                  <c:v>19000</c:v>
                </c:pt>
                <c:pt idx="664">
                  <c:v>19000</c:v>
                </c:pt>
                <c:pt idx="665">
                  <c:v>19000</c:v>
                </c:pt>
                <c:pt idx="666">
                  <c:v>19000</c:v>
                </c:pt>
                <c:pt idx="667">
                  <c:v>19000</c:v>
                </c:pt>
                <c:pt idx="668">
                  <c:v>19000</c:v>
                </c:pt>
                <c:pt idx="669">
                  <c:v>19000</c:v>
                </c:pt>
                <c:pt idx="670">
                  <c:v>19000</c:v>
                </c:pt>
                <c:pt idx="671">
                  <c:v>19000</c:v>
                </c:pt>
                <c:pt idx="672">
                  <c:v>19000</c:v>
                </c:pt>
                <c:pt idx="673">
                  <c:v>19000</c:v>
                </c:pt>
                <c:pt idx="674">
                  <c:v>19000</c:v>
                </c:pt>
                <c:pt idx="675">
                  <c:v>19000</c:v>
                </c:pt>
                <c:pt idx="676">
                  <c:v>19000</c:v>
                </c:pt>
                <c:pt idx="677">
                  <c:v>19000</c:v>
                </c:pt>
                <c:pt idx="678">
                  <c:v>19000</c:v>
                </c:pt>
                <c:pt idx="679">
                  <c:v>19000</c:v>
                </c:pt>
                <c:pt idx="680">
                  <c:v>19000</c:v>
                </c:pt>
                <c:pt idx="681">
                  <c:v>19000</c:v>
                </c:pt>
                <c:pt idx="682">
                  <c:v>19000</c:v>
                </c:pt>
                <c:pt idx="683">
                  <c:v>19000</c:v>
                </c:pt>
                <c:pt idx="684">
                  <c:v>19000</c:v>
                </c:pt>
                <c:pt idx="685">
                  <c:v>19000</c:v>
                </c:pt>
                <c:pt idx="686">
                  <c:v>19000</c:v>
                </c:pt>
                <c:pt idx="687">
                  <c:v>19000</c:v>
                </c:pt>
                <c:pt idx="688">
                  <c:v>19000</c:v>
                </c:pt>
                <c:pt idx="689">
                  <c:v>19000</c:v>
                </c:pt>
                <c:pt idx="690">
                  <c:v>19000</c:v>
                </c:pt>
                <c:pt idx="691">
                  <c:v>19000</c:v>
                </c:pt>
                <c:pt idx="692">
                  <c:v>19000</c:v>
                </c:pt>
                <c:pt idx="693">
                  <c:v>19000</c:v>
                </c:pt>
                <c:pt idx="694">
                  <c:v>19000</c:v>
                </c:pt>
                <c:pt idx="695">
                  <c:v>19000</c:v>
                </c:pt>
                <c:pt idx="696">
                  <c:v>19000</c:v>
                </c:pt>
                <c:pt idx="697">
                  <c:v>19000</c:v>
                </c:pt>
                <c:pt idx="698">
                  <c:v>19000</c:v>
                </c:pt>
                <c:pt idx="699">
                  <c:v>19000</c:v>
                </c:pt>
                <c:pt idx="700">
                  <c:v>19000</c:v>
                </c:pt>
                <c:pt idx="701">
                  <c:v>19000</c:v>
                </c:pt>
                <c:pt idx="702">
                  <c:v>19000</c:v>
                </c:pt>
                <c:pt idx="703">
                  <c:v>19000</c:v>
                </c:pt>
                <c:pt idx="704">
                  <c:v>19000</c:v>
                </c:pt>
                <c:pt idx="705">
                  <c:v>19000</c:v>
                </c:pt>
                <c:pt idx="706">
                  <c:v>19000</c:v>
                </c:pt>
                <c:pt idx="707">
                  <c:v>19000</c:v>
                </c:pt>
                <c:pt idx="708">
                  <c:v>19000</c:v>
                </c:pt>
                <c:pt idx="709">
                  <c:v>19000</c:v>
                </c:pt>
                <c:pt idx="710">
                  <c:v>19000</c:v>
                </c:pt>
                <c:pt idx="711">
                  <c:v>19000</c:v>
                </c:pt>
                <c:pt idx="712">
                  <c:v>19000</c:v>
                </c:pt>
                <c:pt idx="713">
                  <c:v>19000</c:v>
                </c:pt>
                <c:pt idx="714">
                  <c:v>19000</c:v>
                </c:pt>
                <c:pt idx="715">
                  <c:v>19000</c:v>
                </c:pt>
                <c:pt idx="716">
                  <c:v>19000</c:v>
                </c:pt>
                <c:pt idx="717">
                  <c:v>19000</c:v>
                </c:pt>
                <c:pt idx="718">
                  <c:v>19000</c:v>
                </c:pt>
                <c:pt idx="719">
                  <c:v>19000</c:v>
                </c:pt>
                <c:pt idx="720">
                  <c:v>19000</c:v>
                </c:pt>
                <c:pt idx="721">
                  <c:v>19000</c:v>
                </c:pt>
                <c:pt idx="722">
                  <c:v>19000</c:v>
                </c:pt>
                <c:pt idx="723">
                  <c:v>19000</c:v>
                </c:pt>
                <c:pt idx="724">
                  <c:v>19000</c:v>
                </c:pt>
                <c:pt idx="725">
                  <c:v>19000</c:v>
                </c:pt>
                <c:pt idx="726">
                  <c:v>19000</c:v>
                </c:pt>
                <c:pt idx="727">
                  <c:v>19000</c:v>
                </c:pt>
                <c:pt idx="728">
                  <c:v>19000</c:v>
                </c:pt>
                <c:pt idx="729">
                  <c:v>19000</c:v>
                </c:pt>
                <c:pt idx="730">
                  <c:v>19000</c:v>
                </c:pt>
                <c:pt idx="731">
                  <c:v>19000</c:v>
                </c:pt>
                <c:pt idx="732">
                  <c:v>19000</c:v>
                </c:pt>
                <c:pt idx="733">
                  <c:v>19000</c:v>
                </c:pt>
                <c:pt idx="734">
                  <c:v>19000</c:v>
                </c:pt>
                <c:pt idx="735">
                  <c:v>19000</c:v>
                </c:pt>
                <c:pt idx="736">
                  <c:v>19000</c:v>
                </c:pt>
                <c:pt idx="737">
                  <c:v>19000</c:v>
                </c:pt>
                <c:pt idx="738">
                  <c:v>19000</c:v>
                </c:pt>
                <c:pt idx="739">
                  <c:v>19000</c:v>
                </c:pt>
                <c:pt idx="740">
                  <c:v>19000</c:v>
                </c:pt>
                <c:pt idx="741">
                  <c:v>19000</c:v>
                </c:pt>
                <c:pt idx="742">
                  <c:v>19000</c:v>
                </c:pt>
                <c:pt idx="743">
                  <c:v>19000</c:v>
                </c:pt>
                <c:pt idx="744">
                  <c:v>19000</c:v>
                </c:pt>
                <c:pt idx="745">
                  <c:v>19000</c:v>
                </c:pt>
                <c:pt idx="746">
                  <c:v>19000</c:v>
                </c:pt>
                <c:pt idx="747">
                  <c:v>19000</c:v>
                </c:pt>
                <c:pt idx="748">
                  <c:v>19000</c:v>
                </c:pt>
                <c:pt idx="749">
                  <c:v>19000</c:v>
                </c:pt>
                <c:pt idx="750">
                  <c:v>19000</c:v>
                </c:pt>
                <c:pt idx="751">
                  <c:v>19000</c:v>
                </c:pt>
                <c:pt idx="752">
                  <c:v>19000</c:v>
                </c:pt>
                <c:pt idx="753">
                  <c:v>19000</c:v>
                </c:pt>
                <c:pt idx="754">
                  <c:v>19000</c:v>
                </c:pt>
                <c:pt idx="755">
                  <c:v>19000</c:v>
                </c:pt>
                <c:pt idx="756">
                  <c:v>19000</c:v>
                </c:pt>
                <c:pt idx="757">
                  <c:v>19000</c:v>
                </c:pt>
                <c:pt idx="758">
                  <c:v>19000</c:v>
                </c:pt>
                <c:pt idx="759">
                  <c:v>19000</c:v>
                </c:pt>
                <c:pt idx="760">
                  <c:v>19000</c:v>
                </c:pt>
                <c:pt idx="761">
                  <c:v>19000</c:v>
                </c:pt>
                <c:pt idx="762">
                  <c:v>19000</c:v>
                </c:pt>
                <c:pt idx="763">
                  <c:v>19000</c:v>
                </c:pt>
                <c:pt idx="764">
                  <c:v>19000</c:v>
                </c:pt>
                <c:pt idx="765">
                  <c:v>19000</c:v>
                </c:pt>
                <c:pt idx="766">
                  <c:v>19000</c:v>
                </c:pt>
                <c:pt idx="767">
                  <c:v>19000</c:v>
                </c:pt>
                <c:pt idx="768">
                  <c:v>19000</c:v>
                </c:pt>
                <c:pt idx="769">
                  <c:v>19000</c:v>
                </c:pt>
                <c:pt idx="770">
                  <c:v>19000</c:v>
                </c:pt>
                <c:pt idx="771">
                  <c:v>19000</c:v>
                </c:pt>
                <c:pt idx="772">
                  <c:v>19000</c:v>
                </c:pt>
                <c:pt idx="773">
                  <c:v>19000</c:v>
                </c:pt>
                <c:pt idx="774">
                  <c:v>19000</c:v>
                </c:pt>
                <c:pt idx="775">
                  <c:v>19000</c:v>
                </c:pt>
                <c:pt idx="776">
                  <c:v>19000</c:v>
                </c:pt>
                <c:pt idx="777">
                  <c:v>19000</c:v>
                </c:pt>
                <c:pt idx="778">
                  <c:v>19000</c:v>
                </c:pt>
                <c:pt idx="779">
                  <c:v>19000</c:v>
                </c:pt>
                <c:pt idx="780">
                  <c:v>19000</c:v>
                </c:pt>
                <c:pt idx="781">
                  <c:v>19000</c:v>
                </c:pt>
                <c:pt idx="782">
                  <c:v>19000</c:v>
                </c:pt>
                <c:pt idx="783">
                  <c:v>19000</c:v>
                </c:pt>
                <c:pt idx="784">
                  <c:v>19000</c:v>
                </c:pt>
                <c:pt idx="785">
                  <c:v>19000</c:v>
                </c:pt>
                <c:pt idx="786">
                  <c:v>18750</c:v>
                </c:pt>
                <c:pt idx="787">
                  <c:v>18750</c:v>
                </c:pt>
                <c:pt idx="788">
                  <c:v>17333</c:v>
                </c:pt>
                <c:pt idx="789">
                  <c:v>17333</c:v>
                </c:pt>
                <c:pt idx="790">
                  <c:v>17333</c:v>
                </c:pt>
                <c:pt idx="791">
                  <c:v>17333</c:v>
                </c:pt>
                <c:pt idx="792">
                  <c:v>17333</c:v>
                </c:pt>
                <c:pt idx="793">
                  <c:v>17333</c:v>
                </c:pt>
                <c:pt idx="794">
                  <c:v>17333</c:v>
                </c:pt>
                <c:pt idx="795">
                  <c:v>17333</c:v>
                </c:pt>
                <c:pt idx="796">
                  <c:v>17333</c:v>
                </c:pt>
                <c:pt idx="797">
                  <c:v>17333</c:v>
                </c:pt>
                <c:pt idx="798">
                  <c:v>17333</c:v>
                </c:pt>
                <c:pt idx="799">
                  <c:v>17333</c:v>
                </c:pt>
                <c:pt idx="800">
                  <c:v>17333</c:v>
                </c:pt>
                <c:pt idx="801">
                  <c:v>17333</c:v>
                </c:pt>
                <c:pt idx="802">
                  <c:v>17333</c:v>
                </c:pt>
                <c:pt idx="803">
                  <c:v>17333</c:v>
                </c:pt>
                <c:pt idx="804">
                  <c:v>17333</c:v>
                </c:pt>
                <c:pt idx="805">
                  <c:v>17333</c:v>
                </c:pt>
                <c:pt idx="806">
                  <c:v>17333</c:v>
                </c:pt>
                <c:pt idx="807">
                  <c:v>17333</c:v>
                </c:pt>
                <c:pt idx="808">
                  <c:v>17333</c:v>
                </c:pt>
                <c:pt idx="809">
                  <c:v>17333</c:v>
                </c:pt>
                <c:pt idx="810">
                  <c:v>17333</c:v>
                </c:pt>
                <c:pt idx="811">
                  <c:v>17333</c:v>
                </c:pt>
                <c:pt idx="812">
                  <c:v>17333</c:v>
                </c:pt>
                <c:pt idx="813">
                  <c:v>15000</c:v>
                </c:pt>
                <c:pt idx="814">
                  <c:v>15000</c:v>
                </c:pt>
                <c:pt idx="815">
                  <c:v>15000</c:v>
                </c:pt>
                <c:pt idx="816">
                  <c:v>15000</c:v>
                </c:pt>
                <c:pt idx="817">
                  <c:v>15000</c:v>
                </c:pt>
                <c:pt idx="818">
                  <c:v>15000</c:v>
                </c:pt>
                <c:pt idx="819">
                  <c:v>15000</c:v>
                </c:pt>
                <c:pt idx="820">
                  <c:v>13000</c:v>
                </c:pt>
                <c:pt idx="821">
                  <c:v>13000</c:v>
                </c:pt>
                <c:pt idx="822">
                  <c:v>13000</c:v>
                </c:pt>
                <c:pt idx="823">
                  <c:v>13000</c:v>
                </c:pt>
                <c:pt idx="824">
                  <c:v>13000</c:v>
                </c:pt>
                <c:pt idx="825">
                  <c:v>13000</c:v>
                </c:pt>
                <c:pt idx="826">
                  <c:v>13000</c:v>
                </c:pt>
                <c:pt idx="827">
                  <c:v>13000</c:v>
                </c:pt>
                <c:pt idx="828">
                  <c:v>13000</c:v>
                </c:pt>
                <c:pt idx="829">
                  <c:v>13000</c:v>
                </c:pt>
                <c:pt idx="830">
                  <c:v>13000</c:v>
                </c:pt>
                <c:pt idx="831">
                  <c:v>13000</c:v>
                </c:pt>
                <c:pt idx="832">
                  <c:v>13000</c:v>
                </c:pt>
                <c:pt idx="833">
                  <c:v>13000</c:v>
                </c:pt>
                <c:pt idx="834">
                  <c:v>13000</c:v>
                </c:pt>
                <c:pt idx="835">
                  <c:v>13000</c:v>
                </c:pt>
                <c:pt idx="836">
                  <c:v>13000</c:v>
                </c:pt>
                <c:pt idx="837">
                  <c:v>13000</c:v>
                </c:pt>
                <c:pt idx="838">
                  <c:v>13000</c:v>
                </c:pt>
                <c:pt idx="839">
                  <c:v>13000</c:v>
                </c:pt>
                <c:pt idx="840">
                  <c:v>13000</c:v>
                </c:pt>
                <c:pt idx="841">
                  <c:v>13000</c:v>
                </c:pt>
                <c:pt idx="842">
                  <c:v>13000</c:v>
                </c:pt>
                <c:pt idx="843">
                  <c:v>13000</c:v>
                </c:pt>
                <c:pt idx="844">
                  <c:v>13000</c:v>
                </c:pt>
                <c:pt idx="845">
                  <c:v>13000</c:v>
                </c:pt>
                <c:pt idx="846">
                  <c:v>13000</c:v>
                </c:pt>
                <c:pt idx="847">
                  <c:v>13000</c:v>
                </c:pt>
                <c:pt idx="848">
                  <c:v>13000</c:v>
                </c:pt>
                <c:pt idx="849">
                  <c:v>13000</c:v>
                </c:pt>
                <c:pt idx="850">
                  <c:v>13000</c:v>
                </c:pt>
                <c:pt idx="851">
                  <c:v>13000</c:v>
                </c:pt>
                <c:pt idx="852">
                  <c:v>13000</c:v>
                </c:pt>
                <c:pt idx="853">
                  <c:v>13000</c:v>
                </c:pt>
                <c:pt idx="854">
                  <c:v>13000</c:v>
                </c:pt>
                <c:pt idx="855">
                  <c:v>13000</c:v>
                </c:pt>
                <c:pt idx="856">
                  <c:v>13000</c:v>
                </c:pt>
                <c:pt idx="857">
                  <c:v>13000</c:v>
                </c:pt>
                <c:pt idx="858">
                  <c:v>13000</c:v>
                </c:pt>
                <c:pt idx="859">
                  <c:v>13000</c:v>
                </c:pt>
                <c:pt idx="860">
                  <c:v>13000</c:v>
                </c:pt>
                <c:pt idx="861">
                  <c:v>13000</c:v>
                </c:pt>
                <c:pt idx="862">
                  <c:v>13000</c:v>
                </c:pt>
                <c:pt idx="863">
                  <c:v>13000</c:v>
                </c:pt>
                <c:pt idx="864">
                  <c:v>13000</c:v>
                </c:pt>
                <c:pt idx="865">
                  <c:v>13000</c:v>
                </c:pt>
                <c:pt idx="866">
                  <c:v>13000</c:v>
                </c:pt>
                <c:pt idx="867">
                  <c:v>13000</c:v>
                </c:pt>
                <c:pt idx="868">
                  <c:v>13000</c:v>
                </c:pt>
                <c:pt idx="869">
                  <c:v>13000</c:v>
                </c:pt>
                <c:pt idx="870">
                  <c:v>13000</c:v>
                </c:pt>
                <c:pt idx="871">
                  <c:v>13000</c:v>
                </c:pt>
                <c:pt idx="872">
                  <c:v>13000</c:v>
                </c:pt>
                <c:pt idx="873">
                  <c:v>13000</c:v>
                </c:pt>
                <c:pt idx="874">
                  <c:v>13000</c:v>
                </c:pt>
                <c:pt idx="875">
                  <c:v>13000</c:v>
                </c:pt>
                <c:pt idx="876">
                  <c:v>13000</c:v>
                </c:pt>
                <c:pt idx="877">
                  <c:v>13000</c:v>
                </c:pt>
                <c:pt idx="878">
                  <c:v>13000</c:v>
                </c:pt>
                <c:pt idx="879">
                  <c:v>13000</c:v>
                </c:pt>
                <c:pt idx="880">
                  <c:v>13000</c:v>
                </c:pt>
                <c:pt idx="881">
                  <c:v>13000</c:v>
                </c:pt>
                <c:pt idx="882">
                  <c:v>13000</c:v>
                </c:pt>
                <c:pt idx="883">
                  <c:v>13000</c:v>
                </c:pt>
                <c:pt idx="884">
                  <c:v>13000</c:v>
                </c:pt>
                <c:pt idx="885">
                  <c:v>13000</c:v>
                </c:pt>
                <c:pt idx="886">
                  <c:v>13000</c:v>
                </c:pt>
                <c:pt idx="887">
                  <c:v>13000</c:v>
                </c:pt>
                <c:pt idx="888">
                  <c:v>13000</c:v>
                </c:pt>
                <c:pt idx="889">
                  <c:v>13000</c:v>
                </c:pt>
                <c:pt idx="890">
                  <c:v>13000</c:v>
                </c:pt>
                <c:pt idx="891">
                  <c:v>13000</c:v>
                </c:pt>
                <c:pt idx="892">
                  <c:v>13000</c:v>
                </c:pt>
                <c:pt idx="893">
                  <c:v>13000</c:v>
                </c:pt>
                <c:pt idx="894">
                  <c:v>13000</c:v>
                </c:pt>
                <c:pt idx="895">
                  <c:v>13000</c:v>
                </c:pt>
                <c:pt idx="896">
                  <c:v>13000</c:v>
                </c:pt>
                <c:pt idx="897">
                  <c:v>13000</c:v>
                </c:pt>
                <c:pt idx="898">
                  <c:v>13000</c:v>
                </c:pt>
                <c:pt idx="899">
                  <c:v>13000</c:v>
                </c:pt>
                <c:pt idx="900">
                  <c:v>13000</c:v>
                </c:pt>
                <c:pt idx="901">
                  <c:v>13000</c:v>
                </c:pt>
                <c:pt idx="902">
                  <c:v>13000</c:v>
                </c:pt>
                <c:pt idx="903">
                  <c:v>13000</c:v>
                </c:pt>
                <c:pt idx="904">
                  <c:v>13000</c:v>
                </c:pt>
                <c:pt idx="905">
                  <c:v>13000</c:v>
                </c:pt>
                <c:pt idx="906">
                  <c:v>13000</c:v>
                </c:pt>
                <c:pt idx="907">
                  <c:v>13000</c:v>
                </c:pt>
                <c:pt idx="908">
                  <c:v>13000</c:v>
                </c:pt>
                <c:pt idx="909">
                  <c:v>13000</c:v>
                </c:pt>
                <c:pt idx="910">
                  <c:v>13000</c:v>
                </c:pt>
                <c:pt idx="911">
                  <c:v>13000</c:v>
                </c:pt>
                <c:pt idx="912">
                  <c:v>13000</c:v>
                </c:pt>
                <c:pt idx="913">
                  <c:v>13000</c:v>
                </c:pt>
                <c:pt idx="914">
                  <c:v>13000</c:v>
                </c:pt>
                <c:pt idx="915">
                  <c:v>13000</c:v>
                </c:pt>
                <c:pt idx="916">
                  <c:v>13000</c:v>
                </c:pt>
                <c:pt idx="917">
                  <c:v>13000</c:v>
                </c:pt>
                <c:pt idx="918">
                  <c:v>13000</c:v>
                </c:pt>
                <c:pt idx="919">
                  <c:v>13000</c:v>
                </c:pt>
                <c:pt idx="920">
                  <c:v>13000</c:v>
                </c:pt>
                <c:pt idx="921">
                  <c:v>13000</c:v>
                </c:pt>
                <c:pt idx="922">
                  <c:v>13000</c:v>
                </c:pt>
              </c:numCache>
            </c:numRef>
          </c:val>
          <c:smooth val="0"/>
          <c:extLst>
            <c:ext xmlns:c16="http://schemas.microsoft.com/office/drawing/2014/chart" uri="{C3380CC4-5D6E-409C-BE32-E72D297353CC}">
              <c16:uniqueId val="{00000001-83D2-427D-B0DB-D9DD225DE657}"/>
            </c:ext>
          </c:extLst>
        </c:ser>
        <c:ser>
          <c:idx val="2"/>
          <c:order val="2"/>
          <c:tx>
            <c:strRef>
              <c:f>百川电极!$W$2</c:f>
              <c:strCache>
                <c:ptCount val="1"/>
                <c:pt idx="0">
                  <c:v>华中炭电极1272mm</c:v>
                </c:pt>
              </c:strCache>
            </c:strRef>
          </c:tx>
          <c:spPr>
            <a:ln w="28575" cap="rnd">
              <a:solidFill>
                <a:schemeClr val="accent3"/>
              </a:solidFill>
              <a:round/>
            </a:ln>
            <a:effectLst/>
          </c:spPr>
          <c:marker>
            <c:symbol val="none"/>
          </c:marker>
          <c:cat>
            <c:numRef>
              <c:f>百川电极!$T$3:$T$925</c:f>
              <c:numCache>
                <c:formatCode>yyyy\-mm\-dd</c:formatCode>
                <c:ptCount val="923"/>
                <c:pt idx="0">
                  <c:v>45478</c:v>
                </c:pt>
                <c:pt idx="1">
                  <c:v>45477</c:v>
                </c:pt>
                <c:pt idx="2">
                  <c:v>45476</c:v>
                </c:pt>
                <c:pt idx="3">
                  <c:v>45475</c:v>
                </c:pt>
                <c:pt idx="4">
                  <c:v>45474</c:v>
                </c:pt>
                <c:pt idx="5">
                  <c:v>45473</c:v>
                </c:pt>
                <c:pt idx="6">
                  <c:v>45472</c:v>
                </c:pt>
                <c:pt idx="7">
                  <c:v>45471</c:v>
                </c:pt>
                <c:pt idx="8">
                  <c:v>45470</c:v>
                </c:pt>
                <c:pt idx="9">
                  <c:v>45469</c:v>
                </c:pt>
                <c:pt idx="10">
                  <c:v>45468</c:v>
                </c:pt>
                <c:pt idx="11">
                  <c:v>45467</c:v>
                </c:pt>
                <c:pt idx="12">
                  <c:v>45466</c:v>
                </c:pt>
                <c:pt idx="13">
                  <c:v>45465</c:v>
                </c:pt>
                <c:pt idx="14">
                  <c:v>45464</c:v>
                </c:pt>
                <c:pt idx="15">
                  <c:v>45463</c:v>
                </c:pt>
                <c:pt idx="16">
                  <c:v>45462</c:v>
                </c:pt>
                <c:pt idx="17">
                  <c:v>45461</c:v>
                </c:pt>
                <c:pt idx="18">
                  <c:v>45460</c:v>
                </c:pt>
                <c:pt idx="19">
                  <c:v>45459</c:v>
                </c:pt>
                <c:pt idx="20">
                  <c:v>45458</c:v>
                </c:pt>
                <c:pt idx="21">
                  <c:v>45457</c:v>
                </c:pt>
                <c:pt idx="22">
                  <c:v>45456</c:v>
                </c:pt>
                <c:pt idx="23">
                  <c:v>45455</c:v>
                </c:pt>
                <c:pt idx="24">
                  <c:v>45454</c:v>
                </c:pt>
                <c:pt idx="25">
                  <c:v>45453</c:v>
                </c:pt>
                <c:pt idx="26">
                  <c:v>45452</c:v>
                </c:pt>
                <c:pt idx="27">
                  <c:v>45451</c:v>
                </c:pt>
                <c:pt idx="28">
                  <c:v>45450</c:v>
                </c:pt>
                <c:pt idx="29">
                  <c:v>45449</c:v>
                </c:pt>
                <c:pt idx="30">
                  <c:v>45448</c:v>
                </c:pt>
                <c:pt idx="31">
                  <c:v>45447</c:v>
                </c:pt>
                <c:pt idx="32">
                  <c:v>45446</c:v>
                </c:pt>
                <c:pt idx="33">
                  <c:v>45445</c:v>
                </c:pt>
                <c:pt idx="34">
                  <c:v>45444</c:v>
                </c:pt>
                <c:pt idx="35">
                  <c:v>45443</c:v>
                </c:pt>
                <c:pt idx="36">
                  <c:v>45442</c:v>
                </c:pt>
                <c:pt idx="37">
                  <c:v>45441</c:v>
                </c:pt>
                <c:pt idx="38">
                  <c:v>45440</c:v>
                </c:pt>
                <c:pt idx="39">
                  <c:v>45439</c:v>
                </c:pt>
                <c:pt idx="40">
                  <c:v>45438</c:v>
                </c:pt>
                <c:pt idx="41">
                  <c:v>45437</c:v>
                </c:pt>
                <c:pt idx="42">
                  <c:v>45436</c:v>
                </c:pt>
                <c:pt idx="43">
                  <c:v>45435</c:v>
                </c:pt>
                <c:pt idx="44">
                  <c:v>45434</c:v>
                </c:pt>
                <c:pt idx="45">
                  <c:v>45433</c:v>
                </c:pt>
                <c:pt idx="46">
                  <c:v>45432</c:v>
                </c:pt>
                <c:pt idx="47">
                  <c:v>45431</c:v>
                </c:pt>
                <c:pt idx="48">
                  <c:v>45430</c:v>
                </c:pt>
                <c:pt idx="49">
                  <c:v>45429</c:v>
                </c:pt>
                <c:pt idx="50">
                  <c:v>45428</c:v>
                </c:pt>
                <c:pt idx="51">
                  <c:v>45427</c:v>
                </c:pt>
                <c:pt idx="52">
                  <c:v>45426</c:v>
                </c:pt>
                <c:pt idx="53">
                  <c:v>45425</c:v>
                </c:pt>
                <c:pt idx="54">
                  <c:v>45424</c:v>
                </c:pt>
                <c:pt idx="55">
                  <c:v>45423</c:v>
                </c:pt>
                <c:pt idx="56">
                  <c:v>45422</c:v>
                </c:pt>
                <c:pt idx="57">
                  <c:v>45421</c:v>
                </c:pt>
                <c:pt idx="58">
                  <c:v>45420</c:v>
                </c:pt>
                <c:pt idx="59">
                  <c:v>45419</c:v>
                </c:pt>
                <c:pt idx="60">
                  <c:v>45418</c:v>
                </c:pt>
                <c:pt idx="61">
                  <c:v>45417</c:v>
                </c:pt>
                <c:pt idx="62">
                  <c:v>45416</c:v>
                </c:pt>
                <c:pt idx="63">
                  <c:v>45415</c:v>
                </c:pt>
                <c:pt idx="64">
                  <c:v>45414</c:v>
                </c:pt>
                <c:pt idx="65">
                  <c:v>45413</c:v>
                </c:pt>
                <c:pt idx="66">
                  <c:v>45412</c:v>
                </c:pt>
                <c:pt idx="67">
                  <c:v>45411</c:v>
                </c:pt>
                <c:pt idx="68">
                  <c:v>45410</c:v>
                </c:pt>
                <c:pt idx="69">
                  <c:v>45409</c:v>
                </c:pt>
                <c:pt idx="70">
                  <c:v>45408</c:v>
                </c:pt>
                <c:pt idx="71">
                  <c:v>45407</c:v>
                </c:pt>
                <c:pt idx="72">
                  <c:v>45406</c:v>
                </c:pt>
                <c:pt idx="73">
                  <c:v>45405</c:v>
                </c:pt>
                <c:pt idx="74">
                  <c:v>45404</c:v>
                </c:pt>
                <c:pt idx="75">
                  <c:v>45403</c:v>
                </c:pt>
                <c:pt idx="76">
                  <c:v>45402</c:v>
                </c:pt>
                <c:pt idx="77">
                  <c:v>45401</c:v>
                </c:pt>
                <c:pt idx="78">
                  <c:v>45400</c:v>
                </c:pt>
                <c:pt idx="79">
                  <c:v>45399</c:v>
                </c:pt>
                <c:pt idx="80">
                  <c:v>45398</c:v>
                </c:pt>
                <c:pt idx="81">
                  <c:v>45397</c:v>
                </c:pt>
                <c:pt idx="82">
                  <c:v>45396</c:v>
                </c:pt>
                <c:pt idx="83">
                  <c:v>45395</c:v>
                </c:pt>
                <c:pt idx="84">
                  <c:v>45394</c:v>
                </c:pt>
                <c:pt idx="85">
                  <c:v>45393</c:v>
                </c:pt>
                <c:pt idx="86">
                  <c:v>45392</c:v>
                </c:pt>
                <c:pt idx="87">
                  <c:v>45391</c:v>
                </c:pt>
                <c:pt idx="88">
                  <c:v>45390</c:v>
                </c:pt>
                <c:pt idx="89">
                  <c:v>45389</c:v>
                </c:pt>
                <c:pt idx="90">
                  <c:v>45388</c:v>
                </c:pt>
                <c:pt idx="91">
                  <c:v>45387</c:v>
                </c:pt>
                <c:pt idx="92">
                  <c:v>45386</c:v>
                </c:pt>
                <c:pt idx="93">
                  <c:v>45385</c:v>
                </c:pt>
                <c:pt idx="94">
                  <c:v>45384</c:v>
                </c:pt>
                <c:pt idx="95">
                  <c:v>45383</c:v>
                </c:pt>
                <c:pt idx="96">
                  <c:v>45382</c:v>
                </c:pt>
                <c:pt idx="97">
                  <c:v>45381</c:v>
                </c:pt>
                <c:pt idx="98">
                  <c:v>45380</c:v>
                </c:pt>
                <c:pt idx="99">
                  <c:v>45379</c:v>
                </c:pt>
                <c:pt idx="100">
                  <c:v>45378</c:v>
                </c:pt>
                <c:pt idx="101">
                  <c:v>45377</c:v>
                </c:pt>
                <c:pt idx="102">
                  <c:v>45376</c:v>
                </c:pt>
                <c:pt idx="103">
                  <c:v>45375</c:v>
                </c:pt>
                <c:pt idx="104">
                  <c:v>45374</c:v>
                </c:pt>
                <c:pt idx="105">
                  <c:v>45373</c:v>
                </c:pt>
                <c:pt idx="106">
                  <c:v>45372</c:v>
                </c:pt>
                <c:pt idx="107">
                  <c:v>45371</c:v>
                </c:pt>
                <c:pt idx="108">
                  <c:v>45370</c:v>
                </c:pt>
                <c:pt idx="109">
                  <c:v>45369</c:v>
                </c:pt>
                <c:pt idx="110">
                  <c:v>45368</c:v>
                </c:pt>
                <c:pt idx="111">
                  <c:v>45367</c:v>
                </c:pt>
                <c:pt idx="112">
                  <c:v>45366</c:v>
                </c:pt>
                <c:pt idx="113">
                  <c:v>45365</c:v>
                </c:pt>
                <c:pt idx="114">
                  <c:v>45364</c:v>
                </c:pt>
                <c:pt idx="115">
                  <c:v>45363</c:v>
                </c:pt>
                <c:pt idx="116">
                  <c:v>45362</c:v>
                </c:pt>
                <c:pt idx="117">
                  <c:v>45361</c:v>
                </c:pt>
                <c:pt idx="118">
                  <c:v>45360</c:v>
                </c:pt>
                <c:pt idx="119">
                  <c:v>45359</c:v>
                </c:pt>
                <c:pt idx="120">
                  <c:v>45358</c:v>
                </c:pt>
                <c:pt idx="121">
                  <c:v>45357</c:v>
                </c:pt>
                <c:pt idx="122">
                  <c:v>45356</c:v>
                </c:pt>
                <c:pt idx="123">
                  <c:v>45355</c:v>
                </c:pt>
                <c:pt idx="124">
                  <c:v>45354</c:v>
                </c:pt>
                <c:pt idx="125">
                  <c:v>45353</c:v>
                </c:pt>
                <c:pt idx="126">
                  <c:v>45352</c:v>
                </c:pt>
                <c:pt idx="127">
                  <c:v>45351</c:v>
                </c:pt>
                <c:pt idx="128">
                  <c:v>45350</c:v>
                </c:pt>
                <c:pt idx="129">
                  <c:v>45349</c:v>
                </c:pt>
                <c:pt idx="130">
                  <c:v>45348</c:v>
                </c:pt>
                <c:pt idx="131">
                  <c:v>45347</c:v>
                </c:pt>
                <c:pt idx="132">
                  <c:v>45346</c:v>
                </c:pt>
                <c:pt idx="133">
                  <c:v>45345</c:v>
                </c:pt>
                <c:pt idx="134">
                  <c:v>45344</c:v>
                </c:pt>
                <c:pt idx="135">
                  <c:v>45343</c:v>
                </c:pt>
                <c:pt idx="136">
                  <c:v>45342</c:v>
                </c:pt>
                <c:pt idx="137">
                  <c:v>45341</c:v>
                </c:pt>
                <c:pt idx="138">
                  <c:v>45340</c:v>
                </c:pt>
                <c:pt idx="139">
                  <c:v>45339</c:v>
                </c:pt>
                <c:pt idx="140">
                  <c:v>45338</c:v>
                </c:pt>
                <c:pt idx="141">
                  <c:v>45337</c:v>
                </c:pt>
                <c:pt idx="142">
                  <c:v>45336</c:v>
                </c:pt>
                <c:pt idx="143">
                  <c:v>45335</c:v>
                </c:pt>
                <c:pt idx="144">
                  <c:v>45334</c:v>
                </c:pt>
                <c:pt idx="145">
                  <c:v>45333</c:v>
                </c:pt>
                <c:pt idx="146">
                  <c:v>45332</c:v>
                </c:pt>
                <c:pt idx="147">
                  <c:v>45331</c:v>
                </c:pt>
                <c:pt idx="148">
                  <c:v>45330</c:v>
                </c:pt>
                <c:pt idx="149">
                  <c:v>45329</c:v>
                </c:pt>
                <c:pt idx="150">
                  <c:v>45328</c:v>
                </c:pt>
                <c:pt idx="151">
                  <c:v>45327</c:v>
                </c:pt>
                <c:pt idx="152">
                  <c:v>45326</c:v>
                </c:pt>
                <c:pt idx="153">
                  <c:v>45325</c:v>
                </c:pt>
                <c:pt idx="154">
                  <c:v>45324</c:v>
                </c:pt>
                <c:pt idx="155">
                  <c:v>45323</c:v>
                </c:pt>
                <c:pt idx="156">
                  <c:v>45322</c:v>
                </c:pt>
                <c:pt idx="157">
                  <c:v>45321</c:v>
                </c:pt>
                <c:pt idx="158">
                  <c:v>45320</c:v>
                </c:pt>
                <c:pt idx="159">
                  <c:v>45319</c:v>
                </c:pt>
                <c:pt idx="160">
                  <c:v>45318</c:v>
                </c:pt>
                <c:pt idx="161">
                  <c:v>45317</c:v>
                </c:pt>
                <c:pt idx="162">
                  <c:v>45316</c:v>
                </c:pt>
                <c:pt idx="163">
                  <c:v>45315</c:v>
                </c:pt>
                <c:pt idx="164">
                  <c:v>45314</c:v>
                </c:pt>
                <c:pt idx="165">
                  <c:v>45313</c:v>
                </c:pt>
                <c:pt idx="166">
                  <c:v>45312</c:v>
                </c:pt>
                <c:pt idx="167">
                  <c:v>45311</c:v>
                </c:pt>
                <c:pt idx="168">
                  <c:v>45310</c:v>
                </c:pt>
                <c:pt idx="169">
                  <c:v>45309</c:v>
                </c:pt>
                <c:pt idx="170">
                  <c:v>45308</c:v>
                </c:pt>
                <c:pt idx="171">
                  <c:v>45307</c:v>
                </c:pt>
                <c:pt idx="172">
                  <c:v>45306</c:v>
                </c:pt>
                <c:pt idx="173">
                  <c:v>45305</c:v>
                </c:pt>
                <c:pt idx="174">
                  <c:v>45304</c:v>
                </c:pt>
                <c:pt idx="175">
                  <c:v>45303</c:v>
                </c:pt>
                <c:pt idx="176">
                  <c:v>45302</c:v>
                </c:pt>
                <c:pt idx="177">
                  <c:v>45301</c:v>
                </c:pt>
                <c:pt idx="178">
                  <c:v>45300</c:v>
                </c:pt>
                <c:pt idx="179">
                  <c:v>45299</c:v>
                </c:pt>
                <c:pt idx="180">
                  <c:v>45298</c:v>
                </c:pt>
                <c:pt idx="181">
                  <c:v>45297</c:v>
                </c:pt>
                <c:pt idx="182">
                  <c:v>45296</c:v>
                </c:pt>
                <c:pt idx="183">
                  <c:v>45295</c:v>
                </c:pt>
                <c:pt idx="184">
                  <c:v>45294</c:v>
                </c:pt>
                <c:pt idx="185">
                  <c:v>45293</c:v>
                </c:pt>
                <c:pt idx="186">
                  <c:v>45292</c:v>
                </c:pt>
                <c:pt idx="187">
                  <c:v>45291</c:v>
                </c:pt>
                <c:pt idx="188">
                  <c:v>45290</c:v>
                </c:pt>
                <c:pt idx="189">
                  <c:v>45289</c:v>
                </c:pt>
                <c:pt idx="190">
                  <c:v>45288</c:v>
                </c:pt>
                <c:pt idx="191">
                  <c:v>45287</c:v>
                </c:pt>
                <c:pt idx="192">
                  <c:v>45286</c:v>
                </c:pt>
                <c:pt idx="193">
                  <c:v>45285</c:v>
                </c:pt>
                <c:pt idx="194">
                  <c:v>45284</c:v>
                </c:pt>
                <c:pt idx="195">
                  <c:v>45283</c:v>
                </c:pt>
                <c:pt idx="196">
                  <c:v>45282</c:v>
                </c:pt>
                <c:pt idx="197">
                  <c:v>45281</c:v>
                </c:pt>
                <c:pt idx="198">
                  <c:v>45280</c:v>
                </c:pt>
                <c:pt idx="199">
                  <c:v>45279</c:v>
                </c:pt>
                <c:pt idx="200">
                  <c:v>45278</c:v>
                </c:pt>
                <c:pt idx="201">
                  <c:v>45277</c:v>
                </c:pt>
                <c:pt idx="202">
                  <c:v>45276</c:v>
                </c:pt>
                <c:pt idx="203">
                  <c:v>45275</c:v>
                </c:pt>
                <c:pt idx="204">
                  <c:v>45274</c:v>
                </c:pt>
                <c:pt idx="205">
                  <c:v>45273</c:v>
                </c:pt>
                <c:pt idx="206">
                  <c:v>45272</c:v>
                </c:pt>
                <c:pt idx="207">
                  <c:v>45271</c:v>
                </c:pt>
                <c:pt idx="208">
                  <c:v>45270</c:v>
                </c:pt>
                <c:pt idx="209">
                  <c:v>45269</c:v>
                </c:pt>
                <c:pt idx="210">
                  <c:v>45268</c:v>
                </c:pt>
                <c:pt idx="211">
                  <c:v>45267</c:v>
                </c:pt>
                <c:pt idx="212">
                  <c:v>45266</c:v>
                </c:pt>
                <c:pt idx="213">
                  <c:v>45265</c:v>
                </c:pt>
                <c:pt idx="214">
                  <c:v>45264</c:v>
                </c:pt>
                <c:pt idx="215">
                  <c:v>45263</c:v>
                </c:pt>
                <c:pt idx="216">
                  <c:v>45262</c:v>
                </c:pt>
                <c:pt idx="217">
                  <c:v>45261</c:v>
                </c:pt>
                <c:pt idx="218">
                  <c:v>45260</c:v>
                </c:pt>
                <c:pt idx="219">
                  <c:v>45259</c:v>
                </c:pt>
                <c:pt idx="220">
                  <c:v>45258</c:v>
                </c:pt>
                <c:pt idx="221">
                  <c:v>45257</c:v>
                </c:pt>
                <c:pt idx="222">
                  <c:v>45256</c:v>
                </c:pt>
                <c:pt idx="223">
                  <c:v>45255</c:v>
                </c:pt>
                <c:pt idx="224">
                  <c:v>45254</c:v>
                </c:pt>
                <c:pt idx="225">
                  <c:v>45253</c:v>
                </c:pt>
                <c:pt idx="226">
                  <c:v>45252</c:v>
                </c:pt>
                <c:pt idx="227">
                  <c:v>45251</c:v>
                </c:pt>
                <c:pt idx="228">
                  <c:v>45250</c:v>
                </c:pt>
                <c:pt idx="229">
                  <c:v>45249</c:v>
                </c:pt>
                <c:pt idx="230">
                  <c:v>45248</c:v>
                </c:pt>
                <c:pt idx="231">
                  <c:v>45247</c:v>
                </c:pt>
                <c:pt idx="232">
                  <c:v>45246</c:v>
                </c:pt>
                <c:pt idx="233">
                  <c:v>45245</c:v>
                </c:pt>
                <c:pt idx="234">
                  <c:v>45244</c:v>
                </c:pt>
                <c:pt idx="235">
                  <c:v>45243</c:v>
                </c:pt>
                <c:pt idx="236">
                  <c:v>45242</c:v>
                </c:pt>
                <c:pt idx="237">
                  <c:v>45241</c:v>
                </c:pt>
                <c:pt idx="238">
                  <c:v>45240</c:v>
                </c:pt>
                <c:pt idx="239">
                  <c:v>45239</c:v>
                </c:pt>
                <c:pt idx="240">
                  <c:v>45238</c:v>
                </c:pt>
                <c:pt idx="241">
                  <c:v>45237</c:v>
                </c:pt>
                <c:pt idx="242">
                  <c:v>45236</c:v>
                </c:pt>
                <c:pt idx="243">
                  <c:v>45235</c:v>
                </c:pt>
                <c:pt idx="244">
                  <c:v>45234</c:v>
                </c:pt>
                <c:pt idx="245">
                  <c:v>45233</c:v>
                </c:pt>
                <c:pt idx="246">
                  <c:v>45232</c:v>
                </c:pt>
                <c:pt idx="247">
                  <c:v>45231</c:v>
                </c:pt>
                <c:pt idx="248">
                  <c:v>45230</c:v>
                </c:pt>
                <c:pt idx="249">
                  <c:v>45229</c:v>
                </c:pt>
                <c:pt idx="250">
                  <c:v>45228</c:v>
                </c:pt>
                <c:pt idx="251">
                  <c:v>45227</c:v>
                </c:pt>
                <c:pt idx="252">
                  <c:v>45226</c:v>
                </c:pt>
                <c:pt idx="253">
                  <c:v>45225</c:v>
                </c:pt>
                <c:pt idx="254">
                  <c:v>45224</c:v>
                </c:pt>
                <c:pt idx="255">
                  <c:v>45223</c:v>
                </c:pt>
                <c:pt idx="256">
                  <c:v>45222</c:v>
                </c:pt>
                <c:pt idx="257">
                  <c:v>45221</c:v>
                </c:pt>
                <c:pt idx="258">
                  <c:v>45220</c:v>
                </c:pt>
                <c:pt idx="259">
                  <c:v>45219</c:v>
                </c:pt>
                <c:pt idx="260">
                  <c:v>45218</c:v>
                </c:pt>
                <c:pt idx="261">
                  <c:v>45217</c:v>
                </c:pt>
                <c:pt idx="262">
                  <c:v>45216</c:v>
                </c:pt>
                <c:pt idx="263">
                  <c:v>45215</c:v>
                </c:pt>
                <c:pt idx="264">
                  <c:v>45214</c:v>
                </c:pt>
                <c:pt idx="265">
                  <c:v>45213</c:v>
                </c:pt>
                <c:pt idx="266">
                  <c:v>45212</c:v>
                </c:pt>
                <c:pt idx="267">
                  <c:v>45211</c:v>
                </c:pt>
                <c:pt idx="268">
                  <c:v>45210</c:v>
                </c:pt>
                <c:pt idx="269">
                  <c:v>45209</c:v>
                </c:pt>
                <c:pt idx="270">
                  <c:v>45208</c:v>
                </c:pt>
                <c:pt idx="271">
                  <c:v>45207</c:v>
                </c:pt>
                <c:pt idx="272">
                  <c:v>45206</c:v>
                </c:pt>
                <c:pt idx="273">
                  <c:v>45205</c:v>
                </c:pt>
                <c:pt idx="274">
                  <c:v>45204</c:v>
                </c:pt>
                <c:pt idx="275">
                  <c:v>45203</c:v>
                </c:pt>
                <c:pt idx="276">
                  <c:v>45202</c:v>
                </c:pt>
                <c:pt idx="277">
                  <c:v>45201</c:v>
                </c:pt>
                <c:pt idx="278">
                  <c:v>45200</c:v>
                </c:pt>
                <c:pt idx="279">
                  <c:v>45199</c:v>
                </c:pt>
                <c:pt idx="280">
                  <c:v>45198</c:v>
                </c:pt>
                <c:pt idx="281">
                  <c:v>45197</c:v>
                </c:pt>
                <c:pt idx="282">
                  <c:v>45196</c:v>
                </c:pt>
                <c:pt idx="283">
                  <c:v>45195</c:v>
                </c:pt>
                <c:pt idx="284">
                  <c:v>45194</c:v>
                </c:pt>
                <c:pt idx="285">
                  <c:v>45193</c:v>
                </c:pt>
                <c:pt idx="286">
                  <c:v>45192</c:v>
                </c:pt>
                <c:pt idx="287">
                  <c:v>45191</c:v>
                </c:pt>
                <c:pt idx="288">
                  <c:v>45190</c:v>
                </c:pt>
                <c:pt idx="289">
                  <c:v>45189</c:v>
                </c:pt>
                <c:pt idx="290">
                  <c:v>45188</c:v>
                </c:pt>
                <c:pt idx="291">
                  <c:v>45187</c:v>
                </c:pt>
                <c:pt idx="292">
                  <c:v>45186</c:v>
                </c:pt>
                <c:pt idx="293">
                  <c:v>45185</c:v>
                </c:pt>
                <c:pt idx="294">
                  <c:v>45184</c:v>
                </c:pt>
                <c:pt idx="295">
                  <c:v>45183</c:v>
                </c:pt>
                <c:pt idx="296">
                  <c:v>45182</c:v>
                </c:pt>
                <c:pt idx="297">
                  <c:v>45181</c:v>
                </c:pt>
                <c:pt idx="298">
                  <c:v>45180</c:v>
                </c:pt>
                <c:pt idx="299">
                  <c:v>45179</c:v>
                </c:pt>
                <c:pt idx="300">
                  <c:v>45178</c:v>
                </c:pt>
                <c:pt idx="301">
                  <c:v>45177</c:v>
                </c:pt>
                <c:pt idx="302">
                  <c:v>45176</c:v>
                </c:pt>
                <c:pt idx="303">
                  <c:v>45175</c:v>
                </c:pt>
                <c:pt idx="304">
                  <c:v>45174</c:v>
                </c:pt>
                <c:pt idx="305">
                  <c:v>45173</c:v>
                </c:pt>
                <c:pt idx="306">
                  <c:v>45172</c:v>
                </c:pt>
                <c:pt idx="307">
                  <c:v>45171</c:v>
                </c:pt>
                <c:pt idx="308">
                  <c:v>45170</c:v>
                </c:pt>
                <c:pt idx="309">
                  <c:v>45169</c:v>
                </c:pt>
                <c:pt idx="310">
                  <c:v>45168</c:v>
                </c:pt>
                <c:pt idx="311">
                  <c:v>45167</c:v>
                </c:pt>
                <c:pt idx="312">
                  <c:v>45166</c:v>
                </c:pt>
                <c:pt idx="313">
                  <c:v>45165</c:v>
                </c:pt>
                <c:pt idx="314">
                  <c:v>45164</c:v>
                </c:pt>
                <c:pt idx="315">
                  <c:v>45163</c:v>
                </c:pt>
                <c:pt idx="316">
                  <c:v>45162</c:v>
                </c:pt>
                <c:pt idx="317">
                  <c:v>45161</c:v>
                </c:pt>
                <c:pt idx="318">
                  <c:v>45160</c:v>
                </c:pt>
                <c:pt idx="319">
                  <c:v>45159</c:v>
                </c:pt>
                <c:pt idx="320">
                  <c:v>45158</c:v>
                </c:pt>
                <c:pt idx="321">
                  <c:v>45157</c:v>
                </c:pt>
                <c:pt idx="322">
                  <c:v>45156</c:v>
                </c:pt>
                <c:pt idx="323">
                  <c:v>45155</c:v>
                </c:pt>
                <c:pt idx="324">
                  <c:v>45154</c:v>
                </c:pt>
                <c:pt idx="325">
                  <c:v>45153</c:v>
                </c:pt>
                <c:pt idx="326">
                  <c:v>45152</c:v>
                </c:pt>
                <c:pt idx="327">
                  <c:v>45151</c:v>
                </c:pt>
                <c:pt idx="328">
                  <c:v>45150</c:v>
                </c:pt>
                <c:pt idx="329">
                  <c:v>45149</c:v>
                </c:pt>
                <c:pt idx="330">
                  <c:v>45148</c:v>
                </c:pt>
                <c:pt idx="331">
                  <c:v>45147</c:v>
                </c:pt>
                <c:pt idx="332">
                  <c:v>45146</c:v>
                </c:pt>
                <c:pt idx="333">
                  <c:v>45145</c:v>
                </c:pt>
                <c:pt idx="334">
                  <c:v>45144</c:v>
                </c:pt>
                <c:pt idx="335">
                  <c:v>45143</c:v>
                </c:pt>
                <c:pt idx="336">
                  <c:v>45142</c:v>
                </c:pt>
                <c:pt idx="337">
                  <c:v>45141</c:v>
                </c:pt>
                <c:pt idx="338">
                  <c:v>45140</c:v>
                </c:pt>
                <c:pt idx="339">
                  <c:v>45139</c:v>
                </c:pt>
                <c:pt idx="340">
                  <c:v>45138</c:v>
                </c:pt>
                <c:pt idx="341">
                  <c:v>45137</c:v>
                </c:pt>
                <c:pt idx="342">
                  <c:v>45136</c:v>
                </c:pt>
                <c:pt idx="343">
                  <c:v>45135</c:v>
                </c:pt>
                <c:pt idx="344">
                  <c:v>45134</c:v>
                </c:pt>
                <c:pt idx="345">
                  <c:v>45133</c:v>
                </c:pt>
                <c:pt idx="346">
                  <c:v>45132</c:v>
                </c:pt>
                <c:pt idx="347">
                  <c:v>45131</c:v>
                </c:pt>
                <c:pt idx="348">
                  <c:v>45130</c:v>
                </c:pt>
                <c:pt idx="349">
                  <c:v>45129</c:v>
                </c:pt>
                <c:pt idx="350">
                  <c:v>45128</c:v>
                </c:pt>
                <c:pt idx="351">
                  <c:v>45127</c:v>
                </c:pt>
                <c:pt idx="352">
                  <c:v>45126</c:v>
                </c:pt>
                <c:pt idx="353">
                  <c:v>45125</c:v>
                </c:pt>
                <c:pt idx="354">
                  <c:v>45124</c:v>
                </c:pt>
                <c:pt idx="355">
                  <c:v>45123</c:v>
                </c:pt>
                <c:pt idx="356">
                  <c:v>45122</c:v>
                </c:pt>
                <c:pt idx="357">
                  <c:v>45121</c:v>
                </c:pt>
                <c:pt idx="358">
                  <c:v>45120</c:v>
                </c:pt>
                <c:pt idx="359">
                  <c:v>45119</c:v>
                </c:pt>
                <c:pt idx="360">
                  <c:v>45118</c:v>
                </c:pt>
                <c:pt idx="361">
                  <c:v>45117</c:v>
                </c:pt>
                <c:pt idx="362">
                  <c:v>45116</c:v>
                </c:pt>
                <c:pt idx="363">
                  <c:v>45115</c:v>
                </c:pt>
                <c:pt idx="364">
                  <c:v>45114</c:v>
                </c:pt>
                <c:pt idx="365">
                  <c:v>45113</c:v>
                </c:pt>
                <c:pt idx="366">
                  <c:v>45112</c:v>
                </c:pt>
                <c:pt idx="367">
                  <c:v>45111</c:v>
                </c:pt>
                <c:pt idx="368">
                  <c:v>45110</c:v>
                </c:pt>
                <c:pt idx="369">
                  <c:v>45109</c:v>
                </c:pt>
                <c:pt idx="370">
                  <c:v>45108</c:v>
                </c:pt>
                <c:pt idx="371">
                  <c:v>45107</c:v>
                </c:pt>
                <c:pt idx="372">
                  <c:v>45106</c:v>
                </c:pt>
                <c:pt idx="373">
                  <c:v>45105</c:v>
                </c:pt>
                <c:pt idx="374">
                  <c:v>45104</c:v>
                </c:pt>
                <c:pt idx="375">
                  <c:v>45103</c:v>
                </c:pt>
                <c:pt idx="376">
                  <c:v>45102</c:v>
                </c:pt>
                <c:pt idx="377">
                  <c:v>45101</c:v>
                </c:pt>
                <c:pt idx="378">
                  <c:v>45100</c:v>
                </c:pt>
                <c:pt idx="379">
                  <c:v>45099</c:v>
                </c:pt>
                <c:pt idx="380">
                  <c:v>45098</c:v>
                </c:pt>
                <c:pt idx="381">
                  <c:v>45097</c:v>
                </c:pt>
                <c:pt idx="382">
                  <c:v>45096</c:v>
                </c:pt>
                <c:pt idx="383">
                  <c:v>45095</c:v>
                </c:pt>
                <c:pt idx="384">
                  <c:v>45094</c:v>
                </c:pt>
                <c:pt idx="385">
                  <c:v>45093</c:v>
                </c:pt>
                <c:pt idx="386">
                  <c:v>45092</c:v>
                </c:pt>
                <c:pt idx="387">
                  <c:v>45091</c:v>
                </c:pt>
                <c:pt idx="388">
                  <c:v>45090</c:v>
                </c:pt>
                <c:pt idx="389">
                  <c:v>45089</c:v>
                </c:pt>
                <c:pt idx="390">
                  <c:v>45088</c:v>
                </c:pt>
                <c:pt idx="391">
                  <c:v>45087</c:v>
                </c:pt>
                <c:pt idx="392">
                  <c:v>45086</c:v>
                </c:pt>
                <c:pt idx="393">
                  <c:v>45085</c:v>
                </c:pt>
                <c:pt idx="394">
                  <c:v>45084</c:v>
                </c:pt>
                <c:pt idx="395">
                  <c:v>45083</c:v>
                </c:pt>
                <c:pt idx="396">
                  <c:v>45082</c:v>
                </c:pt>
                <c:pt idx="397">
                  <c:v>45081</c:v>
                </c:pt>
                <c:pt idx="398">
                  <c:v>45080</c:v>
                </c:pt>
                <c:pt idx="399">
                  <c:v>45079</c:v>
                </c:pt>
                <c:pt idx="400">
                  <c:v>45078</c:v>
                </c:pt>
                <c:pt idx="401">
                  <c:v>45077</c:v>
                </c:pt>
                <c:pt idx="402">
                  <c:v>45076</c:v>
                </c:pt>
                <c:pt idx="403">
                  <c:v>45075</c:v>
                </c:pt>
                <c:pt idx="404">
                  <c:v>45074</c:v>
                </c:pt>
                <c:pt idx="405">
                  <c:v>45073</c:v>
                </c:pt>
                <c:pt idx="406">
                  <c:v>45072</c:v>
                </c:pt>
                <c:pt idx="407">
                  <c:v>45071</c:v>
                </c:pt>
                <c:pt idx="408">
                  <c:v>45070</c:v>
                </c:pt>
                <c:pt idx="409">
                  <c:v>45069</c:v>
                </c:pt>
                <c:pt idx="410">
                  <c:v>45068</c:v>
                </c:pt>
                <c:pt idx="411">
                  <c:v>45067</c:v>
                </c:pt>
                <c:pt idx="412">
                  <c:v>45066</c:v>
                </c:pt>
                <c:pt idx="413">
                  <c:v>45065</c:v>
                </c:pt>
                <c:pt idx="414">
                  <c:v>45064</c:v>
                </c:pt>
                <c:pt idx="415">
                  <c:v>45063</c:v>
                </c:pt>
                <c:pt idx="416">
                  <c:v>45062</c:v>
                </c:pt>
                <c:pt idx="417">
                  <c:v>45061</c:v>
                </c:pt>
                <c:pt idx="418">
                  <c:v>45060</c:v>
                </c:pt>
                <c:pt idx="419">
                  <c:v>45059</c:v>
                </c:pt>
                <c:pt idx="420">
                  <c:v>45058</c:v>
                </c:pt>
                <c:pt idx="421">
                  <c:v>45057</c:v>
                </c:pt>
                <c:pt idx="422">
                  <c:v>45056</c:v>
                </c:pt>
                <c:pt idx="423">
                  <c:v>45055</c:v>
                </c:pt>
                <c:pt idx="424">
                  <c:v>45054</c:v>
                </c:pt>
                <c:pt idx="425">
                  <c:v>45053</c:v>
                </c:pt>
                <c:pt idx="426">
                  <c:v>45052</c:v>
                </c:pt>
                <c:pt idx="427">
                  <c:v>45051</c:v>
                </c:pt>
                <c:pt idx="428">
                  <c:v>45050</c:v>
                </c:pt>
                <c:pt idx="429">
                  <c:v>45049</c:v>
                </c:pt>
                <c:pt idx="430">
                  <c:v>45048</c:v>
                </c:pt>
                <c:pt idx="431">
                  <c:v>45047</c:v>
                </c:pt>
                <c:pt idx="432">
                  <c:v>45046</c:v>
                </c:pt>
                <c:pt idx="433">
                  <c:v>45045</c:v>
                </c:pt>
                <c:pt idx="434">
                  <c:v>45044</c:v>
                </c:pt>
                <c:pt idx="435">
                  <c:v>45043</c:v>
                </c:pt>
                <c:pt idx="436">
                  <c:v>45042</c:v>
                </c:pt>
                <c:pt idx="437">
                  <c:v>45041</c:v>
                </c:pt>
                <c:pt idx="438">
                  <c:v>45040</c:v>
                </c:pt>
                <c:pt idx="439">
                  <c:v>45039</c:v>
                </c:pt>
                <c:pt idx="440">
                  <c:v>45038</c:v>
                </c:pt>
                <c:pt idx="441">
                  <c:v>45037</c:v>
                </c:pt>
                <c:pt idx="442">
                  <c:v>45036</c:v>
                </c:pt>
                <c:pt idx="443">
                  <c:v>45035</c:v>
                </c:pt>
                <c:pt idx="444">
                  <c:v>45034</c:v>
                </c:pt>
                <c:pt idx="445">
                  <c:v>45033</c:v>
                </c:pt>
                <c:pt idx="446">
                  <c:v>45032</c:v>
                </c:pt>
                <c:pt idx="447">
                  <c:v>45031</c:v>
                </c:pt>
                <c:pt idx="448">
                  <c:v>45030</c:v>
                </c:pt>
                <c:pt idx="449">
                  <c:v>45029</c:v>
                </c:pt>
                <c:pt idx="450">
                  <c:v>45028</c:v>
                </c:pt>
                <c:pt idx="451">
                  <c:v>45027</c:v>
                </c:pt>
                <c:pt idx="452">
                  <c:v>45026</c:v>
                </c:pt>
                <c:pt idx="453">
                  <c:v>45025</c:v>
                </c:pt>
                <c:pt idx="454">
                  <c:v>45024</c:v>
                </c:pt>
                <c:pt idx="455">
                  <c:v>45023</c:v>
                </c:pt>
                <c:pt idx="456">
                  <c:v>45022</c:v>
                </c:pt>
                <c:pt idx="457">
                  <c:v>45021</c:v>
                </c:pt>
                <c:pt idx="458">
                  <c:v>45020</c:v>
                </c:pt>
                <c:pt idx="459">
                  <c:v>45019</c:v>
                </c:pt>
                <c:pt idx="460">
                  <c:v>45018</c:v>
                </c:pt>
                <c:pt idx="461">
                  <c:v>45017</c:v>
                </c:pt>
                <c:pt idx="462">
                  <c:v>45016</c:v>
                </c:pt>
                <c:pt idx="463">
                  <c:v>45015</c:v>
                </c:pt>
                <c:pt idx="464">
                  <c:v>45014</c:v>
                </c:pt>
                <c:pt idx="465">
                  <c:v>45013</c:v>
                </c:pt>
                <c:pt idx="466">
                  <c:v>45012</c:v>
                </c:pt>
                <c:pt idx="467">
                  <c:v>45011</c:v>
                </c:pt>
                <c:pt idx="468">
                  <c:v>45010</c:v>
                </c:pt>
                <c:pt idx="469">
                  <c:v>45009</c:v>
                </c:pt>
                <c:pt idx="470">
                  <c:v>45008</c:v>
                </c:pt>
                <c:pt idx="471">
                  <c:v>45007</c:v>
                </c:pt>
                <c:pt idx="472">
                  <c:v>45006</c:v>
                </c:pt>
                <c:pt idx="473">
                  <c:v>45005</c:v>
                </c:pt>
                <c:pt idx="474">
                  <c:v>45004</c:v>
                </c:pt>
                <c:pt idx="475">
                  <c:v>45003</c:v>
                </c:pt>
                <c:pt idx="476">
                  <c:v>45002</c:v>
                </c:pt>
                <c:pt idx="477">
                  <c:v>45001</c:v>
                </c:pt>
                <c:pt idx="478">
                  <c:v>45000</c:v>
                </c:pt>
                <c:pt idx="479">
                  <c:v>44999</c:v>
                </c:pt>
                <c:pt idx="480">
                  <c:v>44998</c:v>
                </c:pt>
                <c:pt idx="481">
                  <c:v>44997</c:v>
                </c:pt>
                <c:pt idx="482">
                  <c:v>44996</c:v>
                </c:pt>
                <c:pt idx="483">
                  <c:v>44995</c:v>
                </c:pt>
                <c:pt idx="484">
                  <c:v>44994</c:v>
                </c:pt>
                <c:pt idx="485">
                  <c:v>44993</c:v>
                </c:pt>
                <c:pt idx="486">
                  <c:v>44992</c:v>
                </c:pt>
                <c:pt idx="487">
                  <c:v>44991</c:v>
                </c:pt>
                <c:pt idx="488">
                  <c:v>44990</c:v>
                </c:pt>
                <c:pt idx="489">
                  <c:v>44989</c:v>
                </c:pt>
                <c:pt idx="490">
                  <c:v>44988</c:v>
                </c:pt>
                <c:pt idx="491">
                  <c:v>44987</c:v>
                </c:pt>
                <c:pt idx="492">
                  <c:v>44986</c:v>
                </c:pt>
                <c:pt idx="493">
                  <c:v>44985</c:v>
                </c:pt>
                <c:pt idx="494">
                  <c:v>44984</c:v>
                </c:pt>
                <c:pt idx="495">
                  <c:v>44983</c:v>
                </c:pt>
                <c:pt idx="496">
                  <c:v>44982</c:v>
                </c:pt>
                <c:pt idx="497">
                  <c:v>44981</c:v>
                </c:pt>
                <c:pt idx="498">
                  <c:v>44980</c:v>
                </c:pt>
                <c:pt idx="499">
                  <c:v>44979</c:v>
                </c:pt>
                <c:pt idx="500">
                  <c:v>44978</c:v>
                </c:pt>
                <c:pt idx="501">
                  <c:v>44977</c:v>
                </c:pt>
                <c:pt idx="502">
                  <c:v>44976</c:v>
                </c:pt>
                <c:pt idx="503">
                  <c:v>44975</c:v>
                </c:pt>
                <c:pt idx="504">
                  <c:v>44974</c:v>
                </c:pt>
                <c:pt idx="505">
                  <c:v>44973</c:v>
                </c:pt>
                <c:pt idx="506">
                  <c:v>44972</c:v>
                </c:pt>
                <c:pt idx="507">
                  <c:v>44971</c:v>
                </c:pt>
                <c:pt idx="508">
                  <c:v>44970</c:v>
                </c:pt>
                <c:pt idx="509">
                  <c:v>44969</c:v>
                </c:pt>
                <c:pt idx="510">
                  <c:v>44968</c:v>
                </c:pt>
                <c:pt idx="511">
                  <c:v>44967</c:v>
                </c:pt>
                <c:pt idx="512">
                  <c:v>44966</c:v>
                </c:pt>
                <c:pt idx="513">
                  <c:v>44965</c:v>
                </c:pt>
                <c:pt idx="514">
                  <c:v>44964</c:v>
                </c:pt>
                <c:pt idx="515">
                  <c:v>44963</c:v>
                </c:pt>
                <c:pt idx="516">
                  <c:v>44962</c:v>
                </c:pt>
                <c:pt idx="517">
                  <c:v>44961</c:v>
                </c:pt>
                <c:pt idx="518">
                  <c:v>44960</c:v>
                </c:pt>
                <c:pt idx="519">
                  <c:v>44959</c:v>
                </c:pt>
                <c:pt idx="520">
                  <c:v>44958</c:v>
                </c:pt>
                <c:pt idx="521">
                  <c:v>44957</c:v>
                </c:pt>
                <c:pt idx="522">
                  <c:v>44956</c:v>
                </c:pt>
                <c:pt idx="523">
                  <c:v>44955</c:v>
                </c:pt>
                <c:pt idx="524">
                  <c:v>44954</c:v>
                </c:pt>
                <c:pt idx="525">
                  <c:v>44953</c:v>
                </c:pt>
                <c:pt idx="526">
                  <c:v>44952</c:v>
                </c:pt>
                <c:pt idx="527">
                  <c:v>44951</c:v>
                </c:pt>
                <c:pt idx="528">
                  <c:v>44950</c:v>
                </c:pt>
                <c:pt idx="529">
                  <c:v>44949</c:v>
                </c:pt>
                <c:pt idx="530">
                  <c:v>44948</c:v>
                </c:pt>
                <c:pt idx="531">
                  <c:v>44947</c:v>
                </c:pt>
                <c:pt idx="532">
                  <c:v>44946</c:v>
                </c:pt>
                <c:pt idx="533">
                  <c:v>44945</c:v>
                </c:pt>
                <c:pt idx="534">
                  <c:v>44944</c:v>
                </c:pt>
                <c:pt idx="535">
                  <c:v>44943</c:v>
                </c:pt>
                <c:pt idx="536">
                  <c:v>44942</c:v>
                </c:pt>
                <c:pt idx="537">
                  <c:v>44941</c:v>
                </c:pt>
                <c:pt idx="538">
                  <c:v>44940</c:v>
                </c:pt>
                <c:pt idx="539">
                  <c:v>44939</c:v>
                </c:pt>
                <c:pt idx="540">
                  <c:v>44938</c:v>
                </c:pt>
                <c:pt idx="541">
                  <c:v>44937</c:v>
                </c:pt>
                <c:pt idx="542">
                  <c:v>44936</c:v>
                </c:pt>
                <c:pt idx="543">
                  <c:v>44935</c:v>
                </c:pt>
                <c:pt idx="544">
                  <c:v>44934</c:v>
                </c:pt>
                <c:pt idx="545">
                  <c:v>44933</c:v>
                </c:pt>
                <c:pt idx="546">
                  <c:v>44932</c:v>
                </c:pt>
                <c:pt idx="547">
                  <c:v>44931</c:v>
                </c:pt>
                <c:pt idx="548">
                  <c:v>44930</c:v>
                </c:pt>
                <c:pt idx="549">
                  <c:v>44929</c:v>
                </c:pt>
                <c:pt idx="550">
                  <c:v>44928</c:v>
                </c:pt>
                <c:pt idx="551">
                  <c:v>44927</c:v>
                </c:pt>
                <c:pt idx="552">
                  <c:v>44926</c:v>
                </c:pt>
                <c:pt idx="553">
                  <c:v>44925</c:v>
                </c:pt>
                <c:pt idx="554">
                  <c:v>44924</c:v>
                </c:pt>
                <c:pt idx="555">
                  <c:v>44923</c:v>
                </c:pt>
                <c:pt idx="556">
                  <c:v>44922</c:v>
                </c:pt>
                <c:pt idx="557">
                  <c:v>44921</c:v>
                </c:pt>
                <c:pt idx="558">
                  <c:v>44920</c:v>
                </c:pt>
                <c:pt idx="559">
                  <c:v>44919</c:v>
                </c:pt>
                <c:pt idx="560">
                  <c:v>44918</c:v>
                </c:pt>
                <c:pt idx="561">
                  <c:v>44917</c:v>
                </c:pt>
                <c:pt idx="562">
                  <c:v>44916</c:v>
                </c:pt>
                <c:pt idx="563">
                  <c:v>44915</c:v>
                </c:pt>
                <c:pt idx="564">
                  <c:v>44914</c:v>
                </c:pt>
                <c:pt idx="565">
                  <c:v>44913</c:v>
                </c:pt>
                <c:pt idx="566">
                  <c:v>44912</c:v>
                </c:pt>
                <c:pt idx="567">
                  <c:v>44911</c:v>
                </c:pt>
                <c:pt idx="568">
                  <c:v>44910</c:v>
                </c:pt>
                <c:pt idx="569">
                  <c:v>44909</c:v>
                </c:pt>
                <c:pt idx="570">
                  <c:v>44908</c:v>
                </c:pt>
                <c:pt idx="571">
                  <c:v>44907</c:v>
                </c:pt>
                <c:pt idx="572">
                  <c:v>44906</c:v>
                </c:pt>
                <c:pt idx="573">
                  <c:v>44905</c:v>
                </c:pt>
                <c:pt idx="574">
                  <c:v>44904</c:v>
                </c:pt>
                <c:pt idx="575">
                  <c:v>44903</c:v>
                </c:pt>
                <c:pt idx="576">
                  <c:v>44902</c:v>
                </c:pt>
                <c:pt idx="577">
                  <c:v>44901</c:v>
                </c:pt>
                <c:pt idx="578">
                  <c:v>44900</c:v>
                </c:pt>
                <c:pt idx="579">
                  <c:v>44899</c:v>
                </c:pt>
                <c:pt idx="580">
                  <c:v>44898</c:v>
                </c:pt>
                <c:pt idx="581">
                  <c:v>44897</c:v>
                </c:pt>
                <c:pt idx="582">
                  <c:v>44896</c:v>
                </c:pt>
                <c:pt idx="583">
                  <c:v>44895</c:v>
                </c:pt>
                <c:pt idx="584">
                  <c:v>44894</c:v>
                </c:pt>
                <c:pt idx="585">
                  <c:v>44893</c:v>
                </c:pt>
                <c:pt idx="586">
                  <c:v>44892</c:v>
                </c:pt>
                <c:pt idx="587">
                  <c:v>44891</c:v>
                </c:pt>
                <c:pt idx="588">
                  <c:v>44890</c:v>
                </c:pt>
                <c:pt idx="589">
                  <c:v>44889</c:v>
                </c:pt>
                <c:pt idx="590">
                  <c:v>44888</c:v>
                </c:pt>
                <c:pt idx="591">
                  <c:v>44887</c:v>
                </c:pt>
                <c:pt idx="592">
                  <c:v>44886</c:v>
                </c:pt>
                <c:pt idx="593">
                  <c:v>44885</c:v>
                </c:pt>
                <c:pt idx="594">
                  <c:v>44884</c:v>
                </c:pt>
                <c:pt idx="595">
                  <c:v>44883</c:v>
                </c:pt>
                <c:pt idx="596">
                  <c:v>44882</c:v>
                </c:pt>
                <c:pt idx="597">
                  <c:v>44881</c:v>
                </c:pt>
                <c:pt idx="598">
                  <c:v>44880</c:v>
                </c:pt>
                <c:pt idx="599">
                  <c:v>44879</c:v>
                </c:pt>
                <c:pt idx="600">
                  <c:v>44878</c:v>
                </c:pt>
                <c:pt idx="601">
                  <c:v>44877</c:v>
                </c:pt>
                <c:pt idx="602">
                  <c:v>44876</c:v>
                </c:pt>
                <c:pt idx="603">
                  <c:v>44875</c:v>
                </c:pt>
                <c:pt idx="604">
                  <c:v>44874</c:v>
                </c:pt>
                <c:pt idx="605">
                  <c:v>44873</c:v>
                </c:pt>
                <c:pt idx="606">
                  <c:v>44872</c:v>
                </c:pt>
                <c:pt idx="607">
                  <c:v>44871</c:v>
                </c:pt>
                <c:pt idx="608">
                  <c:v>44870</c:v>
                </c:pt>
                <c:pt idx="609">
                  <c:v>44869</c:v>
                </c:pt>
                <c:pt idx="610">
                  <c:v>44868</c:v>
                </c:pt>
                <c:pt idx="611">
                  <c:v>44867</c:v>
                </c:pt>
                <c:pt idx="612">
                  <c:v>44866</c:v>
                </c:pt>
                <c:pt idx="613">
                  <c:v>44865</c:v>
                </c:pt>
                <c:pt idx="614">
                  <c:v>44864</c:v>
                </c:pt>
                <c:pt idx="615">
                  <c:v>44863</c:v>
                </c:pt>
                <c:pt idx="616">
                  <c:v>44862</c:v>
                </c:pt>
                <c:pt idx="617">
                  <c:v>44861</c:v>
                </c:pt>
                <c:pt idx="618">
                  <c:v>44860</c:v>
                </c:pt>
                <c:pt idx="619">
                  <c:v>44859</c:v>
                </c:pt>
                <c:pt idx="620">
                  <c:v>44858</c:v>
                </c:pt>
                <c:pt idx="621">
                  <c:v>44857</c:v>
                </c:pt>
                <c:pt idx="622">
                  <c:v>44856</c:v>
                </c:pt>
                <c:pt idx="623">
                  <c:v>44855</c:v>
                </c:pt>
                <c:pt idx="624">
                  <c:v>44854</c:v>
                </c:pt>
                <c:pt idx="625">
                  <c:v>44853</c:v>
                </c:pt>
                <c:pt idx="626">
                  <c:v>44852</c:v>
                </c:pt>
                <c:pt idx="627">
                  <c:v>44851</c:v>
                </c:pt>
                <c:pt idx="628">
                  <c:v>44850</c:v>
                </c:pt>
                <c:pt idx="629">
                  <c:v>44849</c:v>
                </c:pt>
                <c:pt idx="630">
                  <c:v>44848</c:v>
                </c:pt>
                <c:pt idx="631">
                  <c:v>44847</c:v>
                </c:pt>
                <c:pt idx="632">
                  <c:v>44846</c:v>
                </c:pt>
                <c:pt idx="633">
                  <c:v>44845</c:v>
                </c:pt>
                <c:pt idx="634">
                  <c:v>44844</c:v>
                </c:pt>
                <c:pt idx="635">
                  <c:v>44843</c:v>
                </c:pt>
                <c:pt idx="636">
                  <c:v>44842</c:v>
                </c:pt>
                <c:pt idx="637">
                  <c:v>44841</c:v>
                </c:pt>
                <c:pt idx="638">
                  <c:v>44840</c:v>
                </c:pt>
                <c:pt idx="639">
                  <c:v>44839</c:v>
                </c:pt>
                <c:pt idx="640">
                  <c:v>44838</c:v>
                </c:pt>
                <c:pt idx="641">
                  <c:v>44837</c:v>
                </c:pt>
                <c:pt idx="642">
                  <c:v>44836</c:v>
                </c:pt>
                <c:pt idx="643">
                  <c:v>44835</c:v>
                </c:pt>
                <c:pt idx="644">
                  <c:v>44834</c:v>
                </c:pt>
                <c:pt idx="645">
                  <c:v>44833</c:v>
                </c:pt>
                <c:pt idx="646">
                  <c:v>44832</c:v>
                </c:pt>
                <c:pt idx="647">
                  <c:v>44831</c:v>
                </c:pt>
                <c:pt idx="648">
                  <c:v>44830</c:v>
                </c:pt>
                <c:pt idx="649">
                  <c:v>44829</c:v>
                </c:pt>
                <c:pt idx="650">
                  <c:v>44828</c:v>
                </c:pt>
                <c:pt idx="651">
                  <c:v>44827</c:v>
                </c:pt>
                <c:pt idx="652">
                  <c:v>44826</c:v>
                </c:pt>
                <c:pt idx="653">
                  <c:v>44825</c:v>
                </c:pt>
                <c:pt idx="654">
                  <c:v>44824</c:v>
                </c:pt>
                <c:pt idx="655">
                  <c:v>44823</c:v>
                </c:pt>
                <c:pt idx="656">
                  <c:v>44822</c:v>
                </c:pt>
                <c:pt idx="657">
                  <c:v>44821</c:v>
                </c:pt>
                <c:pt idx="658">
                  <c:v>44820</c:v>
                </c:pt>
                <c:pt idx="659">
                  <c:v>44819</c:v>
                </c:pt>
                <c:pt idx="660">
                  <c:v>44818</c:v>
                </c:pt>
                <c:pt idx="661">
                  <c:v>44817</c:v>
                </c:pt>
                <c:pt idx="662">
                  <c:v>44816</c:v>
                </c:pt>
                <c:pt idx="663">
                  <c:v>44815</c:v>
                </c:pt>
                <c:pt idx="664">
                  <c:v>44814</c:v>
                </c:pt>
                <c:pt idx="665">
                  <c:v>44813</c:v>
                </c:pt>
                <c:pt idx="666">
                  <c:v>44812</c:v>
                </c:pt>
                <c:pt idx="667">
                  <c:v>44811</c:v>
                </c:pt>
                <c:pt idx="668">
                  <c:v>44810</c:v>
                </c:pt>
                <c:pt idx="669">
                  <c:v>44809</c:v>
                </c:pt>
                <c:pt idx="670">
                  <c:v>44808</c:v>
                </c:pt>
                <c:pt idx="671">
                  <c:v>44807</c:v>
                </c:pt>
                <c:pt idx="672">
                  <c:v>44806</c:v>
                </c:pt>
                <c:pt idx="673">
                  <c:v>44805</c:v>
                </c:pt>
                <c:pt idx="674">
                  <c:v>44804</c:v>
                </c:pt>
                <c:pt idx="675">
                  <c:v>44803</c:v>
                </c:pt>
                <c:pt idx="676">
                  <c:v>44802</c:v>
                </c:pt>
                <c:pt idx="677">
                  <c:v>44801</c:v>
                </c:pt>
                <c:pt idx="678">
                  <c:v>44800</c:v>
                </c:pt>
                <c:pt idx="679">
                  <c:v>44799</c:v>
                </c:pt>
                <c:pt idx="680">
                  <c:v>44798</c:v>
                </c:pt>
                <c:pt idx="681">
                  <c:v>44797</c:v>
                </c:pt>
                <c:pt idx="682">
                  <c:v>44796</c:v>
                </c:pt>
                <c:pt idx="683">
                  <c:v>44795</c:v>
                </c:pt>
                <c:pt idx="684">
                  <c:v>44794</c:v>
                </c:pt>
                <c:pt idx="685">
                  <c:v>44793</c:v>
                </c:pt>
                <c:pt idx="686">
                  <c:v>44792</c:v>
                </c:pt>
                <c:pt idx="687">
                  <c:v>44791</c:v>
                </c:pt>
                <c:pt idx="688">
                  <c:v>44790</c:v>
                </c:pt>
                <c:pt idx="689">
                  <c:v>44789</c:v>
                </c:pt>
                <c:pt idx="690">
                  <c:v>44788</c:v>
                </c:pt>
                <c:pt idx="691">
                  <c:v>44787</c:v>
                </c:pt>
                <c:pt idx="692">
                  <c:v>44786</c:v>
                </c:pt>
                <c:pt idx="693">
                  <c:v>44785</c:v>
                </c:pt>
                <c:pt idx="694">
                  <c:v>44784</c:v>
                </c:pt>
                <c:pt idx="695">
                  <c:v>44783</c:v>
                </c:pt>
                <c:pt idx="696">
                  <c:v>44782</c:v>
                </c:pt>
                <c:pt idx="697">
                  <c:v>44781</c:v>
                </c:pt>
                <c:pt idx="698">
                  <c:v>44780</c:v>
                </c:pt>
                <c:pt idx="699">
                  <c:v>44779</c:v>
                </c:pt>
                <c:pt idx="700">
                  <c:v>44778</c:v>
                </c:pt>
                <c:pt idx="701">
                  <c:v>44777</c:v>
                </c:pt>
                <c:pt idx="702">
                  <c:v>44776</c:v>
                </c:pt>
                <c:pt idx="703">
                  <c:v>44775</c:v>
                </c:pt>
                <c:pt idx="704">
                  <c:v>44774</c:v>
                </c:pt>
                <c:pt idx="705">
                  <c:v>44773</c:v>
                </c:pt>
                <c:pt idx="706">
                  <c:v>44772</c:v>
                </c:pt>
                <c:pt idx="707">
                  <c:v>44771</c:v>
                </c:pt>
                <c:pt idx="708">
                  <c:v>44770</c:v>
                </c:pt>
                <c:pt idx="709">
                  <c:v>44769</c:v>
                </c:pt>
                <c:pt idx="710">
                  <c:v>44768</c:v>
                </c:pt>
                <c:pt idx="711">
                  <c:v>44767</c:v>
                </c:pt>
                <c:pt idx="712">
                  <c:v>44766</c:v>
                </c:pt>
                <c:pt idx="713">
                  <c:v>44765</c:v>
                </c:pt>
                <c:pt idx="714">
                  <c:v>44764</c:v>
                </c:pt>
                <c:pt idx="715">
                  <c:v>44763</c:v>
                </c:pt>
                <c:pt idx="716">
                  <c:v>44762</c:v>
                </c:pt>
                <c:pt idx="717">
                  <c:v>44761</c:v>
                </c:pt>
                <c:pt idx="718">
                  <c:v>44760</c:v>
                </c:pt>
                <c:pt idx="719">
                  <c:v>44759</c:v>
                </c:pt>
                <c:pt idx="720">
                  <c:v>44758</c:v>
                </c:pt>
                <c:pt idx="721">
                  <c:v>44757</c:v>
                </c:pt>
                <c:pt idx="722">
                  <c:v>44756</c:v>
                </c:pt>
                <c:pt idx="723">
                  <c:v>44755</c:v>
                </c:pt>
                <c:pt idx="724">
                  <c:v>44754</c:v>
                </c:pt>
                <c:pt idx="725">
                  <c:v>44753</c:v>
                </c:pt>
                <c:pt idx="726">
                  <c:v>44752</c:v>
                </c:pt>
                <c:pt idx="727">
                  <c:v>44751</c:v>
                </c:pt>
                <c:pt idx="728">
                  <c:v>44750</c:v>
                </c:pt>
                <c:pt idx="729">
                  <c:v>44749</c:v>
                </c:pt>
                <c:pt idx="730">
                  <c:v>44748</c:v>
                </c:pt>
                <c:pt idx="731">
                  <c:v>44747</c:v>
                </c:pt>
                <c:pt idx="732">
                  <c:v>44746</c:v>
                </c:pt>
                <c:pt idx="733">
                  <c:v>44745</c:v>
                </c:pt>
                <c:pt idx="734">
                  <c:v>44744</c:v>
                </c:pt>
                <c:pt idx="735">
                  <c:v>44743</c:v>
                </c:pt>
                <c:pt idx="736">
                  <c:v>44742</c:v>
                </c:pt>
                <c:pt idx="737">
                  <c:v>44741</c:v>
                </c:pt>
                <c:pt idx="738">
                  <c:v>44740</c:v>
                </c:pt>
                <c:pt idx="739">
                  <c:v>44739</c:v>
                </c:pt>
                <c:pt idx="740">
                  <c:v>44738</c:v>
                </c:pt>
                <c:pt idx="741">
                  <c:v>44737</c:v>
                </c:pt>
                <c:pt idx="742">
                  <c:v>44736</c:v>
                </c:pt>
                <c:pt idx="743">
                  <c:v>44735</c:v>
                </c:pt>
                <c:pt idx="744">
                  <c:v>44734</c:v>
                </c:pt>
                <c:pt idx="745">
                  <c:v>44733</c:v>
                </c:pt>
                <c:pt idx="746">
                  <c:v>44732</c:v>
                </c:pt>
                <c:pt idx="747">
                  <c:v>44731</c:v>
                </c:pt>
                <c:pt idx="748">
                  <c:v>44730</c:v>
                </c:pt>
                <c:pt idx="749">
                  <c:v>44729</c:v>
                </c:pt>
                <c:pt idx="750">
                  <c:v>44728</c:v>
                </c:pt>
                <c:pt idx="751">
                  <c:v>44727</c:v>
                </c:pt>
                <c:pt idx="752">
                  <c:v>44726</c:v>
                </c:pt>
                <c:pt idx="753">
                  <c:v>44725</c:v>
                </c:pt>
                <c:pt idx="754">
                  <c:v>44724</c:v>
                </c:pt>
                <c:pt idx="755">
                  <c:v>44723</c:v>
                </c:pt>
                <c:pt idx="756">
                  <c:v>44722</c:v>
                </c:pt>
                <c:pt idx="757">
                  <c:v>44721</c:v>
                </c:pt>
                <c:pt idx="758">
                  <c:v>44720</c:v>
                </c:pt>
                <c:pt idx="759">
                  <c:v>44719</c:v>
                </c:pt>
                <c:pt idx="760">
                  <c:v>44718</c:v>
                </c:pt>
                <c:pt idx="761">
                  <c:v>44717</c:v>
                </c:pt>
                <c:pt idx="762">
                  <c:v>44716</c:v>
                </c:pt>
                <c:pt idx="763">
                  <c:v>44715</c:v>
                </c:pt>
                <c:pt idx="764">
                  <c:v>44714</c:v>
                </c:pt>
                <c:pt idx="765">
                  <c:v>44713</c:v>
                </c:pt>
                <c:pt idx="766">
                  <c:v>44712</c:v>
                </c:pt>
                <c:pt idx="767">
                  <c:v>44711</c:v>
                </c:pt>
                <c:pt idx="768">
                  <c:v>44710</c:v>
                </c:pt>
                <c:pt idx="769">
                  <c:v>44709</c:v>
                </c:pt>
                <c:pt idx="770">
                  <c:v>44708</c:v>
                </c:pt>
                <c:pt idx="771">
                  <c:v>44707</c:v>
                </c:pt>
                <c:pt idx="772">
                  <c:v>44706</c:v>
                </c:pt>
                <c:pt idx="773">
                  <c:v>44705</c:v>
                </c:pt>
                <c:pt idx="774">
                  <c:v>44704</c:v>
                </c:pt>
                <c:pt idx="775">
                  <c:v>44703</c:v>
                </c:pt>
                <c:pt idx="776">
                  <c:v>44702</c:v>
                </c:pt>
                <c:pt idx="777">
                  <c:v>44701</c:v>
                </c:pt>
                <c:pt idx="778">
                  <c:v>44700</c:v>
                </c:pt>
                <c:pt idx="779">
                  <c:v>44699</c:v>
                </c:pt>
                <c:pt idx="780">
                  <c:v>44698</c:v>
                </c:pt>
                <c:pt idx="781">
                  <c:v>44697</c:v>
                </c:pt>
                <c:pt idx="782">
                  <c:v>44696</c:v>
                </c:pt>
                <c:pt idx="783">
                  <c:v>44695</c:v>
                </c:pt>
                <c:pt idx="784">
                  <c:v>44694</c:v>
                </c:pt>
                <c:pt idx="785">
                  <c:v>44693</c:v>
                </c:pt>
                <c:pt idx="786">
                  <c:v>44692</c:v>
                </c:pt>
                <c:pt idx="787">
                  <c:v>44691</c:v>
                </c:pt>
                <c:pt idx="788">
                  <c:v>44690</c:v>
                </c:pt>
                <c:pt idx="789">
                  <c:v>44689</c:v>
                </c:pt>
                <c:pt idx="790">
                  <c:v>44688</c:v>
                </c:pt>
                <c:pt idx="791">
                  <c:v>44687</c:v>
                </c:pt>
                <c:pt idx="792">
                  <c:v>44686</c:v>
                </c:pt>
                <c:pt idx="793">
                  <c:v>44685</c:v>
                </c:pt>
                <c:pt idx="794">
                  <c:v>44684</c:v>
                </c:pt>
                <c:pt idx="795">
                  <c:v>44683</c:v>
                </c:pt>
                <c:pt idx="796">
                  <c:v>44682</c:v>
                </c:pt>
                <c:pt idx="797">
                  <c:v>44681</c:v>
                </c:pt>
                <c:pt idx="798">
                  <c:v>44680</c:v>
                </c:pt>
                <c:pt idx="799">
                  <c:v>44679</c:v>
                </c:pt>
                <c:pt idx="800">
                  <c:v>44678</c:v>
                </c:pt>
                <c:pt idx="801">
                  <c:v>44677</c:v>
                </c:pt>
                <c:pt idx="802">
                  <c:v>44676</c:v>
                </c:pt>
                <c:pt idx="803">
                  <c:v>44675</c:v>
                </c:pt>
                <c:pt idx="804">
                  <c:v>44674</c:v>
                </c:pt>
                <c:pt idx="805">
                  <c:v>44673</c:v>
                </c:pt>
                <c:pt idx="806">
                  <c:v>44672</c:v>
                </c:pt>
                <c:pt idx="807">
                  <c:v>44671</c:v>
                </c:pt>
                <c:pt idx="808">
                  <c:v>44670</c:v>
                </c:pt>
                <c:pt idx="809">
                  <c:v>44669</c:v>
                </c:pt>
                <c:pt idx="810">
                  <c:v>44668</c:v>
                </c:pt>
                <c:pt idx="811">
                  <c:v>44667</c:v>
                </c:pt>
                <c:pt idx="812">
                  <c:v>44666</c:v>
                </c:pt>
                <c:pt idx="813">
                  <c:v>44665</c:v>
                </c:pt>
                <c:pt idx="814">
                  <c:v>44664</c:v>
                </c:pt>
                <c:pt idx="815">
                  <c:v>44663</c:v>
                </c:pt>
                <c:pt idx="816">
                  <c:v>44662</c:v>
                </c:pt>
                <c:pt idx="817">
                  <c:v>44661</c:v>
                </c:pt>
                <c:pt idx="818">
                  <c:v>44660</c:v>
                </c:pt>
                <c:pt idx="819">
                  <c:v>44659</c:v>
                </c:pt>
                <c:pt idx="820">
                  <c:v>44658</c:v>
                </c:pt>
                <c:pt idx="821">
                  <c:v>44657</c:v>
                </c:pt>
                <c:pt idx="822">
                  <c:v>44656</c:v>
                </c:pt>
                <c:pt idx="823">
                  <c:v>44655</c:v>
                </c:pt>
                <c:pt idx="824">
                  <c:v>44654</c:v>
                </c:pt>
                <c:pt idx="825">
                  <c:v>44653</c:v>
                </c:pt>
                <c:pt idx="826">
                  <c:v>44652</c:v>
                </c:pt>
                <c:pt idx="827">
                  <c:v>44651</c:v>
                </c:pt>
                <c:pt idx="828">
                  <c:v>44650</c:v>
                </c:pt>
                <c:pt idx="829">
                  <c:v>44649</c:v>
                </c:pt>
                <c:pt idx="830">
                  <c:v>44648</c:v>
                </c:pt>
                <c:pt idx="831">
                  <c:v>44647</c:v>
                </c:pt>
                <c:pt idx="832">
                  <c:v>44646</c:v>
                </c:pt>
                <c:pt idx="833">
                  <c:v>44645</c:v>
                </c:pt>
                <c:pt idx="834">
                  <c:v>44644</c:v>
                </c:pt>
                <c:pt idx="835">
                  <c:v>44643</c:v>
                </c:pt>
                <c:pt idx="836">
                  <c:v>44642</c:v>
                </c:pt>
                <c:pt idx="837">
                  <c:v>44641</c:v>
                </c:pt>
                <c:pt idx="838">
                  <c:v>44640</c:v>
                </c:pt>
                <c:pt idx="839">
                  <c:v>44639</c:v>
                </c:pt>
                <c:pt idx="840">
                  <c:v>44638</c:v>
                </c:pt>
                <c:pt idx="841">
                  <c:v>44637</c:v>
                </c:pt>
                <c:pt idx="842">
                  <c:v>44636</c:v>
                </c:pt>
                <c:pt idx="843">
                  <c:v>44635</c:v>
                </c:pt>
                <c:pt idx="844">
                  <c:v>44634</c:v>
                </c:pt>
                <c:pt idx="845">
                  <c:v>44633</c:v>
                </c:pt>
                <c:pt idx="846">
                  <c:v>44632</c:v>
                </c:pt>
                <c:pt idx="847">
                  <c:v>44631</c:v>
                </c:pt>
                <c:pt idx="848">
                  <c:v>44630</c:v>
                </c:pt>
                <c:pt idx="849">
                  <c:v>44629</c:v>
                </c:pt>
                <c:pt idx="850">
                  <c:v>44628</c:v>
                </c:pt>
                <c:pt idx="851">
                  <c:v>44627</c:v>
                </c:pt>
                <c:pt idx="852">
                  <c:v>44626</c:v>
                </c:pt>
                <c:pt idx="853">
                  <c:v>44625</c:v>
                </c:pt>
                <c:pt idx="854">
                  <c:v>44624</c:v>
                </c:pt>
                <c:pt idx="855">
                  <c:v>44623</c:v>
                </c:pt>
                <c:pt idx="856">
                  <c:v>44622</c:v>
                </c:pt>
                <c:pt idx="857">
                  <c:v>44621</c:v>
                </c:pt>
                <c:pt idx="858">
                  <c:v>44620</c:v>
                </c:pt>
                <c:pt idx="859">
                  <c:v>44619</c:v>
                </c:pt>
                <c:pt idx="860">
                  <c:v>44618</c:v>
                </c:pt>
                <c:pt idx="861">
                  <c:v>44617</c:v>
                </c:pt>
                <c:pt idx="862">
                  <c:v>44616</c:v>
                </c:pt>
                <c:pt idx="863">
                  <c:v>44615</c:v>
                </c:pt>
                <c:pt idx="864">
                  <c:v>44614</c:v>
                </c:pt>
                <c:pt idx="865">
                  <c:v>44613</c:v>
                </c:pt>
                <c:pt idx="866">
                  <c:v>44612</c:v>
                </c:pt>
                <c:pt idx="867">
                  <c:v>44611</c:v>
                </c:pt>
                <c:pt idx="868">
                  <c:v>44610</c:v>
                </c:pt>
                <c:pt idx="869">
                  <c:v>44609</c:v>
                </c:pt>
                <c:pt idx="870">
                  <c:v>44608</c:v>
                </c:pt>
                <c:pt idx="871">
                  <c:v>44607</c:v>
                </c:pt>
                <c:pt idx="872">
                  <c:v>44606</c:v>
                </c:pt>
                <c:pt idx="873">
                  <c:v>44605</c:v>
                </c:pt>
                <c:pt idx="874">
                  <c:v>44604</c:v>
                </c:pt>
                <c:pt idx="875">
                  <c:v>44603</c:v>
                </c:pt>
                <c:pt idx="876">
                  <c:v>44602</c:v>
                </c:pt>
                <c:pt idx="877">
                  <c:v>44601</c:v>
                </c:pt>
                <c:pt idx="878">
                  <c:v>44600</c:v>
                </c:pt>
                <c:pt idx="879">
                  <c:v>44599</c:v>
                </c:pt>
                <c:pt idx="880">
                  <c:v>44598</c:v>
                </c:pt>
                <c:pt idx="881">
                  <c:v>44597</c:v>
                </c:pt>
                <c:pt idx="882">
                  <c:v>44596</c:v>
                </c:pt>
                <c:pt idx="883">
                  <c:v>44595</c:v>
                </c:pt>
                <c:pt idx="884">
                  <c:v>44594</c:v>
                </c:pt>
                <c:pt idx="885">
                  <c:v>44593</c:v>
                </c:pt>
                <c:pt idx="886">
                  <c:v>44592</c:v>
                </c:pt>
                <c:pt idx="887">
                  <c:v>44591</c:v>
                </c:pt>
                <c:pt idx="888">
                  <c:v>44590</c:v>
                </c:pt>
                <c:pt idx="889">
                  <c:v>44589</c:v>
                </c:pt>
                <c:pt idx="890">
                  <c:v>44588</c:v>
                </c:pt>
                <c:pt idx="891">
                  <c:v>44587</c:v>
                </c:pt>
                <c:pt idx="892">
                  <c:v>44586</c:v>
                </c:pt>
                <c:pt idx="893">
                  <c:v>44585</c:v>
                </c:pt>
                <c:pt idx="894">
                  <c:v>44584</c:v>
                </c:pt>
                <c:pt idx="895">
                  <c:v>44583</c:v>
                </c:pt>
                <c:pt idx="896">
                  <c:v>44582</c:v>
                </c:pt>
                <c:pt idx="897">
                  <c:v>44581</c:v>
                </c:pt>
                <c:pt idx="898">
                  <c:v>44580</c:v>
                </c:pt>
                <c:pt idx="899">
                  <c:v>44579</c:v>
                </c:pt>
                <c:pt idx="900">
                  <c:v>44578</c:v>
                </c:pt>
                <c:pt idx="901">
                  <c:v>44577</c:v>
                </c:pt>
                <c:pt idx="902">
                  <c:v>44576</c:v>
                </c:pt>
                <c:pt idx="903">
                  <c:v>44575</c:v>
                </c:pt>
                <c:pt idx="904">
                  <c:v>44574</c:v>
                </c:pt>
                <c:pt idx="905">
                  <c:v>44573</c:v>
                </c:pt>
                <c:pt idx="906">
                  <c:v>44572</c:v>
                </c:pt>
                <c:pt idx="907">
                  <c:v>44571</c:v>
                </c:pt>
                <c:pt idx="908">
                  <c:v>44570</c:v>
                </c:pt>
                <c:pt idx="909">
                  <c:v>44569</c:v>
                </c:pt>
                <c:pt idx="910">
                  <c:v>44568</c:v>
                </c:pt>
                <c:pt idx="911">
                  <c:v>44567</c:v>
                </c:pt>
                <c:pt idx="912">
                  <c:v>44566</c:v>
                </c:pt>
                <c:pt idx="913">
                  <c:v>44565</c:v>
                </c:pt>
                <c:pt idx="914">
                  <c:v>44564</c:v>
                </c:pt>
                <c:pt idx="915">
                  <c:v>44563</c:v>
                </c:pt>
                <c:pt idx="916">
                  <c:v>44562</c:v>
                </c:pt>
                <c:pt idx="917">
                  <c:v>44561</c:v>
                </c:pt>
                <c:pt idx="918">
                  <c:v>44560</c:v>
                </c:pt>
                <c:pt idx="919">
                  <c:v>44559</c:v>
                </c:pt>
                <c:pt idx="920">
                  <c:v>44558</c:v>
                </c:pt>
                <c:pt idx="921">
                  <c:v>44557</c:v>
                </c:pt>
                <c:pt idx="922">
                  <c:v>44556</c:v>
                </c:pt>
              </c:numCache>
            </c:numRef>
          </c:cat>
          <c:val>
            <c:numRef>
              <c:f>百川电极!$W$3:$W$925</c:f>
              <c:numCache>
                <c:formatCode>0_);[Red]\(0\)</c:formatCode>
                <c:ptCount val="923"/>
                <c:pt idx="0">
                  <c:v>9000</c:v>
                </c:pt>
                <c:pt idx="1">
                  <c:v>9000</c:v>
                </c:pt>
                <c:pt idx="2">
                  <c:v>9000</c:v>
                </c:pt>
                <c:pt idx="3">
                  <c:v>9000</c:v>
                </c:pt>
                <c:pt idx="4">
                  <c:v>9000</c:v>
                </c:pt>
                <c:pt idx="5">
                  <c:v>9000</c:v>
                </c:pt>
                <c:pt idx="6">
                  <c:v>9000</c:v>
                </c:pt>
                <c:pt idx="7">
                  <c:v>9000</c:v>
                </c:pt>
                <c:pt idx="8">
                  <c:v>9000</c:v>
                </c:pt>
                <c:pt idx="9">
                  <c:v>9000</c:v>
                </c:pt>
                <c:pt idx="10">
                  <c:v>9000</c:v>
                </c:pt>
                <c:pt idx="11">
                  <c:v>9000</c:v>
                </c:pt>
                <c:pt idx="12">
                  <c:v>9000</c:v>
                </c:pt>
                <c:pt idx="13">
                  <c:v>9000</c:v>
                </c:pt>
                <c:pt idx="14">
                  <c:v>9000</c:v>
                </c:pt>
                <c:pt idx="15">
                  <c:v>9000</c:v>
                </c:pt>
                <c:pt idx="16">
                  <c:v>9000</c:v>
                </c:pt>
                <c:pt idx="17">
                  <c:v>9000</c:v>
                </c:pt>
                <c:pt idx="18">
                  <c:v>9000</c:v>
                </c:pt>
                <c:pt idx="19">
                  <c:v>9000</c:v>
                </c:pt>
                <c:pt idx="20">
                  <c:v>9000</c:v>
                </c:pt>
                <c:pt idx="21">
                  <c:v>9000</c:v>
                </c:pt>
                <c:pt idx="22">
                  <c:v>9000</c:v>
                </c:pt>
                <c:pt idx="23">
                  <c:v>9000</c:v>
                </c:pt>
                <c:pt idx="24">
                  <c:v>9000</c:v>
                </c:pt>
                <c:pt idx="25">
                  <c:v>9000</c:v>
                </c:pt>
                <c:pt idx="26">
                  <c:v>9000</c:v>
                </c:pt>
                <c:pt idx="27">
                  <c:v>9000</c:v>
                </c:pt>
                <c:pt idx="28">
                  <c:v>9000</c:v>
                </c:pt>
                <c:pt idx="29">
                  <c:v>9100</c:v>
                </c:pt>
                <c:pt idx="30">
                  <c:v>9100</c:v>
                </c:pt>
                <c:pt idx="31">
                  <c:v>9100</c:v>
                </c:pt>
                <c:pt idx="32">
                  <c:v>9100</c:v>
                </c:pt>
                <c:pt idx="33">
                  <c:v>9100</c:v>
                </c:pt>
                <c:pt idx="34">
                  <c:v>9100</c:v>
                </c:pt>
                <c:pt idx="35">
                  <c:v>9100</c:v>
                </c:pt>
                <c:pt idx="36">
                  <c:v>9100</c:v>
                </c:pt>
                <c:pt idx="37">
                  <c:v>9100</c:v>
                </c:pt>
                <c:pt idx="38">
                  <c:v>9100</c:v>
                </c:pt>
                <c:pt idx="39">
                  <c:v>9100</c:v>
                </c:pt>
                <c:pt idx="40">
                  <c:v>9100</c:v>
                </c:pt>
                <c:pt idx="41">
                  <c:v>9100</c:v>
                </c:pt>
                <c:pt idx="42">
                  <c:v>9100</c:v>
                </c:pt>
                <c:pt idx="43">
                  <c:v>9100</c:v>
                </c:pt>
                <c:pt idx="44">
                  <c:v>9100</c:v>
                </c:pt>
                <c:pt idx="45">
                  <c:v>9100</c:v>
                </c:pt>
                <c:pt idx="46">
                  <c:v>9100</c:v>
                </c:pt>
                <c:pt idx="47">
                  <c:v>9100</c:v>
                </c:pt>
                <c:pt idx="48">
                  <c:v>9100</c:v>
                </c:pt>
                <c:pt idx="49">
                  <c:v>9100</c:v>
                </c:pt>
                <c:pt idx="50">
                  <c:v>9100</c:v>
                </c:pt>
                <c:pt idx="51">
                  <c:v>9100</c:v>
                </c:pt>
                <c:pt idx="52">
                  <c:v>9100</c:v>
                </c:pt>
                <c:pt idx="53">
                  <c:v>9100</c:v>
                </c:pt>
                <c:pt idx="54">
                  <c:v>9100</c:v>
                </c:pt>
                <c:pt idx="55">
                  <c:v>9100</c:v>
                </c:pt>
                <c:pt idx="56">
                  <c:v>9100</c:v>
                </c:pt>
                <c:pt idx="57">
                  <c:v>9100</c:v>
                </c:pt>
                <c:pt idx="58">
                  <c:v>9100</c:v>
                </c:pt>
                <c:pt idx="59">
                  <c:v>9100</c:v>
                </c:pt>
                <c:pt idx="60">
                  <c:v>9100</c:v>
                </c:pt>
                <c:pt idx="61">
                  <c:v>9100</c:v>
                </c:pt>
                <c:pt idx="62">
                  <c:v>9100</c:v>
                </c:pt>
                <c:pt idx="63">
                  <c:v>9100</c:v>
                </c:pt>
                <c:pt idx="64">
                  <c:v>9100</c:v>
                </c:pt>
                <c:pt idx="65">
                  <c:v>9100</c:v>
                </c:pt>
                <c:pt idx="66">
                  <c:v>9100</c:v>
                </c:pt>
                <c:pt idx="67">
                  <c:v>9100</c:v>
                </c:pt>
                <c:pt idx="68">
                  <c:v>9100</c:v>
                </c:pt>
                <c:pt idx="69">
                  <c:v>9100</c:v>
                </c:pt>
                <c:pt idx="70">
                  <c:v>9100</c:v>
                </c:pt>
                <c:pt idx="71">
                  <c:v>9100</c:v>
                </c:pt>
                <c:pt idx="72">
                  <c:v>9100</c:v>
                </c:pt>
                <c:pt idx="73">
                  <c:v>9100</c:v>
                </c:pt>
                <c:pt idx="74">
                  <c:v>9100</c:v>
                </c:pt>
                <c:pt idx="75">
                  <c:v>9100</c:v>
                </c:pt>
                <c:pt idx="76">
                  <c:v>9100</c:v>
                </c:pt>
                <c:pt idx="77">
                  <c:v>9100</c:v>
                </c:pt>
                <c:pt idx="78">
                  <c:v>9100</c:v>
                </c:pt>
                <c:pt idx="79">
                  <c:v>9100</c:v>
                </c:pt>
                <c:pt idx="80">
                  <c:v>9100</c:v>
                </c:pt>
                <c:pt idx="81">
                  <c:v>9100</c:v>
                </c:pt>
                <c:pt idx="82">
                  <c:v>9100</c:v>
                </c:pt>
                <c:pt idx="83">
                  <c:v>9100</c:v>
                </c:pt>
                <c:pt idx="84">
                  <c:v>9100</c:v>
                </c:pt>
                <c:pt idx="85">
                  <c:v>9100</c:v>
                </c:pt>
                <c:pt idx="86">
                  <c:v>9100</c:v>
                </c:pt>
                <c:pt idx="87">
                  <c:v>9100</c:v>
                </c:pt>
                <c:pt idx="88">
                  <c:v>9100</c:v>
                </c:pt>
                <c:pt idx="89">
                  <c:v>9100</c:v>
                </c:pt>
                <c:pt idx="90">
                  <c:v>9100</c:v>
                </c:pt>
                <c:pt idx="91">
                  <c:v>9100</c:v>
                </c:pt>
                <c:pt idx="92">
                  <c:v>9100</c:v>
                </c:pt>
                <c:pt idx="93">
                  <c:v>9100</c:v>
                </c:pt>
                <c:pt idx="94">
                  <c:v>9100</c:v>
                </c:pt>
                <c:pt idx="95">
                  <c:v>8875</c:v>
                </c:pt>
                <c:pt idx="96">
                  <c:v>8875</c:v>
                </c:pt>
                <c:pt idx="97">
                  <c:v>8875</c:v>
                </c:pt>
                <c:pt idx="98">
                  <c:v>8875</c:v>
                </c:pt>
                <c:pt idx="99">
                  <c:v>8875</c:v>
                </c:pt>
                <c:pt idx="100">
                  <c:v>8875</c:v>
                </c:pt>
                <c:pt idx="101">
                  <c:v>8875</c:v>
                </c:pt>
                <c:pt idx="102">
                  <c:v>8875</c:v>
                </c:pt>
                <c:pt idx="103">
                  <c:v>8875</c:v>
                </c:pt>
                <c:pt idx="104">
                  <c:v>8875</c:v>
                </c:pt>
                <c:pt idx="105">
                  <c:v>8875</c:v>
                </c:pt>
                <c:pt idx="106">
                  <c:v>8875</c:v>
                </c:pt>
                <c:pt idx="107">
                  <c:v>8875</c:v>
                </c:pt>
                <c:pt idx="108">
                  <c:v>8875</c:v>
                </c:pt>
                <c:pt idx="109">
                  <c:v>8875</c:v>
                </c:pt>
                <c:pt idx="110">
                  <c:v>8875</c:v>
                </c:pt>
                <c:pt idx="111">
                  <c:v>8875</c:v>
                </c:pt>
                <c:pt idx="112">
                  <c:v>8875</c:v>
                </c:pt>
                <c:pt idx="113">
                  <c:v>8875</c:v>
                </c:pt>
                <c:pt idx="114">
                  <c:v>8875</c:v>
                </c:pt>
                <c:pt idx="115">
                  <c:v>8875</c:v>
                </c:pt>
                <c:pt idx="116">
                  <c:v>8875</c:v>
                </c:pt>
                <c:pt idx="117">
                  <c:v>8875</c:v>
                </c:pt>
                <c:pt idx="118">
                  <c:v>8875</c:v>
                </c:pt>
                <c:pt idx="119">
                  <c:v>8875</c:v>
                </c:pt>
                <c:pt idx="120">
                  <c:v>8875</c:v>
                </c:pt>
                <c:pt idx="121">
                  <c:v>8875</c:v>
                </c:pt>
                <c:pt idx="122">
                  <c:v>8875</c:v>
                </c:pt>
                <c:pt idx="123">
                  <c:v>8875</c:v>
                </c:pt>
                <c:pt idx="124">
                  <c:v>8875</c:v>
                </c:pt>
                <c:pt idx="125">
                  <c:v>8875</c:v>
                </c:pt>
                <c:pt idx="126">
                  <c:v>8875</c:v>
                </c:pt>
                <c:pt idx="127">
                  <c:v>8875</c:v>
                </c:pt>
                <c:pt idx="128">
                  <c:v>8875</c:v>
                </c:pt>
                <c:pt idx="129">
                  <c:v>8875</c:v>
                </c:pt>
                <c:pt idx="130">
                  <c:v>8875</c:v>
                </c:pt>
                <c:pt idx="131">
                  <c:v>8875</c:v>
                </c:pt>
                <c:pt idx="132">
                  <c:v>8875</c:v>
                </c:pt>
                <c:pt idx="133">
                  <c:v>8875</c:v>
                </c:pt>
                <c:pt idx="134">
                  <c:v>8875</c:v>
                </c:pt>
                <c:pt idx="135">
                  <c:v>8875</c:v>
                </c:pt>
                <c:pt idx="136">
                  <c:v>8600</c:v>
                </c:pt>
                <c:pt idx="137">
                  <c:v>8600</c:v>
                </c:pt>
                <c:pt idx="138">
                  <c:v>8600</c:v>
                </c:pt>
                <c:pt idx="139">
                  <c:v>8600</c:v>
                </c:pt>
                <c:pt idx="140">
                  <c:v>8600</c:v>
                </c:pt>
                <c:pt idx="141">
                  <c:v>8600</c:v>
                </c:pt>
                <c:pt idx="142">
                  <c:v>8600</c:v>
                </c:pt>
                <c:pt idx="143">
                  <c:v>8600</c:v>
                </c:pt>
                <c:pt idx="144">
                  <c:v>8600</c:v>
                </c:pt>
                <c:pt idx="145">
                  <c:v>8600</c:v>
                </c:pt>
                <c:pt idx="146">
                  <c:v>8600</c:v>
                </c:pt>
                <c:pt idx="147">
                  <c:v>8600</c:v>
                </c:pt>
                <c:pt idx="148">
                  <c:v>8600</c:v>
                </c:pt>
                <c:pt idx="149">
                  <c:v>8600</c:v>
                </c:pt>
                <c:pt idx="150">
                  <c:v>8600</c:v>
                </c:pt>
                <c:pt idx="151">
                  <c:v>8600</c:v>
                </c:pt>
                <c:pt idx="152">
                  <c:v>8600</c:v>
                </c:pt>
                <c:pt idx="153">
                  <c:v>8600</c:v>
                </c:pt>
                <c:pt idx="154">
                  <c:v>8600</c:v>
                </c:pt>
                <c:pt idx="155">
                  <c:v>8600</c:v>
                </c:pt>
                <c:pt idx="156">
                  <c:v>8600</c:v>
                </c:pt>
                <c:pt idx="157">
                  <c:v>8600</c:v>
                </c:pt>
                <c:pt idx="158">
                  <c:v>8600</c:v>
                </c:pt>
                <c:pt idx="159">
                  <c:v>8600</c:v>
                </c:pt>
                <c:pt idx="160">
                  <c:v>8600</c:v>
                </c:pt>
                <c:pt idx="161">
                  <c:v>8600</c:v>
                </c:pt>
                <c:pt idx="162">
                  <c:v>8600</c:v>
                </c:pt>
                <c:pt idx="163">
                  <c:v>8600</c:v>
                </c:pt>
                <c:pt idx="164">
                  <c:v>8600</c:v>
                </c:pt>
                <c:pt idx="165">
                  <c:v>8600</c:v>
                </c:pt>
                <c:pt idx="166">
                  <c:v>8600</c:v>
                </c:pt>
                <c:pt idx="167">
                  <c:v>8600</c:v>
                </c:pt>
                <c:pt idx="168">
                  <c:v>8600</c:v>
                </c:pt>
                <c:pt idx="169">
                  <c:v>8600</c:v>
                </c:pt>
                <c:pt idx="170">
                  <c:v>8600</c:v>
                </c:pt>
                <c:pt idx="171">
                  <c:v>8600</c:v>
                </c:pt>
                <c:pt idx="172">
                  <c:v>8600</c:v>
                </c:pt>
                <c:pt idx="173">
                  <c:v>8600</c:v>
                </c:pt>
                <c:pt idx="174">
                  <c:v>8600</c:v>
                </c:pt>
                <c:pt idx="175">
                  <c:v>8600</c:v>
                </c:pt>
                <c:pt idx="176">
                  <c:v>8600</c:v>
                </c:pt>
                <c:pt idx="177">
                  <c:v>8600</c:v>
                </c:pt>
                <c:pt idx="178">
                  <c:v>8600</c:v>
                </c:pt>
                <c:pt idx="179">
                  <c:v>8600</c:v>
                </c:pt>
                <c:pt idx="180">
                  <c:v>8600</c:v>
                </c:pt>
                <c:pt idx="181">
                  <c:v>8600</c:v>
                </c:pt>
                <c:pt idx="182">
                  <c:v>8600</c:v>
                </c:pt>
                <c:pt idx="183">
                  <c:v>8600</c:v>
                </c:pt>
                <c:pt idx="184">
                  <c:v>8600</c:v>
                </c:pt>
                <c:pt idx="185">
                  <c:v>8600</c:v>
                </c:pt>
                <c:pt idx="186">
                  <c:v>8600</c:v>
                </c:pt>
                <c:pt idx="187">
                  <c:v>8600</c:v>
                </c:pt>
                <c:pt idx="188">
                  <c:v>8600</c:v>
                </c:pt>
                <c:pt idx="189">
                  <c:v>8600</c:v>
                </c:pt>
                <c:pt idx="190">
                  <c:v>8600</c:v>
                </c:pt>
                <c:pt idx="191">
                  <c:v>8600</c:v>
                </c:pt>
                <c:pt idx="192">
                  <c:v>8600</c:v>
                </c:pt>
                <c:pt idx="193">
                  <c:v>8600</c:v>
                </c:pt>
                <c:pt idx="194">
                  <c:v>8600</c:v>
                </c:pt>
                <c:pt idx="195">
                  <c:v>8600</c:v>
                </c:pt>
                <c:pt idx="196">
                  <c:v>8600</c:v>
                </c:pt>
                <c:pt idx="197">
                  <c:v>8600</c:v>
                </c:pt>
                <c:pt idx="198">
                  <c:v>8600</c:v>
                </c:pt>
                <c:pt idx="199">
                  <c:v>8600</c:v>
                </c:pt>
                <c:pt idx="200">
                  <c:v>8600</c:v>
                </c:pt>
                <c:pt idx="201">
                  <c:v>8600</c:v>
                </c:pt>
                <c:pt idx="202">
                  <c:v>8600</c:v>
                </c:pt>
                <c:pt idx="203">
                  <c:v>8600</c:v>
                </c:pt>
                <c:pt idx="204">
                  <c:v>8600</c:v>
                </c:pt>
                <c:pt idx="205">
                  <c:v>8600</c:v>
                </c:pt>
                <c:pt idx="206">
                  <c:v>8600</c:v>
                </c:pt>
                <c:pt idx="207">
                  <c:v>8600</c:v>
                </c:pt>
                <c:pt idx="208">
                  <c:v>8600</c:v>
                </c:pt>
                <c:pt idx="209">
                  <c:v>8600</c:v>
                </c:pt>
                <c:pt idx="210">
                  <c:v>8600</c:v>
                </c:pt>
                <c:pt idx="211">
                  <c:v>8600</c:v>
                </c:pt>
                <c:pt idx="212">
                  <c:v>8600</c:v>
                </c:pt>
                <c:pt idx="213">
                  <c:v>8600</c:v>
                </c:pt>
                <c:pt idx="214">
                  <c:v>8600</c:v>
                </c:pt>
                <c:pt idx="215">
                  <c:v>8600</c:v>
                </c:pt>
                <c:pt idx="216">
                  <c:v>8600</c:v>
                </c:pt>
                <c:pt idx="217">
                  <c:v>8600</c:v>
                </c:pt>
                <c:pt idx="218">
                  <c:v>8600</c:v>
                </c:pt>
                <c:pt idx="219">
                  <c:v>8600</c:v>
                </c:pt>
                <c:pt idx="220">
                  <c:v>8600</c:v>
                </c:pt>
                <c:pt idx="221">
                  <c:v>8600</c:v>
                </c:pt>
                <c:pt idx="222">
                  <c:v>8600</c:v>
                </c:pt>
                <c:pt idx="223">
                  <c:v>8600</c:v>
                </c:pt>
                <c:pt idx="224">
                  <c:v>8600</c:v>
                </c:pt>
                <c:pt idx="225">
                  <c:v>8600</c:v>
                </c:pt>
                <c:pt idx="226">
                  <c:v>8600</c:v>
                </c:pt>
                <c:pt idx="227">
                  <c:v>8600</c:v>
                </c:pt>
                <c:pt idx="228">
                  <c:v>8600</c:v>
                </c:pt>
                <c:pt idx="229">
                  <c:v>8600</c:v>
                </c:pt>
                <c:pt idx="230">
                  <c:v>8600</c:v>
                </c:pt>
                <c:pt idx="231">
                  <c:v>8600</c:v>
                </c:pt>
                <c:pt idx="232">
                  <c:v>8600</c:v>
                </c:pt>
                <c:pt idx="233">
                  <c:v>8600</c:v>
                </c:pt>
                <c:pt idx="234">
                  <c:v>8600</c:v>
                </c:pt>
                <c:pt idx="235">
                  <c:v>8600</c:v>
                </c:pt>
                <c:pt idx="236">
                  <c:v>8600</c:v>
                </c:pt>
                <c:pt idx="237">
                  <c:v>8600</c:v>
                </c:pt>
                <c:pt idx="238">
                  <c:v>8600</c:v>
                </c:pt>
                <c:pt idx="239">
                  <c:v>8600</c:v>
                </c:pt>
                <c:pt idx="240">
                  <c:v>8600</c:v>
                </c:pt>
                <c:pt idx="241">
                  <c:v>8600</c:v>
                </c:pt>
                <c:pt idx="242">
                  <c:v>8600</c:v>
                </c:pt>
                <c:pt idx="243">
                  <c:v>8600</c:v>
                </c:pt>
                <c:pt idx="244">
                  <c:v>8600</c:v>
                </c:pt>
                <c:pt idx="245">
                  <c:v>8600</c:v>
                </c:pt>
                <c:pt idx="246">
                  <c:v>8600</c:v>
                </c:pt>
                <c:pt idx="247">
                  <c:v>9200</c:v>
                </c:pt>
                <c:pt idx="248">
                  <c:v>9200</c:v>
                </c:pt>
                <c:pt idx="249">
                  <c:v>9200</c:v>
                </c:pt>
                <c:pt idx="250">
                  <c:v>9200</c:v>
                </c:pt>
                <c:pt idx="251">
                  <c:v>9200</c:v>
                </c:pt>
                <c:pt idx="252">
                  <c:v>9200</c:v>
                </c:pt>
                <c:pt idx="253">
                  <c:v>9200</c:v>
                </c:pt>
                <c:pt idx="254">
                  <c:v>9200</c:v>
                </c:pt>
                <c:pt idx="255">
                  <c:v>9200</c:v>
                </c:pt>
                <c:pt idx="256">
                  <c:v>9200</c:v>
                </c:pt>
                <c:pt idx="257">
                  <c:v>9200</c:v>
                </c:pt>
                <c:pt idx="258">
                  <c:v>9200</c:v>
                </c:pt>
                <c:pt idx="259">
                  <c:v>9200</c:v>
                </c:pt>
                <c:pt idx="260">
                  <c:v>9200</c:v>
                </c:pt>
                <c:pt idx="261">
                  <c:v>9200</c:v>
                </c:pt>
                <c:pt idx="262">
                  <c:v>9200</c:v>
                </c:pt>
                <c:pt idx="263">
                  <c:v>9200</c:v>
                </c:pt>
                <c:pt idx="264">
                  <c:v>9200</c:v>
                </c:pt>
                <c:pt idx="265">
                  <c:v>9200</c:v>
                </c:pt>
                <c:pt idx="266">
                  <c:v>9200</c:v>
                </c:pt>
                <c:pt idx="267">
                  <c:v>9200</c:v>
                </c:pt>
                <c:pt idx="268">
                  <c:v>9200</c:v>
                </c:pt>
                <c:pt idx="269">
                  <c:v>9200</c:v>
                </c:pt>
                <c:pt idx="270">
                  <c:v>9200</c:v>
                </c:pt>
                <c:pt idx="271">
                  <c:v>9200</c:v>
                </c:pt>
                <c:pt idx="272">
                  <c:v>9200</c:v>
                </c:pt>
                <c:pt idx="273">
                  <c:v>9200</c:v>
                </c:pt>
                <c:pt idx="274">
                  <c:v>9200</c:v>
                </c:pt>
                <c:pt idx="275">
                  <c:v>9200</c:v>
                </c:pt>
                <c:pt idx="276">
                  <c:v>9200</c:v>
                </c:pt>
                <c:pt idx="277">
                  <c:v>9200</c:v>
                </c:pt>
                <c:pt idx="278">
                  <c:v>9200</c:v>
                </c:pt>
                <c:pt idx="279">
                  <c:v>9200</c:v>
                </c:pt>
                <c:pt idx="280">
                  <c:v>9200</c:v>
                </c:pt>
                <c:pt idx="281">
                  <c:v>9200</c:v>
                </c:pt>
                <c:pt idx="282">
                  <c:v>9200</c:v>
                </c:pt>
                <c:pt idx="283">
                  <c:v>9200</c:v>
                </c:pt>
                <c:pt idx="284">
                  <c:v>9200</c:v>
                </c:pt>
                <c:pt idx="285">
                  <c:v>9200</c:v>
                </c:pt>
                <c:pt idx="286">
                  <c:v>9200</c:v>
                </c:pt>
                <c:pt idx="287">
                  <c:v>9200</c:v>
                </c:pt>
                <c:pt idx="288">
                  <c:v>9200</c:v>
                </c:pt>
                <c:pt idx="289">
                  <c:v>9200</c:v>
                </c:pt>
                <c:pt idx="290">
                  <c:v>9200</c:v>
                </c:pt>
                <c:pt idx="291">
                  <c:v>9200</c:v>
                </c:pt>
                <c:pt idx="292">
                  <c:v>9200</c:v>
                </c:pt>
                <c:pt idx="293">
                  <c:v>9200</c:v>
                </c:pt>
                <c:pt idx="294">
                  <c:v>9200</c:v>
                </c:pt>
                <c:pt idx="295">
                  <c:v>9200</c:v>
                </c:pt>
                <c:pt idx="296">
                  <c:v>9200</c:v>
                </c:pt>
                <c:pt idx="297">
                  <c:v>9200</c:v>
                </c:pt>
                <c:pt idx="298">
                  <c:v>9200</c:v>
                </c:pt>
                <c:pt idx="299">
                  <c:v>9200</c:v>
                </c:pt>
                <c:pt idx="300">
                  <c:v>9200</c:v>
                </c:pt>
                <c:pt idx="301">
                  <c:v>9200</c:v>
                </c:pt>
                <c:pt idx="302">
                  <c:v>9200</c:v>
                </c:pt>
                <c:pt idx="303">
                  <c:v>9200</c:v>
                </c:pt>
                <c:pt idx="304">
                  <c:v>9200</c:v>
                </c:pt>
                <c:pt idx="305">
                  <c:v>9200</c:v>
                </c:pt>
                <c:pt idx="306">
                  <c:v>9200</c:v>
                </c:pt>
                <c:pt idx="307">
                  <c:v>9200</c:v>
                </c:pt>
                <c:pt idx="308">
                  <c:v>9200</c:v>
                </c:pt>
                <c:pt idx="309">
                  <c:v>9200</c:v>
                </c:pt>
                <c:pt idx="310">
                  <c:v>9200</c:v>
                </c:pt>
                <c:pt idx="311">
                  <c:v>9200</c:v>
                </c:pt>
                <c:pt idx="312">
                  <c:v>9200</c:v>
                </c:pt>
                <c:pt idx="313">
                  <c:v>9200</c:v>
                </c:pt>
                <c:pt idx="314">
                  <c:v>9200</c:v>
                </c:pt>
                <c:pt idx="315">
                  <c:v>9200</c:v>
                </c:pt>
                <c:pt idx="316">
                  <c:v>9200</c:v>
                </c:pt>
                <c:pt idx="317">
                  <c:v>10800</c:v>
                </c:pt>
                <c:pt idx="318">
                  <c:v>10800</c:v>
                </c:pt>
                <c:pt idx="319">
                  <c:v>10800</c:v>
                </c:pt>
                <c:pt idx="320">
                  <c:v>10800</c:v>
                </c:pt>
                <c:pt idx="321">
                  <c:v>10800</c:v>
                </c:pt>
                <c:pt idx="322">
                  <c:v>10800</c:v>
                </c:pt>
                <c:pt idx="323">
                  <c:v>10800</c:v>
                </c:pt>
                <c:pt idx="324">
                  <c:v>10800</c:v>
                </c:pt>
                <c:pt idx="325">
                  <c:v>10800</c:v>
                </c:pt>
                <c:pt idx="326">
                  <c:v>10800</c:v>
                </c:pt>
                <c:pt idx="327">
                  <c:v>10800</c:v>
                </c:pt>
                <c:pt idx="328">
                  <c:v>10800</c:v>
                </c:pt>
                <c:pt idx="329">
                  <c:v>10800</c:v>
                </c:pt>
                <c:pt idx="330">
                  <c:v>10800</c:v>
                </c:pt>
                <c:pt idx="331">
                  <c:v>11100</c:v>
                </c:pt>
                <c:pt idx="332">
                  <c:v>11300</c:v>
                </c:pt>
                <c:pt idx="333">
                  <c:v>11300</c:v>
                </c:pt>
                <c:pt idx="334">
                  <c:v>11300</c:v>
                </c:pt>
                <c:pt idx="335">
                  <c:v>11300</c:v>
                </c:pt>
                <c:pt idx="336">
                  <c:v>11300</c:v>
                </c:pt>
                <c:pt idx="337">
                  <c:v>11300</c:v>
                </c:pt>
                <c:pt idx="338">
                  <c:v>11300</c:v>
                </c:pt>
                <c:pt idx="339">
                  <c:v>11300</c:v>
                </c:pt>
                <c:pt idx="340">
                  <c:v>12500</c:v>
                </c:pt>
                <c:pt idx="341">
                  <c:v>12500</c:v>
                </c:pt>
                <c:pt idx="342">
                  <c:v>12500</c:v>
                </c:pt>
                <c:pt idx="343">
                  <c:v>12500</c:v>
                </c:pt>
                <c:pt idx="344">
                  <c:v>12500</c:v>
                </c:pt>
                <c:pt idx="345">
                  <c:v>12500</c:v>
                </c:pt>
                <c:pt idx="346">
                  <c:v>12500</c:v>
                </c:pt>
                <c:pt idx="347">
                  <c:v>12500</c:v>
                </c:pt>
                <c:pt idx="348">
                  <c:v>12500</c:v>
                </c:pt>
                <c:pt idx="349">
                  <c:v>12500</c:v>
                </c:pt>
                <c:pt idx="350">
                  <c:v>12500</c:v>
                </c:pt>
                <c:pt idx="351">
                  <c:v>12500</c:v>
                </c:pt>
                <c:pt idx="352">
                  <c:v>12500</c:v>
                </c:pt>
                <c:pt idx="353">
                  <c:v>12500</c:v>
                </c:pt>
                <c:pt idx="354">
                  <c:v>13800</c:v>
                </c:pt>
                <c:pt idx="355">
                  <c:v>13800</c:v>
                </c:pt>
                <c:pt idx="356">
                  <c:v>13800</c:v>
                </c:pt>
                <c:pt idx="357">
                  <c:v>13800</c:v>
                </c:pt>
                <c:pt idx="358">
                  <c:v>13800</c:v>
                </c:pt>
                <c:pt idx="359">
                  <c:v>13800</c:v>
                </c:pt>
                <c:pt idx="360">
                  <c:v>13800</c:v>
                </c:pt>
                <c:pt idx="361">
                  <c:v>13800</c:v>
                </c:pt>
                <c:pt idx="362">
                  <c:v>13800</c:v>
                </c:pt>
                <c:pt idx="363">
                  <c:v>13800</c:v>
                </c:pt>
                <c:pt idx="364">
                  <c:v>13800</c:v>
                </c:pt>
                <c:pt idx="365">
                  <c:v>13800</c:v>
                </c:pt>
                <c:pt idx="366">
                  <c:v>13800</c:v>
                </c:pt>
                <c:pt idx="367">
                  <c:v>13800</c:v>
                </c:pt>
                <c:pt idx="368">
                  <c:v>13800</c:v>
                </c:pt>
                <c:pt idx="369">
                  <c:v>13800</c:v>
                </c:pt>
                <c:pt idx="370">
                  <c:v>13800</c:v>
                </c:pt>
                <c:pt idx="371">
                  <c:v>13800</c:v>
                </c:pt>
                <c:pt idx="372">
                  <c:v>13800</c:v>
                </c:pt>
                <c:pt idx="373">
                  <c:v>13800</c:v>
                </c:pt>
                <c:pt idx="374">
                  <c:v>13800</c:v>
                </c:pt>
                <c:pt idx="375">
                  <c:v>13800</c:v>
                </c:pt>
                <c:pt idx="376">
                  <c:v>13800</c:v>
                </c:pt>
                <c:pt idx="377">
                  <c:v>13800</c:v>
                </c:pt>
                <c:pt idx="378">
                  <c:v>13800</c:v>
                </c:pt>
                <c:pt idx="379">
                  <c:v>13800</c:v>
                </c:pt>
                <c:pt idx="380">
                  <c:v>13800</c:v>
                </c:pt>
                <c:pt idx="381">
                  <c:v>13800</c:v>
                </c:pt>
                <c:pt idx="382">
                  <c:v>13800</c:v>
                </c:pt>
                <c:pt idx="383">
                  <c:v>13800</c:v>
                </c:pt>
                <c:pt idx="384">
                  <c:v>13800</c:v>
                </c:pt>
                <c:pt idx="385">
                  <c:v>13800</c:v>
                </c:pt>
                <c:pt idx="386">
                  <c:v>13800</c:v>
                </c:pt>
                <c:pt idx="387">
                  <c:v>13800</c:v>
                </c:pt>
                <c:pt idx="388">
                  <c:v>13800</c:v>
                </c:pt>
                <c:pt idx="389">
                  <c:v>13800</c:v>
                </c:pt>
                <c:pt idx="390">
                  <c:v>14700</c:v>
                </c:pt>
                <c:pt idx="391">
                  <c:v>14700</c:v>
                </c:pt>
                <c:pt idx="392">
                  <c:v>14700</c:v>
                </c:pt>
                <c:pt idx="393">
                  <c:v>14700</c:v>
                </c:pt>
                <c:pt idx="394">
                  <c:v>14700</c:v>
                </c:pt>
                <c:pt idx="395">
                  <c:v>14700</c:v>
                </c:pt>
                <c:pt idx="396">
                  <c:v>14700</c:v>
                </c:pt>
                <c:pt idx="397">
                  <c:v>14700</c:v>
                </c:pt>
                <c:pt idx="398">
                  <c:v>14700</c:v>
                </c:pt>
                <c:pt idx="399">
                  <c:v>14700</c:v>
                </c:pt>
                <c:pt idx="400">
                  <c:v>14700</c:v>
                </c:pt>
                <c:pt idx="401">
                  <c:v>14700</c:v>
                </c:pt>
                <c:pt idx="402">
                  <c:v>14700</c:v>
                </c:pt>
                <c:pt idx="403">
                  <c:v>14700</c:v>
                </c:pt>
                <c:pt idx="404">
                  <c:v>14700</c:v>
                </c:pt>
                <c:pt idx="405">
                  <c:v>14700</c:v>
                </c:pt>
                <c:pt idx="406">
                  <c:v>14700</c:v>
                </c:pt>
                <c:pt idx="407">
                  <c:v>14700</c:v>
                </c:pt>
                <c:pt idx="408">
                  <c:v>15200</c:v>
                </c:pt>
                <c:pt idx="409">
                  <c:v>15200</c:v>
                </c:pt>
                <c:pt idx="410">
                  <c:v>15200</c:v>
                </c:pt>
                <c:pt idx="411">
                  <c:v>15200</c:v>
                </c:pt>
                <c:pt idx="412">
                  <c:v>15200</c:v>
                </c:pt>
                <c:pt idx="413">
                  <c:v>15200</c:v>
                </c:pt>
                <c:pt idx="414">
                  <c:v>15200</c:v>
                </c:pt>
                <c:pt idx="415">
                  <c:v>15200</c:v>
                </c:pt>
                <c:pt idx="416">
                  <c:v>15200</c:v>
                </c:pt>
                <c:pt idx="417">
                  <c:v>15200</c:v>
                </c:pt>
                <c:pt idx="418">
                  <c:v>15200</c:v>
                </c:pt>
                <c:pt idx="419">
                  <c:v>15200</c:v>
                </c:pt>
                <c:pt idx="420">
                  <c:v>15200</c:v>
                </c:pt>
                <c:pt idx="421">
                  <c:v>15200</c:v>
                </c:pt>
                <c:pt idx="422">
                  <c:v>16000</c:v>
                </c:pt>
                <c:pt idx="423">
                  <c:v>16000</c:v>
                </c:pt>
                <c:pt idx="424">
                  <c:v>16000</c:v>
                </c:pt>
                <c:pt idx="425">
                  <c:v>16000</c:v>
                </c:pt>
                <c:pt idx="426">
                  <c:v>16000</c:v>
                </c:pt>
                <c:pt idx="427">
                  <c:v>16000</c:v>
                </c:pt>
                <c:pt idx="428">
                  <c:v>16000</c:v>
                </c:pt>
                <c:pt idx="429">
                  <c:v>16000</c:v>
                </c:pt>
                <c:pt idx="430">
                  <c:v>16000</c:v>
                </c:pt>
                <c:pt idx="431">
                  <c:v>16000</c:v>
                </c:pt>
                <c:pt idx="432">
                  <c:v>16000</c:v>
                </c:pt>
                <c:pt idx="433">
                  <c:v>16000</c:v>
                </c:pt>
                <c:pt idx="434">
                  <c:v>16000</c:v>
                </c:pt>
                <c:pt idx="435">
                  <c:v>16000</c:v>
                </c:pt>
                <c:pt idx="436">
                  <c:v>16000</c:v>
                </c:pt>
                <c:pt idx="437">
                  <c:v>16000</c:v>
                </c:pt>
                <c:pt idx="438">
                  <c:v>16000</c:v>
                </c:pt>
                <c:pt idx="439">
                  <c:v>16500</c:v>
                </c:pt>
                <c:pt idx="440">
                  <c:v>16500</c:v>
                </c:pt>
                <c:pt idx="441">
                  <c:v>16500</c:v>
                </c:pt>
                <c:pt idx="442">
                  <c:v>16500</c:v>
                </c:pt>
                <c:pt idx="443">
                  <c:v>16500</c:v>
                </c:pt>
                <c:pt idx="444">
                  <c:v>16500</c:v>
                </c:pt>
                <c:pt idx="445">
                  <c:v>16500</c:v>
                </c:pt>
                <c:pt idx="446">
                  <c:v>16500</c:v>
                </c:pt>
                <c:pt idx="447">
                  <c:v>16500</c:v>
                </c:pt>
                <c:pt idx="448">
                  <c:v>16500</c:v>
                </c:pt>
                <c:pt idx="449">
                  <c:v>16500</c:v>
                </c:pt>
                <c:pt idx="450">
                  <c:v>16500</c:v>
                </c:pt>
                <c:pt idx="451">
                  <c:v>16500</c:v>
                </c:pt>
                <c:pt idx="452">
                  <c:v>16500</c:v>
                </c:pt>
                <c:pt idx="453">
                  <c:v>16500</c:v>
                </c:pt>
                <c:pt idx="454">
                  <c:v>16500</c:v>
                </c:pt>
                <c:pt idx="455">
                  <c:v>16500</c:v>
                </c:pt>
                <c:pt idx="456">
                  <c:v>16500</c:v>
                </c:pt>
                <c:pt idx="457">
                  <c:v>16500</c:v>
                </c:pt>
                <c:pt idx="458">
                  <c:v>16500</c:v>
                </c:pt>
                <c:pt idx="459">
                  <c:v>16500</c:v>
                </c:pt>
                <c:pt idx="460">
                  <c:v>16500</c:v>
                </c:pt>
                <c:pt idx="461">
                  <c:v>16500</c:v>
                </c:pt>
                <c:pt idx="462">
                  <c:v>16500</c:v>
                </c:pt>
                <c:pt idx="463">
                  <c:v>16500</c:v>
                </c:pt>
                <c:pt idx="464">
                  <c:v>16500</c:v>
                </c:pt>
                <c:pt idx="465">
                  <c:v>16500</c:v>
                </c:pt>
                <c:pt idx="466">
                  <c:v>16500</c:v>
                </c:pt>
                <c:pt idx="467">
                  <c:v>16500</c:v>
                </c:pt>
                <c:pt idx="468">
                  <c:v>16500</c:v>
                </c:pt>
                <c:pt idx="469">
                  <c:v>16500</c:v>
                </c:pt>
                <c:pt idx="470">
                  <c:v>16500</c:v>
                </c:pt>
                <c:pt idx="471">
                  <c:v>16750</c:v>
                </c:pt>
                <c:pt idx="472">
                  <c:v>18500</c:v>
                </c:pt>
                <c:pt idx="473">
                  <c:v>18500</c:v>
                </c:pt>
                <c:pt idx="474">
                  <c:v>18500</c:v>
                </c:pt>
                <c:pt idx="475">
                  <c:v>18500</c:v>
                </c:pt>
                <c:pt idx="476">
                  <c:v>18500</c:v>
                </c:pt>
                <c:pt idx="477">
                  <c:v>18500</c:v>
                </c:pt>
                <c:pt idx="478">
                  <c:v>18500</c:v>
                </c:pt>
                <c:pt idx="479">
                  <c:v>18500</c:v>
                </c:pt>
                <c:pt idx="480">
                  <c:v>18500</c:v>
                </c:pt>
                <c:pt idx="481">
                  <c:v>18500</c:v>
                </c:pt>
                <c:pt idx="482">
                  <c:v>18500</c:v>
                </c:pt>
                <c:pt idx="483">
                  <c:v>18500</c:v>
                </c:pt>
                <c:pt idx="484">
                  <c:v>18500</c:v>
                </c:pt>
                <c:pt idx="485">
                  <c:v>18500</c:v>
                </c:pt>
                <c:pt idx="486">
                  <c:v>18500</c:v>
                </c:pt>
                <c:pt idx="487">
                  <c:v>18500</c:v>
                </c:pt>
                <c:pt idx="488">
                  <c:v>18500</c:v>
                </c:pt>
                <c:pt idx="489">
                  <c:v>18500</c:v>
                </c:pt>
                <c:pt idx="490">
                  <c:v>18500</c:v>
                </c:pt>
                <c:pt idx="491">
                  <c:v>18500</c:v>
                </c:pt>
                <c:pt idx="492">
                  <c:v>18500</c:v>
                </c:pt>
                <c:pt idx="493">
                  <c:v>18500</c:v>
                </c:pt>
                <c:pt idx="494">
                  <c:v>18500</c:v>
                </c:pt>
                <c:pt idx="495">
                  <c:v>18500</c:v>
                </c:pt>
                <c:pt idx="496">
                  <c:v>18500</c:v>
                </c:pt>
                <c:pt idx="497">
                  <c:v>18500</c:v>
                </c:pt>
                <c:pt idx="498">
                  <c:v>18500</c:v>
                </c:pt>
                <c:pt idx="499">
                  <c:v>18500</c:v>
                </c:pt>
                <c:pt idx="500">
                  <c:v>18500</c:v>
                </c:pt>
                <c:pt idx="501">
                  <c:v>18500</c:v>
                </c:pt>
                <c:pt idx="502">
                  <c:v>18500</c:v>
                </c:pt>
                <c:pt idx="503">
                  <c:v>18500</c:v>
                </c:pt>
                <c:pt idx="504">
                  <c:v>18500</c:v>
                </c:pt>
                <c:pt idx="505">
                  <c:v>18500</c:v>
                </c:pt>
                <c:pt idx="506">
                  <c:v>18500</c:v>
                </c:pt>
                <c:pt idx="507">
                  <c:v>18500</c:v>
                </c:pt>
                <c:pt idx="508">
                  <c:v>18500</c:v>
                </c:pt>
                <c:pt idx="509">
                  <c:v>18500</c:v>
                </c:pt>
                <c:pt idx="510">
                  <c:v>18500</c:v>
                </c:pt>
                <c:pt idx="511">
                  <c:v>18500</c:v>
                </c:pt>
                <c:pt idx="512">
                  <c:v>19500</c:v>
                </c:pt>
                <c:pt idx="513">
                  <c:v>19500</c:v>
                </c:pt>
                <c:pt idx="514">
                  <c:v>19500</c:v>
                </c:pt>
                <c:pt idx="515">
                  <c:v>19500</c:v>
                </c:pt>
                <c:pt idx="516">
                  <c:v>19500</c:v>
                </c:pt>
                <c:pt idx="517">
                  <c:v>19500</c:v>
                </c:pt>
                <c:pt idx="518">
                  <c:v>19500</c:v>
                </c:pt>
                <c:pt idx="519">
                  <c:v>19500</c:v>
                </c:pt>
                <c:pt idx="520">
                  <c:v>19500</c:v>
                </c:pt>
                <c:pt idx="521">
                  <c:v>19500</c:v>
                </c:pt>
                <c:pt idx="522">
                  <c:v>19500</c:v>
                </c:pt>
                <c:pt idx="523">
                  <c:v>19500</c:v>
                </c:pt>
                <c:pt idx="524">
                  <c:v>19500</c:v>
                </c:pt>
                <c:pt idx="525">
                  <c:v>19500</c:v>
                </c:pt>
                <c:pt idx="526">
                  <c:v>19500</c:v>
                </c:pt>
                <c:pt idx="527">
                  <c:v>19500</c:v>
                </c:pt>
                <c:pt idx="528">
                  <c:v>19500</c:v>
                </c:pt>
                <c:pt idx="529">
                  <c:v>19500</c:v>
                </c:pt>
                <c:pt idx="530">
                  <c:v>19500</c:v>
                </c:pt>
                <c:pt idx="531">
                  <c:v>19500</c:v>
                </c:pt>
                <c:pt idx="532">
                  <c:v>19500</c:v>
                </c:pt>
                <c:pt idx="533">
                  <c:v>19500</c:v>
                </c:pt>
                <c:pt idx="534">
                  <c:v>19500</c:v>
                </c:pt>
                <c:pt idx="535">
                  <c:v>19500</c:v>
                </c:pt>
                <c:pt idx="536">
                  <c:v>19500</c:v>
                </c:pt>
                <c:pt idx="537">
                  <c:v>19500</c:v>
                </c:pt>
                <c:pt idx="538">
                  <c:v>19500</c:v>
                </c:pt>
                <c:pt idx="539">
                  <c:v>19500</c:v>
                </c:pt>
                <c:pt idx="540">
                  <c:v>19500</c:v>
                </c:pt>
                <c:pt idx="541">
                  <c:v>19500</c:v>
                </c:pt>
                <c:pt idx="542">
                  <c:v>19500</c:v>
                </c:pt>
                <c:pt idx="543">
                  <c:v>19500</c:v>
                </c:pt>
                <c:pt idx="544">
                  <c:v>19500</c:v>
                </c:pt>
                <c:pt idx="545">
                  <c:v>19500</c:v>
                </c:pt>
                <c:pt idx="546">
                  <c:v>19500</c:v>
                </c:pt>
                <c:pt idx="547">
                  <c:v>19500</c:v>
                </c:pt>
                <c:pt idx="548">
                  <c:v>19500</c:v>
                </c:pt>
                <c:pt idx="549">
                  <c:v>19500</c:v>
                </c:pt>
                <c:pt idx="550">
                  <c:v>19500</c:v>
                </c:pt>
                <c:pt idx="551">
                  <c:v>19500</c:v>
                </c:pt>
                <c:pt idx="552">
                  <c:v>19500</c:v>
                </c:pt>
                <c:pt idx="553">
                  <c:v>19500</c:v>
                </c:pt>
                <c:pt idx="554">
                  <c:v>19500</c:v>
                </c:pt>
                <c:pt idx="555">
                  <c:v>19500</c:v>
                </c:pt>
                <c:pt idx="556">
                  <c:v>19500</c:v>
                </c:pt>
                <c:pt idx="557">
                  <c:v>19500</c:v>
                </c:pt>
                <c:pt idx="558">
                  <c:v>19500</c:v>
                </c:pt>
                <c:pt idx="559">
                  <c:v>19500</c:v>
                </c:pt>
                <c:pt idx="560">
                  <c:v>19500</c:v>
                </c:pt>
                <c:pt idx="561">
                  <c:v>19500</c:v>
                </c:pt>
                <c:pt idx="562">
                  <c:v>19500</c:v>
                </c:pt>
                <c:pt idx="563">
                  <c:v>19500</c:v>
                </c:pt>
                <c:pt idx="564">
                  <c:v>19500</c:v>
                </c:pt>
                <c:pt idx="565">
                  <c:v>19500</c:v>
                </c:pt>
                <c:pt idx="566">
                  <c:v>19500</c:v>
                </c:pt>
                <c:pt idx="567">
                  <c:v>19500</c:v>
                </c:pt>
                <c:pt idx="568">
                  <c:v>19500</c:v>
                </c:pt>
                <c:pt idx="569">
                  <c:v>19500</c:v>
                </c:pt>
                <c:pt idx="570">
                  <c:v>19500</c:v>
                </c:pt>
                <c:pt idx="571">
                  <c:v>19500</c:v>
                </c:pt>
                <c:pt idx="572">
                  <c:v>19500</c:v>
                </c:pt>
                <c:pt idx="573">
                  <c:v>19500</c:v>
                </c:pt>
                <c:pt idx="574">
                  <c:v>19500</c:v>
                </c:pt>
                <c:pt idx="575">
                  <c:v>19500</c:v>
                </c:pt>
                <c:pt idx="576">
                  <c:v>19500</c:v>
                </c:pt>
                <c:pt idx="577">
                  <c:v>19500</c:v>
                </c:pt>
                <c:pt idx="578">
                  <c:v>19500</c:v>
                </c:pt>
                <c:pt idx="579">
                  <c:v>19500</c:v>
                </c:pt>
                <c:pt idx="580">
                  <c:v>19500</c:v>
                </c:pt>
                <c:pt idx="581">
                  <c:v>19500</c:v>
                </c:pt>
                <c:pt idx="582">
                  <c:v>19500</c:v>
                </c:pt>
                <c:pt idx="583">
                  <c:v>19500</c:v>
                </c:pt>
                <c:pt idx="584">
                  <c:v>19500</c:v>
                </c:pt>
                <c:pt idx="585">
                  <c:v>19500</c:v>
                </c:pt>
                <c:pt idx="586">
                  <c:v>19500</c:v>
                </c:pt>
                <c:pt idx="587">
                  <c:v>19500</c:v>
                </c:pt>
                <c:pt idx="588">
                  <c:v>19500</c:v>
                </c:pt>
                <c:pt idx="589">
                  <c:v>19500</c:v>
                </c:pt>
                <c:pt idx="590">
                  <c:v>19500</c:v>
                </c:pt>
                <c:pt idx="591">
                  <c:v>19500</c:v>
                </c:pt>
                <c:pt idx="592">
                  <c:v>19500</c:v>
                </c:pt>
                <c:pt idx="593">
                  <c:v>19500</c:v>
                </c:pt>
                <c:pt idx="594">
                  <c:v>19500</c:v>
                </c:pt>
                <c:pt idx="595">
                  <c:v>19500</c:v>
                </c:pt>
                <c:pt idx="596">
                  <c:v>19500</c:v>
                </c:pt>
                <c:pt idx="597">
                  <c:v>19500</c:v>
                </c:pt>
                <c:pt idx="598">
                  <c:v>19500</c:v>
                </c:pt>
                <c:pt idx="599">
                  <c:v>19500</c:v>
                </c:pt>
                <c:pt idx="600">
                  <c:v>19500</c:v>
                </c:pt>
                <c:pt idx="601">
                  <c:v>19500</c:v>
                </c:pt>
                <c:pt idx="602">
                  <c:v>19500</c:v>
                </c:pt>
                <c:pt idx="603">
                  <c:v>19500</c:v>
                </c:pt>
                <c:pt idx="604">
                  <c:v>19500</c:v>
                </c:pt>
                <c:pt idx="605">
                  <c:v>19500</c:v>
                </c:pt>
                <c:pt idx="606">
                  <c:v>19500</c:v>
                </c:pt>
                <c:pt idx="607">
                  <c:v>19500</c:v>
                </c:pt>
                <c:pt idx="608">
                  <c:v>19500</c:v>
                </c:pt>
                <c:pt idx="609">
                  <c:v>19500</c:v>
                </c:pt>
                <c:pt idx="610">
                  <c:v>19500</c:v>
                </c:pt>
                <c:pt idx="611">
                  <c:v>19500</c:v>
                </c:pt>
                <c:pt idx="612">
                  <c:v>19500</c:v>
                </c:pt>
                <c:pt idx="613">
                  <c:v>19500</c:v>
                </c:pt>
                <c:pt idx="614">
                  <c:v>19500</c:v>
                </c:pt>
                <c:pt idx="615">
                  <c:v>19500</c:v>
                </c:pt>
                <c:pt idx="616">
                  <c:v>19500</c:v>
                </c:pt>
                <c:pt idx="617">
                  <c:v>19500</c:v>
                </c:pt>
                <c:pt idx="618">
                  <c:v>19500</c:v>
                </c:pt>
                <c:pt idx="619">
                  <c:v>19500</c:v>
                </c:pt>
                <c:pt idx="620">
                  <c:v>19500</c:v>
                </c:pt>
                <c:pt idx="621">
                  <c:v>19500</c:v>
                </c:pt>
                <c:pt idx="622">
                  <c:v>19500</c:v>
                </c:pt>
                <c:pt idx="623">
                  <c:v>19500</c:v>
                </c:pt>
                <c:pt idx="624">
                  <c:v>19500</c:v>
                </c:pt>
                <c:pt idx="625">
                  <c:v>19500</c:v>
                </c:pt>
                <c:pt idx="626">
                  <c:v>19500</c:v>
                </c:pt>
                <c:pt idx="627">
                  <c:v>19500</c:v>
                </c:pt>
                <c:pt idx="628">
                  <c:v>19500</c:v>
                </c:pt>
                <c:pt idx="629">
                  <c:v>19500</c:v>
                </c:pt>
                <c:pt idx="630">
                  <c:v>19500</c:v>
                </c:pt>
                <c:pt idx="631">
                  <c:v>19500</c:v>
                </c:pt>
                <c:pt idx="632">
                  <c:v>19500</c:v>
                </c:pt>
                <c:pt idx="633">
                  <c:v>19500</c:v>
                </c:pt>
                <c:pt idx="634">
                  <c:v>19500</c:v>
                </c:pt>
                <c:pt idx="635">
                  <c:v>19500</c:v>
                </c:pt>
                <c:pt idx="636">
                  <c:v>19500</c:v>
                </c:pt>
                <c:pt idx="637">
                  <c:v>19500</c:v>
                </c:pt>
                <c:pt idx="638">
                  <c:v>19500</c:v>
                </c:pt>
                <c:pt idx="639">
                  <c:v>19500</c:v>
                </c:pt>
                <c:pt idx="640">
                  <c:v>19500</c:v>
                </c:pt>
                <c:pt idx="641">
                  <c:v>19500</c:v>
                </c:pt>
                <c:pt idx="642">
                  <c:v>19500</c:v>
                </c:pt>
                <c:pt idx="643">
                  <c:v>19500</c:v>
                </c:pt>
                <c:pt idx="644">
                  <c:v>19500</c:v>
                </c:pt>
                <c:pt idx="645">
                  <c:v>19500</c:v>
                </c:pt>
                <c:pt idx="646">
                  <c:v>19500</c:v>
                </c:pt>
                <c:pt idx="647">
                  <c:v>19500</c:v>
                </c:pt>
                <c:pt idx="648">
                  <c:v>19500</c:v>
                </c:pt>
                <c:pt idx="649">
                  <c:v>19500</c:v>
                </c:pt>
                <c:pt idx="650">
                  <c:v>19500</c:v>
                </c:pt>
                <c:pt idx="651">
                  <c:v>19500</c:v>
                </c:pt>
                <c:pt idx="652">
                  <c:v>19500</c:v>
                </c:pt>
                <c:pt idx="653">
                  <c:v>19500</c:v>
                </c:pt>
                <c:pt idx="654">
                  <c:v>19500</c:v>
                </c:pt>
                <c:pt idx="655">
                  <c:v>19500</c:v>
                </c:pt>
                <c:pt idx="656">
                  <c:v>19500</c:v>
                </c:pt>
                <c:pt idx="657">
                  <c:v>19500</c:v>
                </c:pt>
                <c:pt idx="658">
                  <c:v>19500</c:v>
                </c:pt>
                <c:pt idx="659">
                  <c:v>19500</c:v>
                </c:pt>
                <c:pt idx="660">
                  <c:v>19500</c:v>
                </c:pt>
                <c:pt idx="661">
                  <c:v>19500</c:v>
                </c:pt>
                <c:pt idx="662">
                  <c:v>19500</c:v>
                </c:pt>
                <c:pt idx="663">
                  <c:v>19500</c:v>
                </c:pt>
                <c:pt idx="664">
                  <c:v>19500</c:v>
                </c:pt>
                <c:pt idx="665">
                  <c:v>19500</c:v>
                </c:pt>
                <c:pt idx="666">
                  <c:v>19500</c:v>
                </c:pt>
                <c:pt idx="667">
                  <c:v>19500</c:v>
                </c:pt>
                <c:pt idx="668">
                  <c:v>19500</c:v>
                </c:pt>
                <c:pt idx="669">
                  <c:v>19500</c:v>
                </c:pt>
                <c:pt idx="670">
                  <c:v>19500</c:v>
                </c:pt>
                <c:pt idx="671">
                  <c:v>19500</c:v>
                </c:pt>
                <c:pt idx="672">
                  <c:v>19500</c:v>
                </c:pt>
                <c:pt idx="673">
                  <c:v>19500</c:v>
                </c:pt>
                <c:pt idx="674">
                  <c:v>19500</c:v>
                </c:pt>
                <c:pt idx="675">
                  <c:v>19500</c:v>
                </c:pt>
                <c:pt idx="676">
                  <c:v>19500</c:v>
                </c:pt>
                <c:pt idx="677">
                  <c:v>19500</c:v>
                </c:pt>
                <c:pt idx="678">
                  <c:v>19500</c:v>
                </c:pt>
                <c:pt idx="679">
                  <c:v>19500</c:v>
                </c:pt>
                <c:pt idx="680">
                  <c:v>19500</c:v>
                </c:pt>
                <c:pt idx="681">
                  <c:v>19500</c:v>
                </c:pt>
                <c:pt idx="682">
                  <c:v>19500</c:v>
                </c:pt>
                <c:pt idx="683">
                  <c:v>19500</c:v>
                </c:pt>
                <c:pt idx="684">
                  <c:v>19500</c:v>
                </c:pt>
                <c:pt idx="685">
                  <c:v>19500</c:v>
                </c:pt>
                <c:pt idx="686">
                  <c:v>19500</c:v>
                </c:pt>
                <c:pt idx="687">
                  <c:v>19500</c:v>
                </c:pt>
                <c:pt idx="688">
                  <c:v>19500</c:v>
                </c:pt>
                <c:pt idx="689">
                  <c:v>19500</c:v>
                </c:pt>
                <c:pt idx="690">
                  <c:v>19500</c:v>
                </c:pt>
                <c:pt idx="691">
                  <c:v>19500</c:v>
                </c:pt>
                <c:pt idx="692">
                  <c:v>19500</c:v>
                </c:pt>
                <c:pt idx="693">
                  <c:v>19500</c:v>
                </c:pt>
                <c:pt idx="694">
                  <c:v>19500</c:v>
                </c:pt>
                <c:pt idx="695">
                  <c:v>19500</c:v>
                </c:pt>
                <c:pt idx="696">
                  <c:v>19500</c:v>
                </c:pt>
                <c:pt idx="697">
                  <c:v>19500</c:v>
                </c:pt>
                <c:pt idx="698">
                  <c:v>19500</c:v>
                </c:pt>
                <c:pt idx="699">
                  <c:v>19500</c:v>
                </c:pt>
                <c:pt idx="700">
                  <c:v>19500</c:v>
                </c:pt>
                <c:pt idx="701">
                  <c:v>19500</c:v>
                </c:pt>
                <c:pt idx="702">
                  <c:v>19500</c:v>
                </c:pt>
                <c:pt idx="703">
                  <c:v>19500</c:v>
                </c:pt>
                <c:pt idx="704">
                  <c:v>19500</c:v>
                </c:pt>
                <c:pt idx="705">
                  <c:v>19500</c:v>
                </c:pt>
                <c:pt idx="706">
                  <c:v>19500</c:v>
                </c:pt>
                <c:pt idx="707">
                  <c:v>19500</c:v>
                </c:pt>
                <c:pt idx="708">
                  <c:v>19500</c:v>
                </c:pt>
                <c:pt idx="709">
                  <c:v>19500</c:v>
                </c:pt>
                <c:pt idx="710">
                  <c:v>19500</c:v>
                </c:pt>
                <c:pt idx="711">
                  <c:v>19500</c:v>
                </c:pt>
                <c:pt idx="712">
                  <c:v>19500</c:v>
                </c:pt>
                <c:pt idx="713">
                  <c:v>19500</c:v>
                </c:pt>
                <c:pt idx="714">
                  <c:v>19500</c:v>
                </c:pt>
                <c:pt idx="715">
                  <c:v>19500</c:v>
                </c:pt>
                <c:pt idx="716">
                  <c:v>19500</c:v>
                </c:pt>
                <c:pt idx="717">
                  <c:v>19500</c:v>
                </c:pt>
                <c:pt idx="718">
                  <c:v>19500</c:v>
                </c:pt>
                <c:pt idx="719">
                  <c:v>19500</c:v>
                </c:pt>
                <c:pt idx="720">
                  <c:v>19500</c:v>
                </c:pt>
                <c:pt idx="721">
                  <c:v>19500</c:v>
                </c:pt>
                <c:pt idx="722">
                  <c:v>19500</c:v>
                </c:pt>
                <c:pt idx="723">
                  <c:v>19500</c:v>
                </c:pt>
                <c:pt idx="724">
                  <c:v>19500</c:v>
                </c:pt>
                <c:pt idx="725">
                  <c:v>19500</c:v>
                </c:pt>
                <c:pt idx="726">
                  <c:v>19500</c:v>
                </c:pt>
                <c:pt idx="727">
                  <c:v>19500</c:v>
                </c:pt>
                <c:pt idx="728">
                  <c:v>19500</c:v>
                </c:pt>
                <c:pt idx="729">
                  <c:v>19500</c:v>
                </c:pt>
                <c:pt idx="730">
                  <c:v>19500</c:v>
                </c:pt>
                <c:pt idx="731">
                  <c:v>19500</c:v>
                </c:pt>
                <c:pt idx="732">
                  <c:v>19500</c:v>
                </c:pt>
                <c:pt idx="733">
                  <c:v>19500</c:v>
                </c:pt>
                <c:pt idx="734">
                  <c:v>19500</c:v>
                </c:pt>
                <c:pt idx="735">
                  <c:v>19500</c:v>
                </c:pt>
                <c:pt idx="736">
                  <c:v>19500</c:v>
                </c:pt>
                <c:pt idx="737">
                  <c:v>19500</c:v>
                </c:pt>
                <c:pt idx="738">
                  <c:v>19500</c:v>
                </c:pt>
                <c:pt idx="739">
                  <c:v>19500</c:v>
                </c:pt>
                <c:pt idx="740">
                  <c:v>19500</c:v>
                </c:pt>
                <c:pt idx="741">
                  <c:v>19500</c:v>
                </c:pt>
                <c:pt idx="742">
                  <c:v>19500</c:v>
                </c:pt>
                <c:pt idx="743">
                  <c:v>19500</c:v>
                </c:pt>
                <c:pt idx="744">
                  <c:v>19500</c:v>
                </c:pt>
                <c:pt idx="745">
                  <c:v>19500</c:v>
                </c:pt>
                <c:pt idx="746">
                  <c:v>19500</c:v>
                </c:pt>
                <c:pt idx="747">
                  <c:v>19500</c:v>
                </c:pt>
                <c:pt idx="748">
                  <c:v>19500</c:v>
                </c:pt>
                <c:pt idx="749">
                  <c:v>19500</c:v>
                </c:pt>
                <c:pt idx="750">
                  <c:v>19500</c:v>
                </c:pt>
                <c:pt idx="751">
                  <c:v>19500</c:v>
                </c:pt>
                <c:pt idx="752">
                  <c:v>19500</c:v>
                </c:pt>
                <c:pt idx="753">
                  <c:v>19500</c:v>
                </c:pt>
                <c:pt idx="754">
                  <c:v>19500</c:v>
                </c:pt>
                <c:pt idx="755">
                  <c:v>19500</c:v>
                </c:pt>
                <c:pt idx="756">
                  <c:v>19500</c:v>
                </c:pt>
                <c:pt idx="757">
                  <c:v>19500</c:v>
                </c:pt>
                <c:pt idx="758">
                  <c:v>19500</c:v>
                </c:pt>
                <c:pt idx="759">
                  <c:v>19500</c:v>
                </c:pt>
                <c:pt idx="760">
                  <c:v>19500</c:v>
                </c:pt>
                <c:pt idx="761">
                  <c:v>19500</c:v>
                </c:pt>
                <c:pt idx="762">
                  <c:v>19500</c:v>
                </c:pt>
                <c:pt idx="763">
                  <c:v>19500</c:v>
                </c:pt>
                <c:pt idx="764">
                  <c:v>19500</c:v>
                </c:pt>
                <c:pt idx="765">
                  <c:v>19500</c:v>
                </c:pt>
                <c:pt idx="766">
                  <c:v>19500</c:v>
                </c:pt>
                <c:pt idx="767">
                  <c:v>19500</c:v>
                </c:pt>
                <c:pt idx="768">
                  <c:v>19500</c:v>
                </c:pt>
                <c:pt idx="769">
                  <c:v>19500</c:v>
                </c:pt>
                <c:pt idx="770">
                  <c:v>19500</c:v>
                </c:pt>
                <c:pt idx="771">
                  <c:v>19500</c:v>
                </c:pt>
                <c:pt idx="772">
                  <c:v>19500</c:v>
                </c:pt>
                <c:pt idx="773">
                  <c:v>19500</c:v>
                </c:pt>
                <c:pt idx="774">
                  <c:v>19500</c:v>
                </c:pt>
                <c:pt idx="775">
                  <c:v>19500</c:v>
                </c:pt>
                <c:pt idx="776">
                  <c:v>19500</c:v>
                </c:pt>
                <c:pt idx="777">
                  <c:v>19500</c:v>
                </c:pt>
                <c:pt idx="778">
                  <c:v>19500</c:v>
                </c:pt>
                <c:pt idx="779">
                  <c:v>19500</c:v>
                </c:pt>
                <c:pt idx="780">
                  <c:v>19500</c:v>
                </c:pt>
                <c:pt idx="781">
                  <c:v>19500</c:v>
                </c:pt>
                <c:pt idx="782">
                  <c:v>19500</c:v>
                </c:pt>
                <c:pt idx="783">
                  <c:v>19500</c:v>
                </c:pt>
                <c:pt idx="784">
                  <c:v>19500</c:v>
                </c:pt>
                <c:pt idx="785">
                  <c:v>19500</c:v>
                </c:pt>
                <c:pt idx="786">
                  <c:v>19500</c:v>
                </c:pt>
                <c:pt idx="787">
                  <c:v>19500</c:v>
                </c:pt>
                <c:pt idx="788">
                  <c:v>18000</c:v>
                </c:pt>
                <c:pt idx="789">
                  <c:v>18000</c:v>
                </c:pt>
                <c:pt idx="790">
                  <c:v>18000</c:v>
                </c:pt>
                <c:pt idx="791">
                  <c:v>18000</c:v>
                </c:pt>
                <c:pt idx="792">
                  <c:v>18000</c:v>
                </c:pt>
                <c:pt idx="793">
                  <c:v>18000</c:v>
                </c:pt>
                <c:pt idx="794">
                  <c:v>18000</c:v>
                </c:pt>
                <c:pt idx="795">
                  <c:v>18000</c:v>
                </c:pt>
                <c:pt idx="796">
                  <c:v>18000</c:v>
                </c:pt>
                <c:pt idx="797">
                  <c:v>18000</c:v>
                </c:pt>
                <c:pt idx="798">
                  <c:v>18000</c:v>
                </c:pt>
                <c:pt idx="799">
                  <c:v>18000</c:v>
                </c:pt>
                <c:pt idx="800">
                  <c:v>18000</c:v>
                </c:pt>
                <c:pt idx="801">
                  <c:v>18000</c:v>
                </c:pt>
                <c:pt idx="802">
                  <c:v>18000</c:v>
                </c:pt>
                <c:pt idx="803">
                  <c:v>18000</c:v>
                </c:pt>
                <c:pt idx="804">
                  <c:v>18000</c:v>
                </c:pt>
                <c:pt idx="805">
                  <c:v>18000</c:v>
                </c:pt>
                <c:pt idx="806">
                  <c:v>18000</c:v>
                </c:pt>
                <c:pt idx="807">
                  <c:v>18000</c:v>
                </c:pt>
                <c:pt idx="808">
                  <c:v>18000</c:v>
                </c:pt>
                <c:pt idx="809">
                  <c:v>18000</c:v>
                </c:pt>
                <c:pt idx="810">
                  <c:v>18000</c:v>
                </c:pt>
                <c:pt idx="811">
                  <c:v>18000</c:v>
                </c:pt>
                <c:pt idx="812">
                  <c:v>18000</c:v>
                </c:pt>
                <c:pt idx="813">
                  <c:v>18000</c:v>
                </c:pt>
                <c:pt idx="814">
                  <c:v>17333</c:v>
                </c:pt>
                <c:pt idx="815">
                  <c:v>17333</c:v>
                </c:pt>
                <c:pt idx="816">
                  <c:v>17333</c:v>
                </c:pt>
                <c:pt idx="817">
                  <c:v>17333</c:v>
                </c:pt>
                <c:pt idx="818">
                  <c:v>17333</c:v>
                </c:pt>
                <c:pt idx="819">
                  <c:v>17333</c:v>
                </c:pt>
                <c:pt idx="820">
                  <c:v>16000</c:v>
                </c:pt>
                <c:pt idx="821">
                  <c:v>16000</c:v>
                </c:pt>
                <c:pt idx="822">
                  <c:v>16000</c:v>
                </c:pt>
                <c:pt idx="823">
                  <c:v>16000</c:v>
                </c:pt>
                <c:pt idx="824">
                  <c:v>16000</c:v>
                </c:pt>
                <c:pt idx="825">
                  <c:v>16000</c:v>
                </c:pt>
                <c:pt idx="826">
                  <c:v>16000</c:v>
                </c:pt>
                <c:pt idx="827">
                  <c:v>16000</c:v>
                </c:pt>
                <c:pt idx="828">
                  <c:v>16000</c:v>
                </c:pt>
                <c:pt idx="829">
                  <c:v>16000</c:v>
                </c:pt>
                <c:pt idx="830">
                  <c:v>16000</c:v>
                </c:pt>
                <c:pt idx="831">
                  <c:v>16000</c:v>
                </c:pt>
                <c:pt idx="832">
                  <c:v>16000</c:v>
                </c:pt>
                <c:pt idx="833">
                  <c:v>16000</c:v>
                </c:pt>
                <c:pt idx="834">
                  <c:v>16000</c:v>
                </c:pt>
                <c:pt idx="835">
                  <c:v>16000</c:v>
                </c:pt>
                <c:pt idx="836">
                  <c:v>16000</c:v>
                </c:pt>
                <c:pt idx="837">
                  <c:v>16000</c:v>
                </c:pt>
                <c:pt idx="838">
                  <c:v>16000</c:v>
                </c:pt>
                <c:pt idx="839">
                  <c:v>16000</c:v>
                </c:pt>
                <c:pt idx="840">
                  <c:v>16000</c:v>
                </c:pt>
                <c:pt idx="841">
                  <c:v>16000</c:v>
                </c:pt>
                <c:pt idx="842">
                  <c:v>16000</c:v>
                </c:pt>
                <c:pt idx="843">
                  <c:v>16000</c:v>
                </c:pt>
                <c:pt idx="844">
                  <c:v>16000</c:v>
                </c:pt>
                <c:pt idx="845">
                  <c:v>16000</c:v>
                </c:pt>
                <c:pt idx="846">
                  <c:v>16000</c:v>
                </c:pt>
                <c:pt idx="847">
                  <c:v>16000</c:v>
                </c:pt>
                <c:pt idx="848">
                  <c:v>16000</c:v>
                </c:pt>
                <c:pt idx="849">
                  <c:v>16000</c:v>
                </c:pt>
                <c:pt idx="850">
                  <c:v>16000</c:v>
                </c:pt>
                <c:pt idx="851">
                  <c:v>16000</c:v>
                </c:pt>
                <c:pt idx="852">
                  <c:v>16000</c:v>
                </c:pt>
                <c:pt idx="853">
                  <c:v>16000</c:v>
                </c:pt>
                <c:pt idx="854">
                  <c:v>16000</c:v>
                </c:pt>
                <c:pt idx="855">
                  <c:v>16000</c:v>
                </c:pt>
                <c:pt idx="856">
                  <c:v>16000</c:v>
                </c:pt>
                <c:pt idx="857">
                  <c:v>16000</c:v>
                </c:pt>
                <c:pt idx="858">
                  <c:v>16000</c:v>
                </c:pt>
                <c:pt idx="859">
                  <c:v>16000</c:v>
                </c:pt>
                <c:pt idx="860">
                  <c:v>16000</c:v>
                </c:pt>
                <c:pt idx="861">
                  <c:v>16000</c:v>
                </c:pt>
                <c:pt idx="862">
                  <c:v>16000</c:v>
                </c:pt>
                <c:pt idx="863">
                  <c:v>16000</c:v>
                </c:pt>
                <c:pt idx="864">
                  <c:v>16000</c:v>
                </c:pt>
                <c:pt idx="865">
                  <c:v>16000</c:v>
                </c:pt>
                <c:pt idx="866">
                  <c:v>16000</c:v>
                </c:pt>
                <c:pt idx="867">
                  <c:v>16000</c:v>
                </c:pt>
                <c:pt idx="868">
                  <c:v>16000</c:v>
                </c:pt>
                <c:pt idx="869">
                  <c:v>16000</c:v>
                </c:pt>
                <c:pt idx="870">
                  <c:v>16000</c:v>
                </c:pt>
                <c:pt idx="871">
                  <c:v>16000</c:v>
                </c:pt>
                <c:pt idx="872">
                  <c:v>16000</c:v>
                </c:pt>
                <c:pt idx="873">
                  <c:v>16000</c:v>
                </c:pt>
                <c:pt idx="874">
                  <c:v>16000</c:v>
                </c:pt>
                <c:pt idx="875">
                  <c:v>16000</c:v>
                </c:pt>
                <c:pt idx="876">
                  <c:v>16000</c:v>
                </c:pt>
                <c:pt idx="877">
                  <c:v>16000</c:v>
                </c:pt>
                <c:pt idx="878">
                  <c:v>16000</c:v>
                </c:pt>
                <c:pt idx="879">
                  <c:v>16000</c:v>
                </c:pt>
                <c:pt idx="880">
                  <c:v>16000</c:v>
                </c:pt>
                <c:pt idx="881">
                  <c:v>16000</c:v>
                </c:pt>
                <c:pt idx="882">
                  <c:v>16000</c:v>
                </c:pt>
                <c:pt idx="883">
                  <c:v>16000</c:v>
                </c:pt>
                <c:pt idx="884">
                  <c:v>16000</c:v>
                </c:pt>
                <c:pt idx="885">
                  <c:v>16000</c:v>
                </c:pt>
                <c:pt idx="886">
                  <c:v>16000</c:v>
                </c:pt>
                <c:pt idx="887">
                  <c:v>16000</c:v>
                </c:pt>
                <c:pt idx="888">
                  <c:v>16000</c:v>
                </c:pt>
                <c:pt idx="889">
                  <c:v>16000</c:v>
                </c:pt>
                <c:pt idx="890">
                  <c:v>16000</c:v>
                </c:pt>
                <c:pt idx="891">
                  <c:v>16000</c:v>
                </c:pt>
                <c:pt idx="892">
                  <c:v>16000</c:v>
                </c:pt>
                <c:pt idx="893">
                  <c:v>16000</c:v>
                </c:pt>
                <c:pt idx="894">
                  <c:v>16000</c:v>
                </c:pt>
                <c:pt idx="895">
                  <c:v>16000</c:v>
                </c:pt>
                <c:pt idx="896">
                  <c:v>16000</c:v>
                </c:pt>
                <c:pt idx="897">
                  <c:v>16000</c:v>
                </c:pt>
                <c:pt idx="898">
                  <c:v>16000</c:v>
                </c:pt>
                <c:pt idx="899">
                  <c:v>16000</c:v>
                </c:pt>
                <c:pt idx="900">
                  <c:v>16000</c:v>
                </c:pt>
                <c:pt idx="901">
                  <c:v>16000</c:v>
                </c:pt>
                <c:pt idx="902">
                  <c:v>16000</c:v>
                </c:pt>
                <c:pt idx="903">
                  <c:v>16000</c:v>
                </c:pt>
                <c:pt idx="904">
                  <c:v>16000</c:v>
                </c:pt>
                <c:pt idx="905">
                  <c:v>16000</c:v>
                </c:pt>
                <c:pt idx="906">
                  <c:v>16000</c:v>
                </c:pt>
                <c:pt idx="907">
                  <c:v>16000</c:v>
                </c:pt>
                <c:pt idx="908">
                  <c:v>16000</c:v>
                </c:pt>
                <c:pt idx="909">
                  <c:v>16000</c:v>
                </c:pt>
                <c:pt idx="910">
                  <c:v>16000</c:v>
                </c:pt>
                <c:pt idx="911">
                  <c:v>16000</c:v>
                </c:pt>
                <c:pt idx="912">
                  <c:v>16000</c:v>
                </c:pt>
                <c:pt idx="913">
                  <c:v>16000</c:v>
                </c:pt>
                <c:pt idx="914">
                  <c:v>16000</c:v>
                </c:pt>
                <c:pt idx="915">
                  <c:v>16000</c:v>
                </c:pt>
                <c:pt idx="916">
                  <c:v>16000</c:v>
                </c:pt>
                <c:pt idx="917">
                  <c:v>16000</c:v>
                </c:pt>
                <c:pt idx="918">
                  <c:v>16000</c:v>
                </c:pt>
                <c:pt idx="919">
                  <c:v>16000</c:v>
                </c:pt>
                <c:pt idx="920">
                  <c:v>16000</c:v>
                </c:pt>
                <c:pt idx="921">
                  <c:v>16000</c:v>
                </c:pt>
                <c:pt idx="922">
                  <c:v>16000</c:v>
                </c:pt>
              </c:numCache>
            </c:numRef>
          </c:val>
          <c:smooth val="0"/>
          <c:extLst>
            <c:ext xmlns:c16="http://schemas.microsoft.com/office/drawing/2014/chart" uri="{C3380CC4-5D6E-409C-BE32-E72D297353CC}">
              <c16:uniqueId val="{00000002-83D2-427D-B0DB-D9DD225DE657}"/>
            </c:ext>
          </c:extLst>
        </c:ser>
        <c:dLbls>
          <c:showLegendKey val="0"/>
          <c:showVal val="0"/>
          <c:showCatName val="0"/>
          <c:showSerName val="0"/>
          <c:showPercent val="0"/>
          <c:showBubbleSize val="0"/>
        </c:dLbls>
        <c:smooth val="0"/>
        <c:axId val="1997580687"/>
        <c:axId val="1339144079"/>
      </c:lineChart>
      <c:dateAx>
        <c:axId val="1997580687"/>
        <c:scaling>
          <c:orientation val="minMax"/>
          <c:min val="44927"/>
        </c:scaling>
        <c:delete val="0"/>
        <c:axPos val="b"/>
        <c:numFmt formatCode="yy\-mm" sourceLinked="0"/>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ysClr val="windowText" lastClr="000000"/>
                </a:solidFill>
                <a:latin typeface="+mn-lt"/>
                <a:ea typeface="+mn-ea"/>
                <a:cs typeface="+mn-ea"/>
                <a:sym typeface="+mn-lt"/>
              </a:defRPr>
            </a:pPr>
            <a:endParaRPr lang="zh-CN"/>
          </a:p>
        </c:txPr>
        <c:crossAx val="1339144079"/>
        <c:crosses val="autoZero"/>
        <c:auto val="1"/>
        <c:lblOffset val="100"/>
        <c:baseTimeUnit val="days"/>
      </c:dateAx>
      <c:valAx>
        <c:axId val="1339144079"/>
        <c:scaling>
          <c:orientation val="minMax"/>
          <c:min val="6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ea"/>
                <a:sym typeface="+mn-lt"/>
              </a:defRPr>
            </a:pPr>
            <a:endParaRPr lang="zh-CN"/>
          </a:p>
        </c:txPr>
        <c:crossAx val="19975806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ysClr val="windowText" lastClr="000000"/>
          </a:solidFill>
          <a:latin typeface="+mn-lt"/>
          <a:ea typeface="+mn-ea"/>
          <a:cs typeface="+mn-ea"/>
          <a:sym typeface="+mn-lt"/>
        </a:defRPr>
      </a:pPr>
      <a:endParaRPr lang="zh-CN"/>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zh-CN"/>
              <a:t>硅石现货价格</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硅石价格图表!$AJ$2</c:f>
              <c:strCache>
                <c:ptCount val="1"/>
                <c:pt idx="0">
                  <c:v>湖北</c:v>
                </c:pt>
              </c:strCache>
            </c:strRef>
          </c:tx>
          <c:spPr>
            <a:ln w="19050" cap="rnd">
              <a:solidFill>
                <a:srgbClr val="C00000">
                  <a:alpha val="60000"/>
                </a:srgbClr>
              </a:solidFill>
              <a:round/>
            </a:ln>
            <a:effectLst/>
          </c:spPr>
          <c:marker>
            <c:symbol val="none"/>
          </c:marker>
          <c:cat>
            <c:numRef>
              <c:f>硅石价格图表!$AI$3:$AI$744</c:f>
              <c:numCache>
                <c:formatCode>m/d/yyyy</c:formatCode>
                <c:ptCount val="742"/>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pt idx="738">
                  <c:v>44739</c:v>
                </c:pt>
                <c:pt idx="739">
                  <c:v>44738</c:v>
                </c:pt>
                <c:pt idx="740">
                  <c:v>44737</c:v>
                </c:pt>
                <c:pt idx="741">
                  <c:v>44736</c:v>
                </c:pt>
              </c:numCache>
            </c:numRef>
          </c:cat>
          <c:val>
            <c:numRef>
              <c:f>硅石价格图表!$AJ$3:$AJ$744</c:f>
              <c:numCache>
                <c:formatCode>General</c:formatCode>
                <c:ptCount val="742"/>
                <c:pt idx="0">
                  <c:v>520</c:v>
                </c:pt>
                <c:pt idx="1">
                  <c:v>520</c:v>
                </c:pt>
                <c:pt idx="2">
                  <c:v>520</c:v>
                </c:pt>
                <c:pt idx="3">
                  <c:v>520</c:v>
                </c:pt>
                <c:pt idx="4">
                  <c:v>520</c:v>
                </c:pt>
                <c:pt idx="5">
                  <c:v>520</c:v>
                </c:pt>
                <c:pt idx="6">
                  <c:v>520</c:v>
                </c:pt>
                <c:pt idx="7">
                  <c:v>520</c:v>
                </c:pt>
                <c:pt idx="8">
                  <c:v>520</c:v>
                </c:pt>
                <c:pt idx="9">
                  <c:v>520</c:v>
                </c:pt>
                <c:pt idx="10">
                  <c:v>520</c:v>
                </c:pt>
                <c:pt idx="11">
                  <c:v>520</c:v>
                </c:pt>
                <c:pt idx="12">
                  <c:v>520</c:v>
                </c:pt>
                <c:pt idx="13">
                  <c:v>520</c:v>
                </c:pt>
                <c:pt idx="14">
                  <c:v>520</c:v>
                </c:pt>
                <c:pt idx="15">
                  <c:v>520</c:v>
                </c:pt>
                <c:pt idx="16">
                  <c:v>520</c:v>
                </c:pt>
                <c:pt idx="17">
                  <c:v>520</c:v>
                </c:pt>
                <c:pt idx="18">
                  <c:v>520</c:v>
                </c:pt>
                <c:pt idx="19">
                  <c:v>520</c:v>
                </c:pt>
                <c:pt idx="20">
                  <c:v>520</c:v>
                </c:pt>
                <c:pt idx="21">
                  <c:v>520</c:v>
                </c:pt>
                <c:pt idx="22">
                  <c:v>520</c:v>
                </c:pt>
                <c:pt idx="23">
                  <c:v>520</c:v>
                </c:pt>
                <c:pt idx="24">
                  <c:v>520</c:v>
                </c:pt>
                <c:pt idx="25">
                  <c:v>520</c:v>
                </c:pt>
                <c:pt idx="26">
                  <c:v>520</c:v>
                </c:pt>
                <c:pt idx="27">
                  <c:v>520</c:v>
                </c:pt>
                <c:pt idx="28">
                  <c:v>520</c:v>
                </c:pt>
                <c:pt idx="29">
                  <c:v>520</c:v>
                </c:pt>
                <c:pt idx="30">
                  <c:v>520</c:v>
                </c:pt>
                <c:pt idx="31">
                  <c:v>520</c:v>
                </c:pt>
                <c:pt idx="32">
                  <c:v>520</c:v>
                </c:pt>
                <c:pt idx="33">
                  <c:v>520</c:v>
                </c:pt>
                <c:pt idx="34">
                  <c:v>520</c:v>
                </c:pt>
                <c:pt idx="35">
                  <c:v>520</c:v>
                </c:pt>
                <c:pt idx="36">
                  <c:v>520</c:v>
                </c:pt>
                <c:pt idx="37">
                  <c:v>520</c:v>
                </c:pt>
                <c:pt idx="38">
                  <c:v>520</c:v>
                </c:pt>
                <c:pt idx="39">
                  <c:v>520</c:v>
                </c:pt>
                <c:pt idx="40">
                  <c:v>520</c:v>
                </c:pt>
                <c:pt idx="41">
                  <c:v>520</c:v>
                </c:pt>
                <c:pt idx="42">
                  <c:v>520</c:v>
                </c:pt>
                <c:pt idx="43">
                  <c:v>520</c:v>
                </c:pt>
                <c:pt idx="44">
                  <c:v>520</c:v>
                </c:pt>
                <c:pt idx="45">
                  <c:v>520</c:v>
                </c:pt>
                <c:pt idx="46">
                  <c:v>520</c:v>
                </c:pt>
                <c:pt idx="47">
                  <c:v>520</c:v>
                </c:pt>
                <c:pt idx="48">
                  <c:v>520</c:v>
                </c:pt>
                <c:pt idx="49">
                  <c:v>520</c:v>
                </c:pt>
                <c:pt idx="50">
                  <c:v>520</c:v>
                </c:pt>
                <c:pt idx="51">
                  <c:v>520</c:v>
                </c:pt>
                <c:pt idx="52">
                  <c:v>520</c:v>
                </c:pt>
                <c:pt idx="53">
                  <c:v>520</c:v>
                </c:pt>
                <c:pt idx="54">
                  <c:v>520</c:v>
                </c:pt>
                <c:pt idx="55">
                  <c:v>520</c:v>
                </c:pt>
                <c:pt idx="56">
                  <c:v>520</c:v>
                </c:pt>
                <c:pt idx="57">
                  <c:v>520</c:v>
                </c:pt>
                <c:pt idx="58">
                  <c:v>520</c:v>
                </c:pt>
                <c:pt idx="59">
                  <c:v>520</c:v>
                </c:pt>
                <c:pt idx="60">
                  <c:v>520</c:v>
                </c:pt>
                <c:pt idx="61">
                  <c:v>520</c:v>
                </c:pt>
                <c:pt idx="62">
                  <c:v>520</c:v>
                </c:pt>
                <c:pt idx="63">
                  <c:v>520</c:v>
                </c:pt>
                <c:pt idx="64">
                  <c:v>520</c:v>
                </c:pt>
                <c:pt idx="65">
                  <c:v>520</c:v>
                </c:pt>
                <c:pt idx="66">
                  <c:v>520</c:v>
                </c:pt>
                <c:pt idx="67">
                  <c:v>520</c:v>
                </c:pt>
                <c:pt idx="68">
                  <c:v>520</c:v>
                </c:pt>
                <c:pt idx="69">
                  <c:v>520</c:v>
                </c:pt>
                <c:pt idx="70">
                  <c:v>520</c:v>
                </c:pt>
                <c:pt idx="71">
                  <c:v>520</c:v>
                </c:pt>
                <c:pt idx="72">
                  <c:v>520</c:v>
                </c:pt>
                <c:pt idx="73">
                  <c:v>520</c:v>
                </c:pt>
                <c:pt idx="74">
                  <c:v>520</c:v>
                </c:pt>
                <c:pt idx="75">
                  <c:v>520</c:v>
                </c:pt>
                <c:pt idx="76">
                  <c:v>520</c:v>
                </c:pt>
                <c:pt idx="77">
                  <c:v>520</c:v>
                </c:pt>
                <c:pt idx="78">
                  <c:v>520</c:v>
                </c:pt>
                <c:pt idx="79">
                  <c:v>520</c:v>
                </c:pt>
                <c:pt idx="80">
                  <c:v>520</c:v>
                </c:pt>
                <c:pt idx="81">
                  <c:v>520</c:v>
                </c:pt>
                <c:pt idx="82">
                  <c:v>520</c:v>
                </c:pt>
                <c:pt idx="83">
                  <c:v>520</c:v>
                </c:pt>
                <c:pt idx="84">
                  <c:v>520</c:v>
                </c:pt>
                <c:pt idx="85">
                  <c:v>520</c:v>
                </c:pt>
                <c:pt idx="86">
                  <c:v>520</c:v>
                </c:pt>
                <c:pt idx="87">
                  <c:v>520</c:v>
                </c:pt>
                <c:pt idx="88">
                  <c:v>520</c:v>
                </c:pt>
                <c:pt idx="89">
                  <c:v>520</c:v>
                </c:pt>
                <c:pt idx="90">
                  <c:v>520</c:v>
                </c:pt>
                <c:pt idx="91">
                  <c:v>520</c:v>
                </c:pt>
                <c:pt idx="92">
                  <c:v>520</c:v>
                </c:pt>
                <c:pt idx="93">
                  <c:v>520</c:v>
                </c:pt>
                <c:pt idx="94">
                  <c:v>520</c:v>
                </c:pt>
                <c:pt idx="95">
                  <c:v>520</c:v>
                </c:pt>
                <c:pt idx="96">
                  <c:v>520</c:v>
                </c:pt>
                <c:pt idx="97">
                  <c:v>520</c:v>
                </c:pt>
                <c:pt idx="98">
                  <c:v>520</c:v>
                </c:pt>
                <c:pt idx="99">
                  <c:v>520</c:v>
                </c:pt>
                <c:pt idx="100">
                  <c:v>520</c:v>
                </c:pt>
                <c:pt idx="101">
                  <c:v>520</c:v>
                </c:pt>
                <c:pt idx="102">
                  <c:v>520</c:v>
                </c:pt>
                <c:pt idx="103">
                  <c:v>520</c:v>
                </c:pt>
                <c:pt idx="104">
                  <c:v>520</c:v>
                </c:pt>
                <c:pt idx="105">
                  <c:v>520</c:v>
                </c:pt>
                <c:pt idx="106">
                  <c:v>520</c:v>
                </c:pt>
                <c:pt idx="107">
                  <c:v>520</c:v>
                </c:pt>
                <c:pt idx="108">
                  <c:v>520</c:v>
                </c:pt>
                <c:pt idx="109">
                  <c:v>520</c:v>
                </c:pt>
                <c:pt idx="110">
                  <c:v>520</c:v>
                </c:pt>
                <c:pt idx="111">
                  <c:v>520</c:v>
                </c:pt>
                <c:pt idx="112">
                  <c:v>520</c:v>
                </c:pt>
                <c:pt idx="113">
                  <c:v>520</c:v>
                </c:pt>
                <c:pt idx="114">
                  <c:v>520</c:v>
                </c:pt>
                <c:pt idx="115">
                  <c:v>520</c:v>
                </c:pt>
                <c:pt idx="116">
                  <c:v>520</c:v>
                </c:pt>
                <c:pt idx="117">
                  <c:v>520</c:v>
                </c:pt>
                <c:pt idx="118">
                  <c:v>520</c:v>
                </c:pt>
                <c:pt idx="119">
                  <c:v>520</c:v>
                </c:pt>
                <c:pt idx="120">
                  <c:v>520</c:v>
                </c:pt>
                <c:pt idx="121">
                  <c:v>520</c:v>
                </c:pt>
                <c:pt idx="122">
                  <c:v>520</c:v>
                </c:pt>
                <c:pt idx="123">
                  <c:v>520</c:v>
                </c:pt>
                <c:pt idx="124">
                  <c:v>520</c:v>
                </c:pt>
                <c:pt idx="125">
                  <c:v>520</c:v>
                </c:pt>
                <c:pt idx="126">
                  <c:v>520</c:v>
                </c:pt>
                <c:pt idx="127">
                  <c:v>520</c:v>
                </c:pt>
                <c:pt idx="128">
                  <c:v>520</c:v>
                </c:pt>
                <c:pt idx="129">
                  <c:v>520</c:v>
                </c:pt>
                <c:pt idx="130">
                  <c:v>520</c:v>
                </c:pt>
                <c:pt idx="131">
                  <c:v>520</c:v>
                </c:pt>
                <c:pt idx="132">
                  <c:v>520</c:v>
                </c:pt>
                <c:pt idx="133">
                  <c:v>520</c:v>
                </c:pt>
                <c:pt idx="134">
                  <c:v>520</c:v>
                </c:pt>
                <c:pt idx="135">
                  <c:v>520</c:v>
                </c:pt>
                <c:pt idx="136">
                  <c:v>520</c:v>
                </c:pt>
                <c:pt idx="137">
                  <c:v>520</c:v>
                </c:pt>
                <c:pt idx="138">
                  <c:v>520</c:v>
                </c:pt>
                <c:pt idx="139">
                  <c:v>520</c:v>
                </c:pt>
                <c:pt idx="140">
                  <c:v>520</c:v>
                </c:pt>
                <c:pt idx="141">
                  <c:v>520</c:v>
                </c:pt>
                <c:pt idx="142">
                  <c:v>520</c:v>
                </c:pt>
                <c:pt idx="143">
                  <c:v>520</c:v>
                </c:pt>
                <c:pt idx="144">
                  <c:v>520</c:v>
                </c:pt>
                <c:pt idx="145">
                  <c:v>520</c:v>
                </c:pt>
                <c:pt idx="146">
                  <c:v>520</c:v>
                </c:pt>
                <c:pt idx="147">
                  <c:v>520</c:v>
                </c:pt>
                <c:pt idx="148">
                  <c:v>520</c:v>
                </c:pt>
                <c:pt idx="149">
                  <c:v>520</c:v>
                </c:pt>
                <c:pt idx="150">
                  <c:v>520</c:v>
                </c:pt>
                <c:pt idx="151">
                  <c:v>520</c:v>
                </c:pt>
                <c:pt idx="152">
                  <c:v>520</c:v>
                </c:pt>
                <c:pt idx="153">
                  <c:v>520</c:v>
                </c:pt>
                <c:pt idx="154">
                  <c:v>520</c:v>
                </c:pt>
                <c:pt idx="155">
                  <c:v>520</c:v>
                </c:pt>
                <c:pt idx="156">
                  <c:v>520</c:v>
                </c:pt>
                <c:pt idx="157">
                  <c:v>520</c:v>
                </c:pt>
                <c:pt idx="158">
                  <c:v>520</c:v>
                </c:pt>
                <c:pt idx="159">
                  <c:v>520</c:v>
                </c:pt>
                <c:pt idx="160">
                  <c:v>520</c:v>
                </c:pt>
                <c:pt idx="161">
                  <c:v>520</c:v>
                </c:pt>
                <c:pt idx="162">
                  <c:v>520</c:v>
                </c:pt>
                <c:pt idx="163">
                  <c:v>520</c:v>
                </c:pt>
                <c:pt idx="164">
                  <c:v>520</c:v>
                </c:pt>
                <c:pt idx="165">
                  <c:v>520</c:v>
                </c:pt>
                <c:pt idx="166">
                  <c:v>520</c:v>
                </c:pt>
                <c:pt idx="167">
                  <c:v>520</c:v>
                </c:pt>
                <c:pt idx="168">
                  <c:v>520</c:v>
                </c:pt>
                <c:pt idx="169">
                  <c:v>520</c:v>
                </c:pt>
                <c:pt idx="170">
                  <c:v>520</c:v>
                </c:pt>
                <c:pt idx="171">
                  <c:v>520</c:v>
                </c:pt>
                <c:pt idx="172">
                  <c:v>520</c:v>
                </c:pt>
                <c:pt idx="173">
                  <c:v>520</c:v>
                </c:pt>
                <c:pt idx="174">
                  <c:v>520</c:v>
                </c:pt>
                <c:pt idx="175">
                  <c:v>520</c:v>
                </c:pt>
                <c:pt idx="176">
                  <c:v>520</c:v>
                </c:pt>
                <c:pt idx="177">
                  <c:v>520</c:v>
                </c:pt>
                <c:pt idx="178">
                  <c:v>520</c:v>
                </c:pt>
                <c:pt idx="179">
                  <c:v>520</c:v>
                </c:pt>
                <c:pt idx="180">
                  <c:v>520</c:v>
                </c:pt>
                <c:pt idx="181">
                  <c:v>520</c:v>
                </c:pt>
                <c:pt idx="182">
                  <c:v>520</c:v>
                </c:pt>
                <c:pt idx="183">
                  <c:v>520</c:v>
                </c:pt>
                <c:pt idx="184">
                  <c:v>520</c:v>
                </c:pt>
                <c:pt idx="185">
                  <c:v>520</c:v>
                </c:pt>
                <c:pt idx="186">
                  <c:v>520</c:v>
                </c:pt>
                <c:pt idx="187">
                  <c:v>520</c:v>
                </c:pt>
                <c:pt idx="188">
                  <c:v>520</c:v>
                </c:pt>
                <c:pt idx="189">
                  <c:v>520</c:v>
                </c:pt>
                <c:pt idx="190">
                  <c:v>520</c:v>
                </c:pt>
                <c:pt idx="191">
                  <c:v>520</c:v>
                </c:pt>
                <c:pt idx="192">
                  <c:v>520</c:v>
                </c:pt>
                <c:pt idx="193">
                  <c:v>520</c:v>
                </c:pt>
                <c:pt idx="194">
                  <c:v>520</c:v>
                </c:pt>
                <c:pt idx="195">
                  <c:v>520</c:v>
                </c:pt>
                <c:pt idx="196">
                  <c:v>520</c:v>
                </c:pt>
                <c:pt idx="197">
                  <c:v>520</c:v>
                </c:pt>
                <c:pt idx="198">
                  <c:v>520</c:v>
                </c:pt>
                <c:pt idx="199">
                  <c:v>520</c:v>
                </c:pt>
                <c:pt idx="200">
                  <c:v>520</c:v>
                </c:pt>
                <c:pt idx="201">
                  <c:v>520</c:v>
                </c:pt>
                <c:pt idx="202">
                  <c:v>520</c:v>
                </c:pt>
                <c:pt idx="203">
                  <c:v>520</c:v>
                </c:pt>
                <c:pt idx="204">
                  <c:v>520</c:v>
                </c:pt>
                <c:pt idx="205">
                  <c:v>520</c:v>
                </c:pt>
                <c:pt idx="206">
                  <c:v>520</c:v>
                </c:pt>
                <c:pt idx="207">
                  <c:v>520</c:v>
                </c:pt>
                <c:pt idx="208">
                  <c:v>520</c:v>
                </c:pt>
                <c:pt idx="209">
                  <c:v>520</c:v>
                </c:pt>
                <c:pt idx="210">
                  <c:v>520</c:v>
                </c:pt>
                <c:pt idx="211">
                  <c:v>520</c:v>
                </c:pt>
                <c:pt idx="212">
                  <c:v>520</c:v>
                </c:pt>
                <c:pt idx="213">
                  <c:v>520</c:v>
                </c:pt>
                <c:pt idx="214">
                  <c:v>520</c:v>
                </c:pt>
                <c:pt idx="215">
                  <c:v>520</c:v>
                </c:pt>
                <c:pt idx="216">
                  <c:v>520</c:v>
                </c:pt>
                <c:pt idx="217">
                  <c:v>520</c:v>
                </c:pt>
                <c:pt idx="218">
                  <c:v>520</c:v>
                </c:pt>
                <c:pt idx="219">
                  <c:v>520</c:v>
                </c:pt>
                <c:pt idx="220">
                  <c:v>520</c:v>
                </c:pt>
                <c:pt idx="221">
                  <c:v>520</c:v>
                </c:pt>
                <c:pt idx="222">
                  <c:v>520</c:v>
                </c:pt>
                <c:pt idx="223">
                  <c:v>520</c:v>
                </c:pt>
                <c:pt idx="224">
                  <c:v>520</c:v>
                </c:pt>
                <c:pt idx="225">
                  <c:v>520</c:v>
                </c:pt>
                <c:pt idx="226">
                  <c:v>520</c:v>
                </c:pt>
                <c:pt idx="227">
                  <c:v>520</c:v>
                </c:pt>
                <c:pt idx="228">
                  <c:v>520</c:v>
                </c:pt>
                <c:pt idx="229">
                  <c:v>520</c:v>
                </c:pt>
                <c:pt idx="230">
                  <c:v>520</c:v>
                </c:pt>
                <c:pt idx="231">
                  <c:v>520</c:v>
                </c:pt>
                <c:pt idx="232">
                  <c:v>520</c:v>
                </c:pt>
                <c:pt idx="233">
                  <c:v>520</c:v>
                </c:pt>
                <c:pt idx="234">
                  <c:v>520</c:v>
                </c:pt>
                <c:pt idx="235">
                  <c:v>520</c:v>
                </c:pt>
                <c:pt idx="236">
                  <c:v>520</c:v>
                </c:pt>
                <c:pt idx="237">
                  <c:v>520</c:v>
                </c:pt>
                <c:pt idx="238">
                  <c:v>520</c:v>
                </c:pt>
                <c:pt idx="239">
                  <c:v>520</c:v>
                </c:pt>
                <c:pt idx="240">
                  <c:v>520</c:v>
                </c:pt>
                <c:pt idx="241">
                  <c:v>520</c:v>
                </c:pt>
                <c:pt idx="242">
                  <c:v>520</c:v>
                </c:pt>
                <c:pt idx="243">
                  <c:v>520</c:v>
                </c:pt>
                <c:pt idx="244">
                  <c:v>520</c:v>
                </c:pt>
                <c:pt idx="245">
                  <c:v>520</c:v>
                </c:pt>
                <c:pt idx="246">
                  <c:v>520</c:v>
                </c:pt>
                <c:pt idx="247">
                  <c:v>520</c:v>
                </c:pt>
                <c:pt idx="248">
                  <c:v>520</c:v>
                </c:pt>
                <c:pt idx="249">
                  <c:v>520</c:v>
                </c:pt>
                <c:pt idx="250">
                  <c:v>520</c:v>
                </c:pt>
                <c:pt idx="251">
                  <c:v>520</c:v>
                </c:pt>
                <c:pt idx="252">
                  <c:v>520</c:v>
                </c:pt>
                <c:pt idx="253">
                  <c:v>520</c:v>
                </c:pt>
                <c:pt idx="254">
                  <c:v>520</c:v>
                </c:pt>
                <c:pt idx="255">
                  <c:v>520</c:v>
                </c:pt>
                <c:pt idx="256">
                  <c:v>520</c:v>
                </c:pt>
                <c:pt idx="257">
                  <c:v>520</c:v>
                </c:pt>
                <c:pt idx="258">
                  <c:v>520</c:v>
                </c:pt>
                <c:pt idx="259">
                  <c:v>520</c:v>
                </c:pt>
                <c:pt idx="260">
                  <c:v>520</c:v>
                </c:pt>
                <c:pt idx="261">
                  <c:v>520</c:v>
                </c:pt>
                <c:pt idx="262">
                  <c:v>520</c:v>
                </c:pt>
                <c:pt idx="263">
                  <c:v>520</c:v>
                </c:pt>
                <c:pt idx="264">
                  <c:v>520</c:v>
                </c:pt>
                <c:pt idx="265">
                  <c:v>520</c:v>
                </c:pt>
                <c:pt idx="266">
                  <c:v>520</c:v>
                </c:pt>
                <c:pt idx="267">
                  <c:v>520</c:v>
                </c:pt>
                <c:pt idx="268">
                  <c:v>520</c:v>
                </c:pt>
                <c:pt idx="269">
                  <c:v>520</c:v>
                </c:pt>
                <c:pt idx="270">
                  <c:v>520</c:v>
                </c:pt>
                <c:pt idx="271">
                  <c:v>520</c:v>
                </c:pt>
                <c:pt idx="272">
                  <c:v>520</c:v>
                </c:pt>
                <c:pt idx="273">
                  <c:v>520</c:v>
                </c:pt>
                <c:pt idx="274">
                  <c:v>520</c:v>
                </c:pt>
                <c:pt idx="275">
                  <c:v>520</c:v>
                </c:pt>
                <c:pt idx="276">
                  <c:v>520</c:v>
                </c:pt>
                <c:pt idx="277">
                  <c:v>520</c:v>
                </c:pt>
                <c:pt idx="278">
                  <c:v>520</c:v>
                </c:pt>
                <c:pt idx="279">
                  <c:v>520</c:v>
                </c:pt>
                <c:pt idx="280">
                  <c:v>520</c:v>
                </c:pt>
                <c:pt idx="281">
                  <c:v>520</c:v>
                </c:pt>
                <c:pt idx="282">
                  <c:v>520</c:v>
                </c:pt>
                <c:pt idx="283">
                  <c:v>520</c:v>
                </c:pt>
                <c:pt idx="284">
                  <c:v>520</c:v>
                </c:pt>
                <c:pt idx="285">
                  <c:v>520</c:v>
                </c:pt>
                <c:pt idx="286">
                  <c:v>520</c:v>
                </c:pt>
                <c:pt idx="287">
                  <c:v>520</c:v>
                </c:pt>
                <c:pt idx="288">
                  <c:v>520</c:v>
                </c:pt>
                <c:pt idx="289">
                  <c:v>520</c:v>
                </c:pt>
                <c:pt idx="290">
                  <c:v>520</c:v>
                </c:pt>
                <c:pt idx="291">
                  <c:v>520</c:v>
                </c:pt>
                <c:pt idx="292">
                  <c:v>520</c:v>
                </c:pt>
                <c:pt idx="293">
                  <c:v>520</c:v>
                </c:pt>
                <c:pt idx="294">
                  <c:v>520</c:v>
                </c:pt>
                <c:pt idx="295">
                  <c:v>520</c:v>
                </c:pt>
                <c:pt idx="296">
                  <c:v>520</c:v>
                </c:pt>
                <c:pt idx="297">
                  <c:v>520</c:v>
                </c:pt>
                <c:pt idx="298">
                  <c:v>520</c:v>
                </c:pt>
                <c:pt idx="299">
                  <c:v>520</c:v>
                </c:pt>
                <c:pt idx="300">
                  <c:v>520</c:v>
                </c:pt>
                <c:pt idx="301">
                  <c:v>520</c:v>
                </c:pt>
                <c:pt idx="302">
                  <c:v>520</c:v>
                </c:pt>
                <c:pt idx="303">
                  <c:v>520</c:v>
                </c:pt>
                <c:pt idx="304">
                  <c:v>520</c:v>
                </c:pt>
                <c:pt idx="305">
                  <c:v>520</c:v>
                </c:pt>
                <c:pt idx="306">
                  <c:v>520</c:v>
                </c:pt>
                <c:pt idx="307">
                  <c:v>520</c:v>
                </c:pt>
                <c:pt idx="308">
                  <c:v>520</c:v>
                </c:pt>
                <c:pt idx="309">
                  <c:v>520</c:v>
                </c:pt>
                <c:pt idx="310">
                  <c:v>520</c:v>
                </c:pt>
                <c:pt idx="311">
                  <c:v>520</c:v>
                </c:pt>
                <c:pt idx="312">
                  <c:v>520</c:v>
                </c:pt>
                <c:pt idx="313">
                  <c:v>520</c:v>
                </c:pt>
                <c:pt idx="314">
                  <c:v>520</c:v>
                </c:pt>
                <c:pt idx="315">
                  <c:v>520</c:v>
                </c:pt>
                <c:pt idx="316">
                  <c:v>520</c:v>
                </c:pt>
                <c:pt idx="317">
                  <c:v>520</c:v>
                </c:pt>
                <c:pt idx="318">
                  <c:v>520</c:v>
                </c:pt>
                <c:pt idx="319">
                  <c:v>#N/A</c:v>
                </c:pt>
                <c:pt idx="320">
                  <c:v>#N/A</c:v>
                </c:pt>
                <c:pt idx="321">
                  <c:v>520</c:v>
                </c:pt>
                <c:pt idx="322">
                  <c:v>520</c:v>
                </c:pt>
                <c:pt idx="323">
                  <c:v>520</c:v>
                </c:pt>
                <c:pt idx="324">
                  <c:v>520</c:v>
                </c:pt>
                <c:pt idx="325">
                  <c:v>520</c:v>
                </c:pt>
                <c:pt idx="326">
                  <c:v>520</c:v>
                </c:pt>
                <c:pt idx="327">
                  <c:v>520</c:v>
                </c:pt>
                <c:pt idx="328">
                  <c:v>520</c:v>
                </c:pt>
                <c:pt idx="329">
                  <c:v>520</c:v>
                </c:pt>
                <c:pt idx="330">
                  <c:v>520</c:v>
                </c:pt>
                <c:pt idx="331">
                  <c:v>520</c:v>
                </c:pt>
                <c:pt idx="332">
                  <c:v>520</c:v>
                </c:pt>
                <c:pt idx="333">
                  <c:v>520</c:v>
                </c:pt>
                <c:pt idx="334">
                  <c:v>520</c:v>
                </c:pt>
                <c:pt idx="335">
                  <c:v>520</c:v>
                </c:pt>
                <c:pt idx="336">
                  <c:v>520</c:v>
                </c:pt>
                <c:pt idx="337">
                  <c:v>520</c:v>
                </c:pt>
                <c:pt idx="338">
                  <c:v>520</c:v>
                </c:pt>
                <c:pt idx="339">
                  <c:v>520</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520</c:v>
                </c:pt>
                <c:pt idx="359">
                  <c:v>580</c:v>
                </c:pt>
                <c:pt idx="360">
                  <c:v>580</c:v>
                </c:pt>
                <c:pt idx="361">
                  <c:v>580</c:v>
                </c:pt>
                <c:pt idx="362">
                  <c:v>580</c:v>
                </c:pt>
                <c:pt idx="363">
                  <c:v>580</c:v>
                </c:pt>
                <c:pt idx="364">
                  <c:v>580</c:v>
                </c:pt>
                <c:pt idx="365">
                  <c:v>580</c:v>
                </c:pt>
                <c:pt idx="366">
                  <c:v>580</c:v>
                </c:pt>
                <c:pt idx="367">
                  <c:v>580</c:v>
                </c:pt>
                <c:pt idx="368">
                  <c:v>580</c:v>
                </c:pt>
                <c:pt idx="369">
                  <c:v>580</c:v>
                </c:pt>
                <c:pt idx="370">
                  <c:v>580</c:v>
                </c:pt>
                <c:pt idx="371">
                  <c:v>580</c:v>
                </c:pt>
                <c:pt idx="372">
                  <c:v>580</c:v>
                </c:pt>
                <c:pt idx="373">
                  <c:v>580</c:v>
                </c:pt>
                <c:pt idx="374">
                  <c:v>580</c:v>
                </c:pt>
                <c:pt idx="375">
                  <c:v>580</c:v>
                </c:pt>
                <c:pt idx="376">
                  <c:v>580</c:v>
                </c:pt>
                <c:pt idx="377">
                  <c:v>580</c:v>
                </c:pt>
                <c:pt idx="378">
                  <c:v>580</c:v>
                </c:pt>
                <c:pt idx="379">
                  <c:v>580</c:v>
                </c:pt>
                <c:pt idx="380">
                  <c:v>580</c:v>
                </c:pt>
                <c:pt idx="381">
                  <c:v>580</c:v>
                </c:pt>
                <c:pt idx="382">
                  <c:v>580</c:v>
                </c:pt>
                <c:pt idx="383">
                  <c:v>580</c:v>
                </c:pt>
                <c:pt idx="384">
                  <c:v>580</c:v>
                </c:pt>
                <c:pt idx="385">
                  <c:v>580</c:v>
                </c:pt>
                <c:pt idx="386">
                  <c:v>580</c:v>
                </c:pt>
                <c:pt idx="387">
                  <c:v>580</c:v>
                </c:pt>
                <c:pt idx="388">
                  <c:v>580</c:v>
                </c:pt>
                <c:pt idx="389">
                  <c:v>580</c:v>
                </c:pt>
                <c:pt idx="390">
                  <c:v>580</c:v>
                </c:pt>
                <c:pt idx="391">
                  <c:v>580</c:v>
                </c:pt>
                <c:pt idx="392">
                  <c:v>580</c:v>
                </c:pt>
                <c:pt idx="393">
                  <c:v>580</c:v>
                </c:pt>
                <c:pt idx="394">
                  <c:v>580</c:v>
                </c:pt>
                <c:pt idx="395">
                  <c:v>580</c:v>
                </c:pt>
                <c:pt idx="396">
                  <c:v>580</c:v>
                </c:pt>
                <c:pt idx="397">
                  <c:v>580</c:v>
                </c:pt>
                <c:pt idx="398">
                  <c:v>580</c:v>
                </c:pt>
                <c:pt idx="399">
                  <c:v>580</c:v>
                </c:pt>
                <c:pt idx="400">
                  <c:v>580</c:v>
                </c:pt>
                <c:pt idx="401">
                  <c:v>580</c:v>
                </c:pt>
                <c:pt idx="402">
                  <c:v>580</c:v>
                </c:pt>
                <c:pt idx="403">
                  <c:v>580</c:v>
                </c:pt>
                <c:pt idx="404">
                  <c:v>580</c:v>
                </c:pt>
                <c:pt idx="405">
                  <c:v>580</c:v>
                </c:pt>
                <c:pt idx="406">
                  <c:v>580</c:v>
                </c:pt>
                <c:pt idx="407">
                  <c:v>580</c:v>
                </c:pt>
                <c:pt idx="408">
                  <c:v>580</c:v>
                </c:pt>
                <c:pt idx="409">
                  <c:v>580</c:v>
                </c:pt>
                <c:pt idx="410">
                  <c:v>580</c:v>
                </c:pt>
                <c:pt idx="411">
                  <c:v>580</c:v>
                </c:pt>
                <c:pt idx="412">
                  <c:v>580</c:v>
                </c:pt>
                <c:pt idx="413">
                  <c:v>580</c:v>
                </c:pt>
                <c:pt idx="414">
                  <c:v>580</c:v>
                </c:pt>
                <c:pt idx="415">
                  <c:v>580</c:v>
                </c:pt>
                <c:pt idx="416">
                  <c:v>580</c:v>
                </c:pt>
                <c:pt idx="417">
                  <c:v>580</c:v>
                </c:pt>
                <c:pt idx="418">
                  <c:v>580</c:v>
                </c:pt>
                <c:pt idx="419">
                  <c:v>580</c:v>
                </c:pt>
                <c:pt idx="420">
                  <c:v>580</c:v>
                </c:pt>
                <c:pt idx="421">
                  <c:v>580</c:v>
                </c:pt>
                <c:pt idx="422">
                  <c:v>580</c:v>
                </c:pt>
                <c:pt idx="423">
                  <c:v>580</c:v>
                </c:pt>
                <c:pt idx="424">
                  <c:v>580</c:v>
                </c:pt>
                <c:pt idx="425">
                  <c:v>580</c:v>
                </c:pt>
                <c:pt idx="426">
                  <c:v>580</c:v>
                </c:pt>
                <c:pt idx="427">
                  <c:v>580</c:v>
                </c:pt>
                <c:pt idx="428">
                  <c:v>580</c:v>
                </c:pt>
                <c:pt idx="429">
                  <c:v>580</c:v>
                </c:pt>
                <c:pt idx="430">
                  <c:v>580</c:v>
                </c:pt>
                <c:pt idx="431">
                  <c:v>580</c:v>
                </c:pt>
                <c:pt idx="432">
                  <c:v>580</c:v>
                </c:pt>
                <c:pt idx="433">
                  <c:v>580</c:v>
                </c:pt>
                <c:pt idx="434">
                  <c:v>580</c:v>
                </c:pt>
                <c:pt idx="435">
                  <c:v>580</c:v>
                </c:pt>
                <c:pt idx="436">
                  <c:v>580</c:v>
                </c:pt>
                <c:pt idx="437">
                  <c:v>580</c:v>
                </c:pt>
                <c:pt idx="438">
                  <c:v>580</c:v>
                </c:pt>
                <c:pt idx="439">
                  <c:v>580</c:v>
                </c:pt>
                <c:pt idx="440">
                  <c:v>580</c:v>
                </c:pt>
                <c:pt idx="441">
                  <c:v>580</c:v>
                </c:pt>
                <c:pt idx="442">
                  <c:v>580</c:v>
                </c:pt>
                <c:pt idx="443">
                  <c:v>580</c:v>
                </c:pt>
                <c:pt idx="444">
                  <c:v>580</c:v>
                </c:pt>
                <c:pt idx="445">
                  <c:v>580</c:v>
                </c:pt>
                <c:pt idx="446">
                  <c:v>580</c:v>
                </c:pt>
                <c:pt idx="447">
                  <c:v>580</c:v>
                </c:pt>
                <c:pt idx="448">
                  <c:v>580</c:v>
                </c:pt>
                <c:pt idx="449">
                  <c:v>580</c:v>
                </c:pt>
                <c:pt idx="450">
                  <c:v>580</c:v>
                </c:pt>
                <c:pt idx="451">
                  <c:v>580</c:v>
                </c:pt>
                <c:pt idx="452">
                  <c:v>580</c:v>
                </c:pt>
                <c:pt idx="453">
                  <c:v>580</c:v>
                </c:pt>
                <c:pt idx="454">
                  <c:v>580</c:v>
                </c:pt>
                <c:pt idx="455">
                  <c:v>580</c:v>
                </c:pt>
                <c:pt idx="456">
                  <c:v>580</c:v>
                </c:pt>
                <c:pt idx="457">
                  <c:v>580</c:v>
                </c:pt>
                <c:pt idx="458">
                  <c:v>580</c:v>
                </c:pt>
                <c:pt idx="459">
                  <c:v>580</c:v>
                </c:pt>
                <c:pt idx="460">
                  <c:v>580</c:v>
                </c:pt>
                <c:pt idx="461">
                  <c:v>580</c:v>
                </c:pt>
                <c:pt idx="462">
                  <c:v>580</c:v>
                </c:pt>
                <c:pt idx="463">
                  <c:v>580</c:v>
                </c:pt>
                <c:pt idx="464">
                  <c:v>580</c:v>
                </c:pt>
                <c:pt idx="465">
                  <c:v>580</c:v>
                </c:pt>
                <c:pt idx="466">
                  <c:v>580</c:v>
                </c:pt>
                <c:pt idx="467">
                  <c:v>580</c:v>
                </c:pt>
                <c:pt idx="468">
                  <c:v>580</c:v>
                </c:pt>
                <c:pt idx="469">
                  <c:v>580</c:v>
                </c:pt>
                <c:pt idx="470">
                  <c:v>580</c:v>
                </c:pt>
                <c:pt idx="471">
                  <c:v>580</c:v>
                </c:pt>
                <c:pt idx="472">
                  <c:v>580</c:v>
                </c:pt>
                <c:pt idx="473">
                  <c:v>580</c:v>
                </c:pt>
                <c:pt idx="474">
                  <c:v>580</c:v>
                </c:pt>
                <c:pt idx="475">
                  <c:v>580</c:v>
                </c:pt>
                <c:pt idx="476">
                  <c:v>580</c:v>
                </c:pt>
                <c:pt idx="477">
                  <c:v>580</c:v>
                </c:pt>
                <c:pt idx="478">
                  <c:v>580</c:v>
                </c:pt>
                <c:pt idx="479">
                  <c:v>580</c:v>
                </c:pt>
                <c:pt idx="480">
                  <c:v>580</c:v>
                </c:pt>
                <c:pt idx="481">
                  <c:v>580</c:v>
                </c:pt>
                <c:pt idx="482">
                  <c:v>580</c:v>
                </c:pt>
                <c:pt idx="483">
                  <c:v>580</c:v>
                </c:pt>
                <c:pt idx="484">
                  <c:v>580</c:v>
                </c:pt>
                <c:pt idx="485">
                  <c:v>580</c:v>
                </c:pt>
                <c:pt idx="486">
                  <c:v>580</c:v>
                </c:pt>
                <c:pt idx="487">
                  <c:v>580</c:v>
                </c:pt>
                <c:pt idx="488">
                  <c:v>580</c:v>
                </c:pt>
                <c:pt idx="489">
                  <c:v>580</c:v>
                </c:pt>
                <c:pt idx="490">
                  <c:v>580</c:v>
                </c:pt>
                <c:pt idx="491">
                  <c:v>530</c:v>
                </c:pt>
                <c:pt idx="492">
                  <c:v>530</c:v>
                </c:pt>
                <c:pt idx="493">
                  <c:v>530</c:v>
                </c:pt>
                <c:pt idx="494">
                  <c:v>530</c:v>
                </c:pt>
                <c:pt idx="495">
                  <c:v>530</c:v>
                </c:pt>
                <c:pt idx="496">
                  <c:v>530</c:v>
                </c:pt>
                <c:pt idx="497">
                  <c:v>530</c:v>
                </c:pt>
                <c:pt idx="498">
                  <c:v>530</c:v>
                </c:pt>
                <c:pt idx="499">
                  <c:v>530</c:v>
                </c:pt>
                <c:pt idx="500">
                  <c:v>530</c:v>
                </c:pt>
                <c:pt idx="501">
                  <c:v>530</c:v>
                </c:pt>
                <c:pt idx="502">
                  <c:v>530</c:v>
                </c:pt>
                <c:pt idx="503">
                  <c:v>530</c:v>
                </c:pt>
                <c:pt idx="504">
                  <c:v>530</c:v>
                </c:pt>
                <c:pt idx="505">
                  <c:v>530</c:v>
                </c:pt>
                <c:pt idx="506">
                  <c:v>530</c:v>
                </c:pt>
                <c:pt idx="507">
                  <c:v>530</c:v>
                </c:pt>
                <c:pt idx="508">
                  <c:v>530</c:v>
                </c:pt>
                <c:pt idx="509">
                  <c:v>530</c:v>
                </c:pt>
                <c:pt idx="510">
                  <c:v>530</c:v>
                </c:pt>
                <c:pt idx="511">
                  <c:v>530</c:v>
                </c:pt>
                <c:pt idx="512">
                  <c:v>530</c:v>
                </c:pt>
                <c:pt idx="513">
                  <c:v>530</c:v>
                </c:pt>
                <c:pt idx="514">
                  <c:v>530</c:v>
                </c:pt>
                <c:pt idx="515">
                  <c:v>530</c:v>
                </c:pt>
                <c:pt idx="516">
                  <c:v>530</c:v>
                </c:pt>
                <c:pt idx="517">
                  <c:v>530</c:v>
                </c:pt>
                <c:pt idx="518">
                  <c:v>530</c:v>
                </c:pt>
                <c:pt idx="519">
                  <c:v>530</c:v>
                </c:pt>
                <c:pt idx="520">
                  <c:v>530</c:v>
                </c:pt>
                <c:pt idx="521">
                  <c:v>530</c:v>
                </c:pt>
                <c:pt idx="522">
                  <c:v>530</c:v>
                </c:pt>
                <c:pt idx="523">
                  <c:v>530</c:v>
                </c:pt>
                <c:pt idx="524">
                  <c:v>530</c:v>
                </c:pt>
                <c:pt idx="525">
                  <c:v>530</c:v>
                </c:pt>
                <c:pt idx="526">
                  <c:v>530</c:v>
                </c:pt>
                <c:pt idx="527">
                  <c:v>530</c:v>
                </c:pt>
                <c:pt idx="528">
                  <c:v>530</c:v>
                </c:pt>
                <c:pt idx="529">
                  <c:v>530</c:v>
                </c:pt>
                <c:pt idx="530">
                  <c:v>530</c:v>
                </c:pt>
                <c:pt idx="531">
                  <c:v>530</c:v>
                </c:pt>
                <c:pt idx="532">
                  <c:v>530</c:v>
                </c:pt>
                <c:pt idx="533">
                  <c:v>530</c:v>
                </c:pt>
                <c:pt idx="534">
                  <c:v>530</c:v>
                </c:pt>
                <c:pt idx="535">
                  <c:v>530</c:v>
                </c:pt>
                <c:pt idx="536">
                  <c:v>530</c:v>
                </c:pt>
                <c:pt idx="537">
                  <c:v>530</c:v>
                </c:pt>
                <c:pt idx="538">
                  <c:v>530</c:v>
                </c:pt>
                <c:pt idx="539">
                  <c:v>530</c:v>
                </c:pt>
                <c:pt idx="540">
                  <c:v>530</c:v>
                </c:pt>
                <c:pt idx="541">
                  <c:v>530</c:v>
                </c:pt>
                <c:pt idx="542">
                  <c:v>530</c:v>
                </c:pt>
                <c:pt idx="543">
                  <c:v>530</c:v>
                </c:pt>
                <c:pt idx="544">
                  <c:v>530</c:v>
                </c:pt>
                <c:pt idx="545">
                  <c:v>530</c:v>
                </c:pt>
                <c:pt idx="546">
                  <c:v>530</c:v>
                </c:pt>
                <c:pt idx="547">
                  <c:v>530</c:v>
                </c:pt>
                <c:pt idx="548">
                  <c:v>530</c:v>
                </c:pt>
                <c:pt idx="549">
                  <c:v>530</c:v>
                </c:pt>
                <c:pt idx="550">
                  <c:v>530</c:v>
                </c:pt>
                <c:pt idx="551">
                  <c:v>530</c:v>
                </c:pt>
                <c:pt idx="552">
                  <c:v>530</c:v>
                </c:pt>
                <c:pt idx="553">
                  <c:v>530</c:v>
                </c:pt>
                <c:pt idx="554">
                  <c:v>530</c:v>
                </c:pt>
                <c:pt idx="555">
                  <c:v>530</c:v>
                </c:pt>
                <c:pt idx="556">
                  <c:v>530</c:v>
                </c:pt>
                <c:pt idx="557">
                  <c:v>530</c:v>
                </c:pt>
                <c:pt idx="558">
                  <c:v>530</c:v>
                </c:pt>
                <c:pt idx="559">
                  <c:v>530</c:v>
                </c:pt>
                <c:pt idx="560">
                  <c:v>530</c:v>
                </c:pt>
                <c:pt idx="561">
                  <c:v>530</c:v>
                </c:pt>
                <c:pt idx="562">
                  <c:v>530</c:v>
                </c:pt>
                <c:pt idx="563">
                  <c:v>530</c:v>
                </c:pt>
                <c:pt idx="564">
                  <c:v>530</c:v>
                </c:pt>
                <c:pt idx="565">
                  <c:v>530</c:v>
                </c:pt>
                <c:pt idx="566">
                  <c:v>530</c:v>
                </c:pt>
                <c:pt idx="567">
                  <c:v>530</c:v>
                </c:pt>
                <c:pt idx="568">
                  <c:v>530</c:v>
                </c:pt>
                <c:pt idx="569">
                  <c:v>530</c:v>
                </c:pt>
                <c:pt idx="570">
                  <c:v>530</c:v>
                </c:pt>
                <c:pt idx="571">
                  <c:v>530</c:v>
                </c:pt>
                <c:pt idx="572">
                  <c:v>530</c:v>
                </c:pt>
                <c:pt idx="573">
                  <c:v>530</c:v>
                </c:pt>
                <c:pt idx="574">
                  <c:v>530</c:v>
                </c:pt>
                <c:pt idx="575">
                  <c:v>530</c:v>
                </c:pt>
                <c:pt idx="576">
                  <c:v>530</c:v>
                </c:pt>
                <c:pt idx="577">
                  <c:v>530</c:v>
                </c:pt>
                <c:pt idx="578">
                  <c:v>530</c:v>
                </c:pt>
                <c:pt idx="579">
                  <c:v>530</c:v>
                </c:pt>
                <c:pt idx="580">
                  <c:v>530</c:v>
                </c:pt>
                <c:pt idx="581">
                  <c:v>530</c:v>
                </c:pt>
                <c:pt idx="582">
                  <c:v>530</c:v>
                </c:pt>
                <c:pt idx="583">
                  <c:v>530</c:v>
                </c:pt>
                <c:pt idx="584">
                  <c:v>530</c:v>
                </c:pt>
                <c:pt idx="585">
                  <c:v>530</c:v>
                </c:pt>
                <c:pt idx="586">
                  <c:v>530</c:v>
                </c:pt>
                <c:pt idx="587">
                  <c:v>530</c:v>
                </c:pt>
                <c:pt idx="588">
                  <c:v>530</c:v>
                </c:pt>
                <c:pt idx="589">
                  <c:v>530</c:v>
                </c:pt>
                <c:pt idx="590">
                  <c:v>530</c:v>
                </c:pt>
                <c:pt idx="591">
                  <c:v>530</c:v>
                </c:pt>
                <c:pt idx="592">
                  <c:v>530</c:v>
                </c:pt>
                <c:pt idx="593">
                  <c:v>530</c:v>
                </c:pt>
                <c:pt idx="594">
                  <c:v>530</c:v>
                </c:pt>
                <c:pt idx="595">
                  <c:v>530</c:v>
                </c:pt>
                <c:pt idx="596">
                  <c:v>530</c:v>
                </c:pt>
                <c:pt idx="597">
                  <c:v>530</c:v>
                </c:pt>
                <c:pt idx="598">
                  <c:v>530</c:v>
                </c:pt>
                <c:pt idx="599">
                  <c:v>530</c:v>
                </c:pt>
                <c:pt idx="600">
                  <c:v>530</c:v>
                </c:pt>
                <c:pt idx="601">
                  <c:v>530</c:v>
                </c:pt>
                <c:pt idx="602">
                  <c:v>530</c:v>
                </c:pt>
                <c:pt idx="603">
                  <c:v>530</c:v>
                </c:pt>
                <c:pt idx="604">
                  <c:v>530</c:v>
                </c:pt>
                <c:pt idx="605">
                  <c:v>530</c:v>
                </c:pt>
                <c:pt idx="606">
                  <c:v>530</c:v>
                </c:pt>
                <c:pt idx="607">
                  <c:v>530</c:v>
                </c:pt>
                <c:pt idx="608">
                  <c:v>530</c:v>
                </c:pt>
                <c:pt idx="609">
                  <c:v>530</c:v>
                </c:pt>
                <c:pt idx="610">
                  <c:v>530</c:v>
                </c:pt>
                <c:pt idx="611">
                  <c:v>530</c:v>
                </c:pt>
                <c:pt idx="612">
                  <c:v>530</c:v>
                </c:pt>
                <c:pt idx="613">
                  <c:v>530</c:v>
                </c:pt>
                <c:pt idx="614">
                  <c:v>530</c:v>
                </c:pt>
                <c:pt idx="615">
                  <c:v>530</c:v>
                </c:pt>
                <c:pt idx="616">
                  <c:v>530</c:v>
                </c:pt>
                <c:pt idx="617">
                  <c:v>530</c:v>
                </c:pt>
                <c:pt idx="618">
                  <c:v>530</c:v>
                </c:pt>
                <c:pt idx="619">
                  <c:v>530</c:v>
                </c:pt>
                <c:pt idx="620">
                  <c:v>530</c:v>
                </c:pt>
                <c:pt idx="621">
                  <c:v>530</c:v>
                </c:pt>
                <c:pt idx="622">
                  <c:v>530</c:v>
                </c:pt>
                <c:pt idx="623">
                  <c:v>530</c:v>
                </c:pt>
                <c:pt idx="624">
                  <c:v>530</c:v>
                </c:pt>
                <c:pt idx="625">
                  <c:v>530</c:v>
                </c:pt>
                <c:pt idx="626">
                  <c:v>530</c:v>
                </c:pt>
                <c:pt idx="627">
                  <c:v>530</c:v>
                </c:pt>
                <c:pt idx="628">
                  <c:v>530</c:v>
                </c:pt>
                <c:pt idx="629">
                  <c:v>530</c:v>
                </c:pt>
                <c:pt idx="630">
                  <c:v>530</c:v>
                </c:pt>
                <c:pt idx="631">
                  <c:v>530</c:v>
                </c:pt>
                <c:pt idx="632">
                  <c:v>530</c:v>
                </c:pt>
                <c:pt idx="633">
                  <c:v>530</c:v>
                </c:pt>
                <c:pt idx="634">
                  <c:v>530</c:v>
                </c:pt>
                <c:pt idx="635">
                  <c:v>530</c:v>
                </c:pt>
                <c:pt idx="636">
                  <c:v>530</c:v>
                </c:pt>
                <c:pt idx="637">
                  <c:v>530</c:v>
                </c:pt>
                <c:pt idx="638">
                  <c:v>530</c:v>
                </c:pt>
                <c:pt idx="639">
                  <c:v>530</c:v>
                </c:pt>
                <c:pt idx="640">
                  <c:v>530</c:v>
                </c:pt>
                <c:pt idx="641">
                  <c:v>530</c:v>
                </c:pt>
                <c:pt idx="642">
                  <c:v>530</c:v>
                </c:pt>
                <c:pt idx="643">
                  <c:v>530</c:v>
                </c:pt>
                <c:pt idx="644">
                  <c:v>530</c:v>
                </c:pt>
                <c:pt idx="645">
                  <c:v>530</c:v>
                </c:pt>
                <c:pt idx="646">
                  <c:v>530</c:v>
                </c:pt>
                <c:pt idx="647">
                  <c:v>530</c:v>
                </c:pt>
                <c:pt idx="648">
                  <c:v>530</c:v>
                </c:pt>
                <c:pt idx="649">
                  <c:v>530</c:v>
                </c:pt>
                <c:pt idx="650">
                  <c:v>530</c:v>
                </c:pt>
                <c:pt idx="651">
                  <c:v>530</c:v>
                </c:pt>
                <c:pt idx="652">
                  <c:v>530</c:v>
                </c:pt>
                <c:pt idx="653">
                  <c:v>530</c:v>
                </c:pt>
                <c:pt idx="654">
                  <c:v>530</c:v>
                </c:pt>
                <c:pt idx="655">
                  <c:v>530</c:v>
                </c:pt>
                <c:pt idx="656">
                  <c:v>530</c:v>
                </c:pt>
                <c:pt idx="657">
                  <c:v>530</c:v>
                </c:pt>
                <c:pt idx="658">
                  <c:v>530</c:v>
                </c:pt>
                <c:pt idx="659">
                  <c:v>530</c:v>
                </c:pt>
                <c:pt idx="660">
                  <c:v>530</c:v>
                </c:pt>
                <c:pt idx="661">
                  <c:v>530</c:v>
                </c:pt>
                <c:pt idx="662">
                  <c:v>530</c:v>
                </c:pt>
                <c:pt idx="663">
                  <c:v>530</c:v>
                </c:pt>
                <c:pt idx="664">
                  <c:v>530</c:v>
                </c:pt>
                <c:pt idx="665">
                  <c:v>530</c:v>
                </c:pt>
                <c:pt idx="666">
                  <c:v>530</c:v>
                </c:pt>
                <c:pt idx="667">
                  <c:v>530</c:v>
                </c:pt>
                <c:pt idx="668">
                  <c:v>530</c:v>
                </c:pt>
                <c:pt idx="669">
                  <c:v>530</c:v>
                </c:pt>
                <c:pt idx="670">
                  <c:v>530</c:v>
                </c:pt>
                <c:pt idx="671">
                  <c:v>530</c:v>
                </c:pt>
                <c:pt idx="672">
                  <c:v>530</c:v>
                </c:pt>
                <c:pt idx="673">
                  <c:v>530</c:v>
                </c:pt>
                <c:pt idx="674">
                  <c:v>530</c:v>
                </c:pt>
                <c:pt idx="675">
                  <c:v>530</c:v>
                </c:pt>
                <c:pt idx="676">
                  <c:v>530</c:v>
                </c:pt>
                <c:pt idx="677">
                  <c:v>530</c:v>
                </c:pt>
                <c:pt idx="678">
                  <c:v>530</c:v>
                </c:pt>
                <c:pt idx="679">
                  <c:v>530</c:v>
                </c:pt>
                <c:pt idx="680">
                  <c:v>530</c:v>
                </c:pt>
                <c:pt idx="681">
                  <c:v>530</c:v>
                </c:pt>
                <c:pt idx="682">
                  <c:v>530</c:v>
                </c:pt>
                <c:pt idx="683">
                  <c:v>530</c:v>
                </c:pt>
                <c:pt idx="684">
                  <c:v>530</c:v>
                </c:pt>
                <c:pt idx="685">
                  <c:v>530</c:v>
                </c:pt>
                <c:pt idx="686">
                  <c:v>530</c:v>
                </c:pt>
                <c:pt idx="687">
                  <c:v>530</c:v>
                </c:pt>
                <c:pt idx="688">
                  <c:v>530</c:v>
                </c:pt>
                <c:pt idx="689">
                  <c:v>530</c:v>
                </c:pt>
                <c:pt idx="690">
                  <c:v>530</c:v>
                </c:pt>
                <c:pt idx="691">
                  <c:v>530</c:v>
                </c:pt>
                <c:pt idx="692">
                  <c:v>530</c:v>
                </c:pt>
                <c:pt idx="693">
                  <c:v>530</c:v>
                </c:pt>
                <c:pt idx="694">
                  <c:v>530</c:v>
                </c:pt>
                <c:pt idx="695">
                  <c:v>530</c:v>
                </c:pt>
                <c:pt idx="696">
                  <c:v>530</c:v>
                </c:pt>
                <c:pt idx="697">
                  <c:v>480</c:v>
                </c:pt>
                <c:pt idx="698">
                  <c:v>480</c:v>
                </c:pt>
                <c:pt idx="699">
                  <c:v>480</c:v>
                </c:pt>
                <c:pt idx="700">
                  <c:v>480</c:v>
                </c:pt>
                <c:pt idx="701">
                  <c:v>480</c:v>
                </c:pt>
                <c:pt idx="702">
                  <c:v>480</c:v>
                </c:pt>
                <c:pt idx="703">
                  <c:v>480</c:v>
                </c:pt>
                <c:pt idx="704">
                  <c:v>480</c:v>
                </c:pt>
                <c:pt idx="705">
                  <c:v>480</c:v>
                </c:pt>
                <c:pt idx="706">
                  <c:v>480</c:v>
                </c:pt>
                <c:pt idx="707">
                  <c:v>480</c:v>
                </c:pt>
                <c:pt idx="708">
                  <c:v>480</c:v>
                </c:pt>
                <c:pt idx="709">
                  <c:v>480</c:v>
                </c:pt>
                <c:pt idx="710">
                  <c:v>480</c:v>
                </c:pt>
                <c:pt idx="711">
                  <c:v>480</c:v>
                </c:pt>
                <c:pt idx="712">
                  <c:v>480</c:v>
                </c:pt>
                <c:pt idx="713">
                  <c:v>480</c:v>
                </c:pt>
                <c:pt idx="714">
                  <c:v>480</c:v>
                </c:pt>
                <c:pt idx="715">
                  <c:v>480</c:v>
                </c:pt>
                <c:pt idx="716">
                  <c:v>480</c:v>
                </c:pt>
                <c:pt idx="717">
                  <c:v>480</c:v>
                </c:pt>
                <c:pt idx="718">
                  <c:v>480</c:v>
                </c:pt>
                <c:pt idx="719">
                  <c:v>480</c:v>
                </c:pt>
                <c:pt idx="720">
                  <c:v>480</c:v>
                </c:pt>
                <c:pt idx="721">
                  <c:v>480</c:v>
                </c:pt>
                <c:pt idx="722">
                  <c:v>480</c:v>
                </c:pt>
                <c:pt idx="723">
                  <c:v>480</c:v>
                </c:pt>
                <c:pt idx="724">
                  <c:v>480</c:v>
                </c:pt>
                <c:pt idx="725">
                  <c:v>480</c:v>
                </c:pt>
                <c:pt idx="726">
                  <c:v>480</c:v>
                </c:pt>
                <c:pt idx="727">
                  <c:v>480</c:v>
                </c:pt>
                <c:pt idx="728">
                  <c:v>480</c:v>
                </c:pt>
                <c:pt idx="729">
                  <c:v>480</c:v>
                </c:pt>
                <c:pt idx="730">
                  <c:v>480</c:v>
                </c:pt>
                <c:pt idx="731">
                  <c:v>480</c:v>
                </c:pt>
                <c:pt idx="732">
                  <c:v>480</c:v>
                </c:pt>
                <c:pt idx="733">
                  <c:v>480</c:v>
                </c:pt>
                <c:pt idx="734">
                  <c:v>480</c:v>
                </c:pt>
                <c:pt idx="735">
                  <c:v>480</c:v>
                </c:pt>
                <c:pt idx="736">
                  <c:v>480</c:v>
                </c:pt>
                <c:pt idx="737">
                  <c:v>480</c:v>
                </c:pt>
                <c:pt idx="738">
                  <c:v>480</c:v>
                </c:pt>
                <c:pt idx="739">
                  <c:v>480</c:v>
                </c:pt>
                <c:pt idx="740">
                  <c:v>480</c:v>
                </c:pt>
                <c:pt idx="741">
                  <c:v>480</c:v>
                </c:pt>
              </c:numCache>
            </c:numRef>
          </c:val>
          <c:smooth val="0"/>
          <c:extLst>
            <c:ext xmlns:c16="http://schemas.microsoft.com/office/drawing/2014/chart" uri="{C3380CC4-5D6E-409C-BE32-E72D297353CC}">
              <c16:uniqueId val="{00000000-BD69-4FD6-A7D6-508AE9A3F891}"/>
            </c:ext>
          </c:extLst>
        </c:ser>
        <c:ser>
          <c:idx val="1"/>
          <c:order val="1"/>
          <c:tx>
            <c:strRef>
              <c:f>硅石价格图表!$AK$2</c:f>
              <c:strCache>
                <c:ptCount val="1"/>
                <c:pt idx="0">
                  <c:v>云南</c:v>
                </c:pt>
              </c:strCache>
            </c:strRef>
          </c:tx>
          <c:spPr>
            <a:ln w="19050" cap="rnd">
              <a:solidFill>
                <a:srgbClr val="7030A0">
                  <a:alpha val="60000"/>
                </a:srgbClr>
              </a:solidFill>
              <a:round/>
            </a:ln>
            <a:effectLst/>
          </c:spPr>
          <c:marker>
            <c:symbol val="none"/>
          </c:marker>
          <c:cat>
            <c:numRef>
              <c:f>硅石价格图表!$AI$3:$AI$744</c:f>
              <c:numCache>
                <c:formatCode>m/d/yyyy</c:formatCode>
                <c:ptCount val="742"/>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pt idx="738">
                  <c:v>44739</c:v>
                </c:pt>
                <c:pt idx="739">
                  <c:v>44738</c:v>
                </c:pt>
                <c:pt idx="740">
                  <c:v>44737</c:v>
                </c:pt>
                <c:pt idx="741">
                  <c:v>44736</c:v>
                </c:pt>
              </c:numCache>
            </c:numRef>
          </c:cat>
          <c:val>
            <c:numRef>
              <c:f>硅石价格图表!$AK$3:$AK$744</c:f>
              <c:numCache>
                <c:formatCode>General</c:formatCode>
                <c:ptCount val="742"/>
                <c:pt idx="0">
                  <c:v>670</c:v>
                </c:pt>
                <c:pt idx="1">
                  <c:v>670</c:v>
                </c:pt>
                <c:pt idx="2">
                  <c:v>670</c:v>
                </c:pt>
                <c:pt idx="3">
                  <c:v>670</c:v>
                </c:pt>
                <c:pt idx="4">
                  <c:v>670</c:v>
                </c:pt>
                <c:pt idx="5">
                  <c:v>670</c:v>
                </c:pt>
                <c:pt idx="6">
                  <c:v>670</c:v>
                </c:pt>
                <c:pt idx="7">
                  <c:v>670</c:v>
                </c:pt>
                <c:pt idx="8">
                  <c:v>670</c:v>
                </c:pt>
                <c:pt idx="9">
                  <c:v>670</c:v>
                </c:pt>
                <c:pt idx="10">
                  <c:v>670</c:v>
                </c:pt>
                <c:pt idx="11">
                  <c:v>670</c:v>
                </c:pt>
                <c:pt idx="12">
                  <c:v>670</c:v>
                </c:pt>
                <c:pt idx="13">
                  <c:v>670</c:v>
                </c:pt>
                <c:pt idx="14">
                  <c:v>670</c:v>
                </c:pt>
                <c:pt idx="15">
                  <c:v>670</c:v>
                </c:pt>
                <c:pt idx="16">
                  <c:v>670</c:v>
                </c:pt>
                <c:pt idx="17">
                  <c:v>670</c:v>
                </c:pt>
                <c:pt idx="18">
                  <c:v>670</c:v>
                </c:pt>
                <c:pt idx="19">
                  <c:v>670</c:v>
                </c:pt>
                <c:pt idx="20">
                  <c:v>670</c:v>
                </c:pt>
                <c:pt idx="21">
                  <c:v>670</c:v>
                </c:pt>
                <c:pt idx="22">
                  <c:v>670</c:v>
                </c:pt>
                <c:pt idx="23">
                  <c:v>670</c:v>
                </c:pt>
                <c:pt idx="24">
                  <c:v>670</c:v>
                </c:pt>
                <c:pt idx="25">
                  <c:v>670</c:v>
                </c:pt>
                <c:pt idx="26">
                  <c:v>670</c:v>
                </c:pt>
                <c:pt idx="27">
                  <c:v>670</c:v>
                </c:pt>
                <c:pt idx="28">
                  <c:v>670</c:v>
                </c:pt>
                <c:pt idx="29">
                  <c:v>670</c:v>
                </c:pt>
                <c:pt idx="30">
                  <c:v>670</c:v>
                </c:pt>
                <c:pt idx="31">
                  <c:v>670</c:v>
                </c:pt>
                <c:pt idx="32">
                  <c:v>670</c:v>
                </c:pt>
                <c:pt idx="33">
                  <c:v>670</c:v>
                </c:pt>
                <c:pt idx="34">
                  <c:v>670</c:v>
                </c:pt>
                <c:pt idx="35">
                  <c:v>670</c:v>
                </c:pt>
                <c:pt idx="36">
                  <c:v>670</c:v>
                </c:pt>
                <c:pt idx="37">
                  <c:v>670</c:v>
                </c:pt>
                <c:pt idx="38">
                  <c:v>670</c:v>
                </c:pt>
                <c:pt idx="39">
                  <c:v>670</c:v>
                </c:pt>
                <c:pt idx="40">
                  <c:v>670</c:v>
                </c:pt>
                <c:pt idx="41">
                  <c:v>670</c:v>
                </c:pt>
                <c:pt idx="42">
                  <c:v>670</c:v>
                </c:pt>
                <c:pt idx="43">
                  <c:v>670</c:v>
                </c:pt>
                <c:pt idx="44">
                  <c:v>670</c:v>
                </c:pt>
                <c:pt idx="45">
                  <c:v>670</c:v>
                </c:pt>
                <c:pt idx="46">
                  <c:v>670</c:v>
                </c:pt>
                <c:pt idx="47">
                  <c:v>670</c:v>
                </c:pt>
                <c:pt idx="48">
                  <c:v>670</c:v>
                </c:pt>
                <c:pt idx="49">
                  <c:v>670</c:v>
                </c:pt>
                <c:pt idx="50">
                  <c:v>670</c:v>
                </c:pt>
                <c:pt idx="51">
                  <c:v>670</c:v>
                </c:pt>
                <c:pt idx="52">
                  <c:v>670</c:v>
                </c:pt>
                <c:pt idx="53">
                  <c:v>670</c:v>
                </c:pt>
                <c:pt idx="54">
                  <c:v>670</c:v>
                </c:pt>
                <c:pt idx="55">
                  <c:v>670</c:v>
                </c:pt>
                <c:pt idx="56">
                  <c:v>670</c:v>
                </c:pt>
                <c:pt idx="57">
                  <c:v>670</c:v>
                </c:pt>
                <c:pt idx="58">
                  <c:v>670</c:v>
                </c:pt>
                <c:pt idx="59">
                  <c:v>670</c:v>
                </c:pt>
                <c:pt idx="60">
                  <c:v>670</c:v>
                </c:pt>
                <c:pt idx="61">
                  <c:v>670</c:v>
                </c:pt>
                <c:pt idx="62">
                  <c:v>670</c:v>
                </c:pt>
                <c:pt idx="63">
                  <c:v>670</c:v>
                </c:pt>
                <c:pt idx="64">
                  <c:v>670</c:v>
                </c:pt>
                <c:pt idx="65">
                  <c:v>670</c:v>
                </c:pt>
                <c:pt idx="66">
                  <c:v>670</c:v>
                </c:pt>
                <c:pt idx="67">
                  <c:v>670</c:v>
                </c:pt>
                <c:pt idx="68">
                  <c:v>670</c:v>
                </c:pt>
                <c:pt idx="69">
                  <c:v>670</c:v>
                </c:pt>
                <c:pt idx="70">
                  <c:v>670</c:v>
                </c:pt>
                <c:pt idx="71">
                  <c:v>670</c:v>
                </c:pt>
                <c:pt idx="72">
                  <c:v>670</c:v>
                </c:pt>
                <c:pt idx="73">
                  <c:v>670</c:v>
                </c:pt>
                <c:pt idx="74">
                  <c:v>670</c:v>
                </c:pt>
                <c:pt idx="75">
                  <c:v>670</c:v>
                </c:pt>
                <c:pt idx="76">
                  <c:v>670</c:v>
                </c:pt>
                <c:pt idx="77">
                  <c:v>670</c:v>
                </c:pt>
                <c:pt idx="78">
                  <c:v>670</c:v>
                </c:pt>
                <c:pt idx="79">
                  <c:v>670</c:v>
                </c:pt>
                <c:pt idx="80">
                  <c:v>670</c:v>
                </c:pt>
                <c:pt idx="81">
                  <c:v>670</c:v>
                </c:pt>
                <c:pt idx="82">
                  <c:v>670</c:v>
                </c:pt>
                <c:pt idx="83">
                  <c:v>670</c:v>
                </c:pt>
                <c:pt idx="84">
                  <c:v>670</c:v>
                </c:pt>
                <c:pt idx="85">
                  <c:v>670</c:v>
                </c:pt>
                <c:pt idx="86">
                  <c:v>670</c:v>
                </c:pt>
                <c:pt idx="87">
                  <c:v>670</c:v>
                </c:pt>
                <c:pt idx="88">
                  <c:v>670</c:v>
                </c:pt>
                <c:pt idx="89">
                  <c:v>670</c:v>
                </c:pt>
                <c:pt idx="90">
                  <c:v>670</c:v>
                </c:pt>
                <c:pt idx="91">
                  <c:v>670</c:v>
                </c:pt>
                <c:pt idx="92">
                  <c:v>670</c:v>
                </c:pt>
                <c:pt idx="93">
                  <c:v>670</c:v>
                </c:pt>
                <c:pt idx="94">
                  <c:v>670</c:v>
                </c:pt>
                <c:pt idx="95">
                  <c:v>670</c:v>
                </c:pt>
                <c:pt idx="96">
                  <c:v>670</c:v>
                </c:pt>
                <c:pt idx="97">
                  <c:v>670</c:v>
                </c:pt>
                <c:pt idx="98">
                  <c:v>670</c:v>
                </c:pt>
                <c:pt idx="99">
                  <c:v>670</c:v>
                </c:pt>
                <c:pt idx="100">
                  <c:v>670</c:v>
                </c:pt>
                <c:pt idx="101">
                  <c:v>670</c:v>
                </c:pt>
                <c:pt idx="102">
                  <c:v>670</c:v>
                </c:pt>
                <c:pt idx="103">
                  <c:v>670</c:v>
                </c:pt>
                <c:pt idx="104">
                  <c:v>670</c:v>
                </c:pt>
                <c:pt idx="105">
                  <c:v>670</c:v>
                </c:pt>
                <c:pt idx="106">
                  <c:v>670</c:v>
                </c:pt>
                <c:pt idx="107">
                  <c:v>670</c:v>
                </c:pt>
                <c:pt idx="108">
                  <c:v>670</c:v>
                </c:pt>
                <c:pt idx="109">
                  <c:v>670</c:v>
                </c:pt>
                <c:pt idx="110">
                  <c:v>670</c:v>
                </c:pt>
                <c:pt idx="111">
                  <c:v>670</c:v>
                </c:pt>
                <c:pt idx="112">
                  <c:v>670</c:v>
                </c:pt>
                <c:pt idx="113">
                  <c:v>670</c:v>
                </c:pt>
                <c:pt idx="114">
                  <c:v>670</c:v>
                </c:pt>
                <c:pt idx="115">
                  <c:v>670</c:v>
                </c:pt>
                <c:pt idx="116">
                  <c:v>670</c:v>
                </c:pt>
                <c:pt idx="117">
                  <c:v>670</c:v>
                </c:pt>
                <c:pt idx="118">
                  <c:v>670</c:v>
                </c:pt>
                <c:pt idx="119">
                  <c:v>670</c:v>
                </c:pt>
                <c:pt idx="120">
                  <c:v>670</c:v>
                </c:pt>
                <c:pt idx="121">
                  <c:v>670</c:v>
                </c:pt>
                <c:pt idx="122">
                  <c:v>670</c:v>
                </c:pt>
                <c:pt idx="123">
                  <c:v>670</c:v>
                </c:pt>
                <c:pt idx="124">
                  <c:v>670</c:v>
                </c:pt>
                <c:pt idx="125">
                  <c:v>670</c:v>
                </c:pt>
                <c:pt idx="126">
                  <c:v>670</c:v>
                </c:pt>
                <c:pt idx="127">
                  <c:v>670</c:v>
                </c:pt>
                <c:pt idx="128">
                  <c:v>670</c:v>
                </c:pt>
                <c:pt idx="129">
                  <c:v>670</c:v>
                </c:pt>
                <c:pt idx="130">
                  <c:v>670</c:v>
                </c:pt>
                <c:pt idx="131">
                  <c:v>670</c:v>
                </c:pt>
                <c:pt idx="132">
                  <c:v>670</c:v>
                </c:pt>
                <c:pt idx="133">
                  <c:v>670</c:v>
                </c:pt>
                <c:pt idx="134">
                  <c:v>670</c:v>
                </c:pt>
                <c:pt idx="135">
                  <c:v>670</c:v>
                </c:pt>
                <c:pt idx="136">
                  <c:v>670</c:v>
                </c:pt>
                <c:pt idx="137">
                  <c:v>670</c:v>
                </c:pt>
                <c:pt idx="138">
                  <c:v>670</c:v>
                </c:pt>
                <c:pt idx="139">
                  <c:v>670</c:v>
                </c:pt>
                <c:pt idx="140">
                  <c:v>670</c:v>
                </c:pt>
                <c:pt idx="141">
                  <c:v>670</c:v>
                </c:pt>
                <c:pt idx="142">
                  <c:v>670</c:v>
                </c:pt>
                <c:pt idx="143">
                  <c:v>670</c:v>
                </c:pt>
                <c:pt idx="144">
                  <c:v>670</c:v>
                </c:pt>
                <c:pt idx="145">
                  <c:v>670</c:v>
                </c:pt>
                <c:pt idx="146">
                  <c:v>670</c:v>
                </c:pt>
                <c:pt idx="147">
                  <c:v>670</c:v>
                </c:pt>
                <c:pt idx="148">
                  <c:v>670</c:v>
                </c:pt>
                <c:pt idx="149">
                  <c:v>670</c:v>
                </c:pt>
                <c:pt idx="150">
                  <c:v>670</c:v>
                </c:pt>
                <c:pt idx="151">
                  <c:v>670</c:v>
                </c:pt>
                <c:pt idx="152">
                  <c:v>670</c:v>
                </c:pt>
                <c:pt idx="153">
                  <c:v>670</c:v>
                </c:pt>
                <c:pt idx="154">
                  <c:v>670</c:v>
                </c:pt>
                <c:pt idx="155">
                  <c:v>670</c:v>
                </c:pt>
                <c:pt idx="156">
                  <c:v>670</c:v>
                </c:pt>
                <c:pt idx="157">
                  <c:v>670</c:v>
                </c:pt>
                <c:pt idx="158">
                  <c:v>670</c:v>
                </c:pt>
                <c:pt idx="159">
                  <c:v>670</c:v>
                </c:pt>
                <c:pt idx="160">
                  <c:v>670</c:v>
                </c:pt>
                <c:pt idx="161">
                  <c:v>670</c:v>
                </c:pt>
                <c:pt idx="162">
                  <c:v>670</c:v>
                </c:pt>
                <c:pt idx="163">
                  <c:v>670</c:v>
                </c:pt>
                <c:pt idx="164">
                  <c:v>670</c:v>
                </c:pt>
                <c:pt idx="165">
                  <c:v>670</c:v>
                </c:pt>
                <c:pt idx="166">
                  <c:v>670</c:v>
                </c:pt>
                <c:pt idx="167">
                  <c:v>670</c:v>
                </c:pt>
                <c:pt idx="168">
                  <c:v>670</c:v>
                </c:pt>
                <c:pt idx="169">
                  <c:v>670</c:v>
                </c:pt>
                <c:pt idx="170">
                  <c:v>670</c:v>
                </c:pt>
                <c:pt idx="171">
                  <c:v>670</c:v>
                </c:pt>
                <c:pt idx="172">
                  <c:v>670</c:v>
                </c:pt>
                <c:pt idx="173">
                  <c:v>670</c:v>
                </c:pt>
                <c:pt idx="174">
                  <c:v>670</c:v>
                </c:pt>
                <c:pt idx="175">
                  <c:v>670</c:v>
                </c:pt>
                <c:pt idx="176">
                  <c:v>670</c:v>
                </c:pt>
                <c:pt idx="177">
                  <c:v>670</c:v>
                </c:pt>
                <c:pt idx="178">
                  <c:v>670</c:v>
                </c:pt>
                <c:pt idx="179">
                  <c:v>670</c:v>
                </c:pt>
                <c:pt idx="180">
                  <c:v>670</c:v>
                </c:pt>
                <c:pt idx="181">
                  <c:v>670</c:v>
                </c:pt>
                <c:pt idx="182">
                  <c:v>670</c:v>
                </c:pt>
                <c:pt idx="183">
                  <c:v>670</c:v>
                </c:pt>
                <c:pt idx="184">
                  <c:v>670</c:v>
                </c:pt>
                <c:pt idx="185">
                  <c:v>670</c:v>
                </c:pt>
                <c:pt idx="186">
                  <c:v>670</c:v>
                </c:pt>
                <c:pt idx="187">
                  <c:v>670</c:v>
                </c:pt>
                <c:pt idx="188">
                  <c:v>670</c:v>
                </c:pt>
                <c:pt idx="189">
                  <c:v>670</c:v>
                </c:pt>
                <c:pt idx="190">
                  <c:v>670</c:v>
                </c:pt>
                <c:pt idx="191">
                  <c:v>670</c:v>
                </c:pt>
                <c:pt idx="192">
                  <c:v>670</c:v>
                </c:pt>
                <c:pt idx="193">
                  <c:v>670</c:v>
                </c:pt>
                <c:pt idx="194">
                  <c:v>670</c:v>
                </c:pt>
                <c:pt idx="195">
                  <c:v>670</c:v>
                </c:pt>
                <c:pt idx="196">
                  <c:v>670</c:v>
                </c:pt>
                <c:pt idx="197">
                  <c:v>670</c:v>
                </c:pt>
                <c:pt idx="198">
                  <c:v>670</c:v>
                </c:pt>
                <c:pt idx="199">
                  <c:v>670</c:v>
                </c:pt>
                <c:pt idx="200">
                  <c:v>670</c:v>
                </c:pt>
                <c:pt idx="201">
                  <c:v>670</c:v>
                </c:pt>
                <c:pt idx="202">
                  <c:v>670</c:v>
                </c:pt>
                <c:pt idx="203">
                  <c:v>670</c:v>
                </c:pt>
                <c:pt idx="204">
                  <c:v>670</c:v>
                </c:pt>
                <c:pt idx="205">
                  <c:v>670</c:v>
                </c:pt>
                <c:pt idx="206">
                  <c:v>670</c:v>
                </c:pt>
                <c:pt idx="207">
                  <c:v>670</c:v>
                </c:pt>
                <c:pt idx="208">
                  <c:v>670</c:v>
                </c:pt>
                <c:pt idx="209">
                  <c:v>670</c:v>
                </c:pt>
                <c:pt idx="210">
                  <c:v>670</c:v>
                </c:pt>
                <c:pt idx="211">
                  <c:v>670</c:v>
                </c:pt>
                <c:pt idx="212">
                  <c:v>670</c:v>
                </c:pt>
                <c:pt idx="213">
                  <c:v>670</c:v>
                </c:pt>
                <c:pt idx="214">
                  <c:v>670</c:v>
                </c:pt>
                <c:pt idx="215">
                  <c:v>670</c:v>
                </c:pt>
                <c:pt idx="216">
                  <c:v>670</c:v>
                </c:pt>
                <c:pt idx="217">
                  <c:v>670</c:v>
                </c:pt>
                <c:pt idx="218">
                  <c:v>670</c:v>
                </c:pt>
                <c:pt idx="219">
                  <c:v>670</c:v>
                </c:pt>
                <c:pt idx="220">
                  <c:v>670</c:v>
                </c:pt>
                <c:pt idx="221">
                  <c:v>670</c:v>
                </c:pt>
                <c:pt idx="222">
                  <c:v>670</c:v>
                </c:pt>
                <c:pt idx="223">
                  <c:v>670</c:v>
                </c:pt>
                <c:pt idx="224">
                  <c:v>670</c:v>
                </c:pt>
                <c:pt idx="225">
                  <c:v>670</c:v>
                </c:pt>
                <c:pt idx="226">
                  <c:v>670</c:v>
                </c:pt>
                <c:pt idx="227">
                  <c:v>670</c:v>
                </c:pt>
                <c:pt idx="228">
                  <c:v>670</c:v>
                </c:pt>
                <c:pt idx="229">
                  <c:v>670</c:v>
                </c:pt>
                <c:pt idx="230">
                  <c:v>670</c:v>
                </c:pt>
                <c:pt idx="231">
                  <c:v>670</c:v>
                </c:pt>
                <c:pt idx="232">
                  <c:v>670</c:v>
                </c:pt>
                <c:pt idx="233">
                  <c:v>670</c:v>
                </c:pt>
                <c:pt idx="234">
                  <c:v>670</c:v>
                </c:pt>
                <c:pt idx="235">
                  <c:v>670</c:v>
                </c:pt>
                <c:pt idx="236">
                  <c:v>670</c:v>
                </c:pt>
                <c:pt idx="237">
                  <c:v>670</c:v>
                </c:pt>
                <c:pt idx="238">
                  <c:v>670</c:v>
                </c:pt>
                <c:pt idx="239">
                  <c:v>670</c:v>
                </c:pt>
                <c:pt idx="240">
                  <c:v>670</c:v>
                </c:pt>
                <c:pt idx="241">
                  <c:v>670</c:v>
                </c:pt>
                <c:pt idx="242">
                  <c:v>670</c:v>
                </c:pt>
                <c:pt idx="243">
                  <c:v>670</c:v>
                </c:pt>
                <c:pt idx="244">
                  <c:v>670</c:v>
                </c:pt>
                <c:pt idx="245">
                  <c:v>670</c:v>
                </c:pt>
                <c:pt idx="246">
                  <c:v>670</c:v>
                </c:pt>
                <c:pt idx="247">
                  <c:v>670</c:v>
                </c:pt>
                <c:pt idx="248">
                  <c:v>670</c:v>
                </c:pt>
                <c:pt idx="249">
                  <c:v>670</c:v>
                </c:pt>
                <c:pt idx="250">
                  <c:v>670</c:v>
                </c:pt>
                <c:pt idx="251">
                  <c:v>670</c:v>
                </c:pt>
                <c:pt idx="252">
                  <c:v>670</c:v>
                </c:pt>
                <c:pt idx="253">
                  <c:v>670</c:v>
                </c:pt>
                <c:pt idx="254">
                  <c:v>670</c:v>
                </c:pt>
                <c:pt idx="255">
                  <c:v>670</c:v>
                </c:pt>
                <c:pt idx="256">
                  <c:v>670</c:v>
                </c:pt>
                <c:pt idx="257">
                  <c:v>670</c:v>
                </c:pt>
                <c:pt idx="258">
                  <c:v>670</c:v>
                </c:pt>
                <c:pt idx="259">
                  <c:v>670</c:v>
                </c:pt>
                <c:pt idx="260">
                  <c:v>670</c:v>
                </c:pt>
                <c:pt idx="261">
                  <c:v>670</c:v>
                </c:pt>
                <c:pt idx="262">
                  <c:v>670</c:v>
                </c:pt>
                <c:pt idx="263">
                  <c:v>670</c:v>
                </c:pt>
                <c:pt idx="264">
                  <c:v>670</c:v>
                </c:pt>
                <c:pt idx="265">
                  <c:v>670</c:v>
                </c:pt>
                <c:pt idx="266">
                  <c:v>670</c:v>
                </c:pt>
                <c:pt idx="267">
                  <c:v>670</c:v>
                </c:pt>
                <c:pt idx="268">
                  <c:v>670</c:v>
                </c:pt>
                <c:pt idx="269">
                  <c:v>670</c:v>
                </c:pt>
                <c:pt idx="270">
                  <c:v>670</c:v>
                </c:pt>
                <c:pt idx="271">
                  <c:v>670</c:v>
                </c:pt>
                <c:pt idx="272">
                  <c:v>670</c:v>
                </c:pt>
                <c:pt idx="273">
                  <c:v>670</c:v>
                </c:pt>
                <c:pt idx="274">
                  <c:v>670</c:v>
                </c:pt>
                <c:pt idx="275">
                  <c:v>670</c:v>
                </c:pt>
                <c:pt idx="276">
                  <c:v>670</c:v>
                </c:pt>
                <c:pt idx="277">
                  <c:v>670</c:v>
                </c:pt>
                <c:pt idx="278">
                  <c:v>670</c:v>
                </c:pt>
                <c:pt idx="279">
                  <c:v>670</c:v>
                </c:pt>
                <c:pt idx="280">
                  <c:v>670</c:v>
                </c:pt>
                <c:pt idx="281">
                  <c:v>670</c:v>
                </c:pt>
                <c:pt idx="282">
                  <c:v>670</c:v>
                </c:pt>
                <c:pt idx="283">
                  <c:v>670</c:v>
                </c:pt>
                <c:pt idx="284">
                  <c:v>670</c:v>
                </c:pt>
                <c:pt idx="285">
                  <c:v>670</c:v>
                </c:pt>
                <c:pt idx="286">
                  <c:v>670</c:v>
                </c:pt>
                <c:pt idx="287">
                  <c:v>670</c:v>
                </c:pt>
                <c:pt idx="288">
                  <c:v>670</c:v>
                </c:pt>
                <c:pt idx="289">
                  <c:v>670</c:v>
                </c:pt>
                <c:pt idx="290">
                  <c:v>670</c:v>
                </c:pt>
                <c:pt idx="291">
                  <c:v>670</c:v>
                </c:pt>
                <c:pt idx="292">
                  <c:v>670</c:v>
                </c:pt>
                <c:pt idx="293">
                  <c:v>670</c:v>
                </c:pt>
                <c:pt idx="294">
                  <c:v>670</c:v>
                </c:pt>
                <c:pt idx="295">
                  <c:v>670</c:v>
                </c:pt>
                <c:pt idx="296">
                  <c:v>670</c:v>
                </c:pt>
                <c:pt idx="297">
                  <c:v>670</c:v>
                </c:pt>
                <c:pt idx="298">
                  <c:v>670</c:v>
                </c:pt>
                <c:pt idx="299">
                  <c:v>670</c:v>
                </c:pt>
                <c:pt idx="300">
                  <c:v>670</c:v>
                </c:pt>
                <c:pt idx="301">
                  <c:v>670</c:v>
                </c:pt>
                <c:pt idx="302">
                  <c:v>670</c:v>
                </c:pt>
                <c:pt idx="303">
                  <c:v>670</c:v>
                </c:pt>
                <c:pt idx="304">
                  <c:v>670</c:v>
                </c:pt>
                <c:pt idx="305">
                  <c:v>670</c:v>
                </c:pt>
                <c:pt idx="306">
                  <c:v>670</c:v>
                </c:pt>
                <c:pt idx="307">
                  <c:v>670</c:v>
                </c:pt>
                <c:pt idx="308">
                  <c:v>670</c:v>
                </c:pt>
                <c:pt idx="309">
                  <c:v>670</c:v>
                </c:pt>
                <c:pt idx="310">
                  <c:v>670</c:v>
                </c:pt>
                <c:pt idx="311">
                  <c:v>670</c:v>
                </c:pt>
                <c:pt idx="312">
                  <c:v>670</c:v>
                </c:pt>
                <c:pt idx="313">
                  <c:v>670</c:v>
                </c:pt>
                <c:pt idx="314">
                  <c:v>670</c:v>
                </c:pt>
                <c:pt idx="315">
                  <c:v>670</c:v>
                </c:pt>
                <c:pt idx="316">
                  <c:v>670</c:v>
                </c:pt>
                <c:pt idx="317">
                  <c:v>670</c:v>
                </c:pt>
                <c:pt idx="318">
                  <c:v>670</c:v>
                </c:pt>
                <c:pt idx="319">
                  <c:v>#N/A</c:v>
                </c:pt>
                <c:pt idx="320">
                  <c:v>#N/A</c:v>
                </c:pt>
                <c:pt idx="321">
                  <c:v>670</c:v>
                </c:pt>
                <c:pt idx="322">
                  <c:v>670</c:v>
                </c:pt>
                <c:pt idx="323">
                  <c:v>670</c:v>
                </c:pt>
                <c:pt idx="324">
                  <c:v>670</c:v>
                </c:pt>
                <c:pt idx="325">
                  <c:v>670</c:v>
                </c:pt>
                <c:pt idx="326">
                  <c:v>670</c:v>
                </c:pt>
                <c:pt idx="327">
                  <c:v>670</c:v>
                </c:pt>
                <c:pt idx="328">
                  <c:v>670</c:v>
                </c:pt>
                <c:pt idx="329">
                  <c:v>670</c:v>
                </c:pt>
                <c:pt idx="330">
                  <c:v>670</c:v>
                </c:pt>
                <c:pt idx="331">
                  <c:v>670</c:v>
                </c:pt>
                <c:pt idx="332">
                  <c:v>670</c:v>
                </c:pt>
                <c:pt idx="333">
                  <c:v>670</c:v>
                </c:pt>
                <c:pt idx="334">
                  <c:v>670</c:v>
                </c:pt>
                <c:pt idx="335">
                  <c:v>670</c:v>
                </c:pt>
                <c:pt idx="336">
                  <c:v>670</c:v>
                </c:pt>
                <c:pt idx="337">
                  <c:v>670</c:v>
                </c:pt>
                <c:pt idx="338">
                  <c:v>670</c:v>
                </c:pt>
                <c:pt idx="339">
                  <c:v>670</c:v>
                </c:pt>
                <c:pt idx="340">
                  <c:v>670</c:v>
                </c:pt>
                <c:pt idx="341">
                  <c:v>670</c:v>
                </c:pt>
                <c:pt idx="342">
                  <c:v>670</c:v>
                </c:pt>
                <c:pt idx="343">
                  <c:v>670</c:v>
                </c:pt>
                <c:pt idx="344">
                  <c:v>670</c:v>
                </c:pt>
                <c:pt idx="345">
                  <c:v>670</c:v>
                </c:pt>
                <c:pt idx="346">
                  <c:v>670</c:v>
                </c:pt>
                <c:pt idx="347">
                  <c:v>670</c:v>
                </c:pt>
                <c:pt idx="348">
                  <c:v>670</c:v>
                </c:pt>
                <c:pt idx="349">
                  <c:v>670</c:v>
                </c:pt>
                <c:pt idx="350">
                  <c:v>670</c:v>
                </c:pt>
                <c:pt idx="351">
                  <c:v>670</c:v>
                </c:pt>
                <c:pt idx="352">
                  <c:v>670</c:v>
                </c:pt>
                <c:pt idx="353">
                  <c:v>670</c:v>
                </c:pt>
                <c:pt idx="354">
                  <c:v>670</c:v>
                </c:pt>
                <c:pt idx="355">
                  <c:v>670</c:v>
                </c:pt>
                <c:pt idx="356">
                  <c:v>670</c:v>
                </c:pt>
                <c:pt idx="357">
                  <c:v>670</c:v>
                </c:pt>
                <c:pt idx="358">
                  <c:v>670</c:v>
                </c:pt>
                <c:pt idx="359">
                  <c:v>670</c:v>
                </c:pt>
                <c:pt idx="360">
                  <c:v>670</c:v>
                </c:pt>
                <c:pt idx="361">
                  <c:v>670</c:v>
                </c:pt>
                <c:pt idx="362">
                  <c:v>670</c:v>
                </c:pt>
                <c:pt idx="363">
                  <c:v>670</c:v>
                </c:pt>
                <c:pt idx="364">
                  <c:v>670</c:v>
                </c:pt>
                <c:pt idx="365">
                  <c:v>670</c:v>
                </c:pt>
                <c:pt idx="366">
                  <c:v>670</c:v>
                </c:pt>
                <c:pt idx="367">
                  <c:v>670</c:v>
                </c:pt>
                <c:pt idx="368">
                  <c:v>670</c:v>
                </c:pt>
                <c:pt idx="369">
                  <c:v>670</c:v>
                </c:pt>
                <c:pt idx="370">
                  <c:v>670</c:v>
                </c:pt>
                <c:pt idx="371">
                  <c:v>670</c:v>
                </c:pt>
                <c:pt idx="372">
                  <c:v>670</c:v>
                </c:pt>
                <c:pt idx="373">
                  <c:v>670</c:v>
                </c:pt>
                <c:pt idx="374">
                  <c:v>670</c:v>
                </c:pt>
                <c:pt idx="375">
                  <c:v>670</c:v>
                </c:pt>
                <c:pt idx="376">
                  <c:v>670</c:v>
                </c:pt>
                <c:pt idx="377">
                  <c:v>670</c:v>
                </c:pt>
                <c:pt idx="378">
                  <c:v>670</c:v>
                </c:pt>
                <c:pt idx="379">
                  <c:v>670</c:v>
                </c:pt>
                <c:pt idx="380">
                  <c:v>670</c:v>
                </c:pt>
                <c:pt idx="381">
                  <c:v>670</c:v>
                </c:pt>
                <c:pt idx="382">
                  <c:v>670</c:v>
                </c:pt>
                <c:pt idx="383">
                  <c:v>670</c:v>
                </c:pt>
                <c:pt idx="384">
                  <c:v>670</c:v>
                </c:pt>
                <c:pt idx="385">
                  <c:v>670</c:v>
                </c:pt>
                <c:pt idx="386">
                  <c:v>670</c:v>
                </c:pt>
                <c:pt idx="387">
                  <c:v>670</c:v>
                </c:pt>
                <c:pt idx="388">
                  <c:v>670</c:v>
                </c:pt>
                <c:pt idx="389">
                  <c:v>670</c:v>
                </c:pt>
                <c:pt idx="390">
                  <c:v>670</c:v>
                </c:pt>
                <c:pt idx="391">
                  <c:v>670</c:v>
                </c:pt>
                <c:pt idx="392">
                  <c:v>670</c:v>
                </c:pt>
                <c:pt idx="393">
                  <c:v>670</c:v>
                </c:pt>
                <c:pt idx="394">
                  <c:v>670</c:v>
                </c:pt>
                <c:pt idx="395">
                  <c:v>670</c:v>
                </c:pt>
                <c:pt idx="396">
                  <c:v>670</c:v>
                </c:pt>
                <c:pt idx="397">
                  <c:v>670</c:v>
                </c:pt>
                <c:pt idx="398">
                  <c:v>670</c:v>
                </c:pt>
                <c:pt idx="399">
                  <c:v>670</c:v>
                </c:pt>
                <c:pt idx="400">
                  <c:v>670</c:v>
                </c:pt>
                <c:pt idx="401">
                  <c:v>670</c:v>
                </c:pt>
                <c:pt idx="402">
                  <c:v>670</c:v>
                </c:pt>
                <c:pt idx="403">
                  <c:v>670</c:v>
                </c:pt>
                <c:pt idx="404">
                  <c:v>670</c:v>
                </c:pt>
                <c:pt idx="405">
                  <c:v>670</c:v>
                </c:pt>
                <c:pt idx="406">
                  <c:v>670</c:v>
                </c:pt>
                <c:pt idx="407">
                  <c:v>670</c:v>
                </c:pt>
                <c:pt idx="408">
                  <c:v>670</c:v>
                </c:pt>
                <c:pt idx="409">
                  <c:v>670</c:v>
                </c:pt>
                <c:pt idx="410">
                  <c:v>670</c:v>
                </c:pt>
                <c:pt idx="411">
                  <c:v>670</c:v>
                </c:pt>
                <c:pt idx="412">
                  <c:v>670</c:v>
                </c:pt>
                <c:pt idx="413">
                  <c:v>670</c:v>
                </c:pt>
                <c:pt idx="414">
                  <c:v>670</c:v>
                </c:pt>
                <c:pt idx="415">
                  <c:v>670</c:v>
                </c:pt>
                <c:pt idx="416">
                  <c:v>670</c:v>
                </c:pt>
                <c:pt idx="417">
                  <c:v>670</c:v>
                </c:pt>
                <c:pt idx="418">
                  <c:v>670</c:v>
                </c:pt>
                <c:pt idx="419">
                  <c:v>670</c:v>
                </c:pt>
                <c:pt idx="420">
                  <c:v>670</c:v>
                </c:pt>
                <c:pt idx="421">
                  <c:v>670</c:v>
                </c:pt>
                <c:pt idx="422">
                  <c:v>670</c:v>
                </c:pt>
                <c:pt idx="423">
                  <c:v>670</c:v>
                </c:pt>
                <c:pt idx="424">
                  <c:v>670</c:v>
                </c:pt>
                <c:pt idx="425">
                  <c:v>670</c:v>
                </c:pt>
                <c:pt idx="426">
                  <c:v>670</c:v>
                </c:pt>
                <c:pt idx="427">
                  <c:v>670</c:v>
                </c:pt>
                <c:pt idx="428">
                  <c:v>670</c:v>
                </c:pt>
                <c:pt idx="429">
                  <c:v>670</c:v>
                </c:pt>
                <c:pt idx="430">
                  <c:v>670</c:v>
                </c:pt>
                <c:pt idx="431">
                  <c:v>670</c:v>
                </c:pt>
                <c:pt idx="432">
                  <c:v>670</c:v>
                </c:pt>
                <c:pt idx="433">
                  <c:v>670</c:v>
                </c:pt>
                <c:pt idx="434">
                  <c:v>670</c:v>
                </c:pt>
                <c:pt idx="435">
                  <c:v>670</c:v>
                </c:pt>
                <c:pt idx="436">
                  <c:v>670</c:v>
                </c:pt>
                <c:pt idx="437">
                  <c:v>670</c:v>
                </c:pt>
                <c:pt idx="438">
                  <c:v>670</c:v>
                </c:pt>
                <c:pt idx="439">
                  <c:v>670</c:v>
                </c:pt>
                <c:pt idx="440">
                  <c:v>670</c:v>
                </c:pt>
                <c:pt idx="441">
                  <c:v>670</c:v>
                </c:pt>
                <c:pt idx="442">
                  <c:v>670</c:v>
                </c:pt>
                <c:pt idx="443">
                  <c:v>670</c:v>
                </c:pt>
                <c:pt idx="444">
                  <c:v>670</c:v>
                </c:pt>
                <c:pt idx="445">
                  <c:v>670</c:v>
                </c:pt>
                <c:pt idx="446">
                  <c:v>670</c:v>
                </c:pt>
                <c:pt idx="447">
                  <c:v>670</c:v>
                </c:pt>
                <c:pt idx="448">
                  <c:v>670</c:v>
                </c:pt>
                <c:pt idx="449">
                  <c:v>670</c:v>
                </c:pt>
                <c:pt idx="450">
                  <c:v>670</c:v>
                </c:pt>
                <c:pt idx="451">
                  <c:v>670</c:v>
                </c:pt>
                <c:pt idx="452">
                  <c:v>670</c:v>
                </c:pt>
                <c:pt idx="453">
                  <c:v>670</c:v>
                </c:pt>
                <c:pt idx="454">
                  <c:v>670</c:v>
                </c:pt>
                <c:pt idx="455">
                  <c:v>670</c:v>
                </c:pt>
                <c:pt idx="456">
                  <c:v>670</c:v>
                </c:pt>
                <c:pt idx="457">
                  <c:v>670</c:v>
                </c:pt>
                <c:pt idx="458">
                  <c:v>670</c:v>
                </c:pt>
                <c:pt idx="459">
                  <c:v>670</c:v>
                </c:pt>
                <c:pt idx="460">
                  <c:v>670</c:v>
                </c:pt>
                <c:pt idx="461">
                  <c:v>670</c:v>
                </c:pt>
                <c:pt idx="462">
                  <c:v>670</c:v>
                </c:pt>
                <c:pt idx="463">
                  <c:v>670</c:v>
                </c:pt>
                <c:pt idx="464">
                  <c:v>670</c:v>
                </c:pt>
                <c:pt idx="465">
                  <c:v>670</c:v>
                </c:pt>
                <c:pt idx="466">
                  <c:v>670</c:v>
                </c:pt>
                <c:pt idx="467">
                  <c:v>670</c:v>
                </c:pt>
                <c:pt idx="468">
                  <c:v>670</c:v>
                </c:pt>
                <c:pt idx="469">
                  <c:v>670</c:v>
                </c:pt>
                <c:pt idx="470">
                  <c:v>670</c:v>
                </c:pt>
                <c:pt idx="471">
                  <c:v>670</c:v>
                </c:pt>
                <c:pt idx="472">
                  <c:v>670</c:v>
                </c:pt>
                <c:pt idx="473">
                  <c:v>670</c:v>
                </c:pt>
                <c:pt idx="474">
                  <c:v>670</c:v>
                </c:pt>
                <c:pt idx="475">
                  <c:v>670</c:v>
                </c:pt>
                <c:pt idx="476">
                  <c:v>670</c:v>
                </c:pt>
                <c:pt idx="477">
                  <c:v>670</c:v>
                </c:pt>
                <c:pt idx="478">
                  <c:v>670</c:v>
                </c:pt>
                <c:pt idx="479">
                  <c:v>670</c:v>
                </c:pt>
                <c:pt idx="480">
                  <c:v>670</c:v>
                </c:pt>
                <c:pt idx="481">
                  <c:v>670</c:v>
                </c:pt>
                <c:pt idx="482">
                  <c:v>670</c:v>
                </c:pt>
                <c:pt idx="483">
                  <c:v>670</c:v>
                </c:pt>
                <c:pt idx="484">
                  <c:v>670</c:v>
                </c:pt>
                <c:pt idx="485">
                  <c:v>670</c:v>
                </c:pt>
                <c:pt idx="486">
                  <c:v>670</c:v>
                </c:pt>
                <c:pt idx="487">
                  <c:v>670</c:v>
                </c:pt>
                <c:pt idx="488">
                  <c:v>670</c:v>
                </c:pt>
                <c:pt idx="489">
                  <c:v>670</c:v>
                </c:pt>
                <c:pt idx="490">
                  <c:v>670</c:v>
                </c:pt>
                <c:pt idx="491">
                  <c:v>670</c:v>
                </c:pt>
                <c:pt idx="492">
                  <c:v>670</c:v>
                </c:pt>
                <c:pt idx="493">
                  <c:v>670</c:v>
                </c:pt>
                <c:pt idx="494">
                  <c:v>670</c:v>
                </c:pt>
                <c:pt idx="495">
                  <c:v>670</c:v>
                </c:pt>
                <c:pt idx="496">
                  <c:v>670</c:v>
                </c:pt>
                <c:pt idx="497">
                  <c:v>670</c:v>
                </c:pt>
                <c:pt idx="498">
                  <c:v>670</c:v>
                </c:pt>
                <c:pt idx="499">
                  <c:v>670</c:v>
                </c:pt>
                <c:pt idx="500">
                  <c:v>670</c:v>
                </c:pt>
                <c:pt idx="501">
                  <c:v>670</c:v>
                </c:pt>
                <c:pt idx="502">
                  <c:v>670</c:v>
                </c:pt>
                <c:pt idx="503">
                  <c:v>670</c:v>
                </c:pt>
                <c:pt idx="504">
                  <c:v>670</c:v>
                </c:pt>
                <c:pt idx="505">
                  <c:v>670</c:v>
                </c:pt>
                <c:pt idx="506">
                  <c:v>670</c:v>
                </c:pt>
                <c:pt idx="507">
                  <c:v>670</c:v>
                </c:pt>
                <c:pt idx="508">
                  <c:v>670</c:v>
                </c:pt>
                <c:pt idx="509">
                  <c:v>670</c:v>
                </c:pt>
                <c:pt idx="510">
                  <c:v>670</c:v>
                </c:pt>
                <c:pt idx="511">
                  <c:v>670</c:v>
                </c:pt>
                <c:pt idx="512">
                  <c:v>670</c:v>
                </c:pt>
                <c:pt idx="513">
                  <c:v>670</c:v>
                </c:pt>
                <c:pt idx="514">
                  <c:v>670</c:v>
                </c:pt>
                <c:pt idx="515">
                  <c:v>670</c:v>
                </c:pt>
                <c:pt idx="516">
                  <c:v>670</c:v>
                </c:pt>
                <c:pt idx="517">
                  <c:v>670</c:v>
                </c:pt>
                <c:pt idx="518">
                  <c:v>670</c:v>
                </c:pt>
                <c:pt idx="519">
                  <c:v>670</c:v>
                </c:pt>
                <c:pt idx="520">
                  <c:v>670</c:v>
                </c:pt>
                <c:pt idx="521">
                  <c:v>670</c:v>
                </c:pt>
                <c:pt idx="522">
                  <c:v>670</c:v>
                </c:pt>
                <c:pt idx="523">
                  <c:v>670</c:v>
                </c:pt>
                <c:pt idx="524">
                  <c:v>670</c:v>
                </c:pt>
                <c:pt idx="525">
                  <c:v>670</c:v>
                </c:pt>
                <c:pt idx="526">
                  <c:v>670</c:v>
                </c:pt>
                <c:pt idx="527">
                  <c:v>670</c:v>
                </c:pt>
                <c:pt idx="528">
                  <c:v>670</c:v>
                </c:pt>
                <c:pt idx="529">
                  <c:v>670</c:v>
                </c:pt>
                <c:pt idx="530">
                  <c:v>670</c:v>
                </c:pt>
                <c:pt idx="531">
                  <c:v>670</c:v>
                </c:pt>
                <c:pt idx="532">
                  <c:v>670</c:v>
                </c:pt>
                <c:pt idx="533">
                  <c:v>670</c:v>
                </c:pt>
                <c:pt idx="534">
                  <c:v>670</c:v>
                </c:pt>
                <c:pt idx="535">
                  <c:v>670</c:v>
                </c:pt>
                <c:pt idx="536">
                  <c:v>670</c:v>
                </c:pt>
                <c:pt idx="537">
                  <c:v>670</c:v>
                </c:pt>
                <c:pt idx="538">
                  <c:v>670</c:v>
                </c:pt>
                <c:pt idx="539">
                  <c:v>670</c:v>
                </c:pt>
                <c:pt idx="540">
                  <c:v>670</c:v>
                </c:pt>
                <c:pt idx="541">
                  <c:v>670</c:v>
                </c:pt>
                <c:pt idx="542">
                  <c:v>670</c:v>
                </c:pt>
                <c:pt idx="543">
                  <c:v>670</c:v>
                </c:pt>
                <c:pt idx="544">
                  <c:v>670</c:v>
                </c:pt>
                <c:pt idx="545">
                  <c:v>670</c:v>
                </c:pt>
                <c:pt idx="546">
                  <c:v>670</c:v>
                </c:pt>
                <c:pt idx="547">
                  <c:v>670</c:v>
                </c:pt>
                <c:pt idx="548">
                  <c:v>670</c:v>
                </c:pt>
                <c:pt idx="549">
                  <c:v>670</c:v>
                </c:pt>
                <c:pt idx="550">
                  <c:v>670</c:v>
                </c:pt>
                <c:pt idx="551">
                  <c:v>670</c:v>
                </c:pt>
                <c:pt idx="552">
                  <c:v>670</c:v>
                </c:pt>
                <c:pt idx="553">
                  <c:v>670</c:v>
                </c:pt>
                <c:pt idx="554">
                  <c:v>670</c:v>
                </c:pt>
                <c:pt idx="555">
                  <c:v>670</c:v>
                </c:pt>
                <c:pt idx="556">
                  <c:v>670</c:v>
                </c:pt>
                <c:pt idx="557">
                  <c:v>670</c:v>
                </c:pt>
                <c:pt idx="558">
                  <c:v>670</c:v>
                </c:pt>
                <c:pt idx="559">
                  <c:v>670</c:v>
                </c:pt>
                <c:pt idx="560">
                  <c:v>670</c:v>
                </c:pt>
                <c:pt idx="561">
                  <c:v>670</c:v>
                </c:pt>
                <c:pt idx="562">
                  <c:v>670</c:v>
                </c:pt>
                <c:pt idx="563">
                  <c:v>670</c:v>
                </c:pt>
                <c:pt idx="564">
                  <c:v>670</c:v>
                </c:pt>
                <c:pt idx="565">
                  <c:v>670</c:v>
                </c:pt>
                <c:pt idx="566">
                  <c:v>670</c:v>
                </c:pt>
                <c:pt idx="567">
                  <c:v>670</c:v>
                </c:pt>
                <c:pt idx="568">
                  <c:v>670</c:v>
                </c:pt>
                <c:pt idx="569">
                  <c:v>670</c:v>
                </c:pt>
                <c:pt idx="570">
                  <c:v>670</c:v>
                </c:pt>
                <c:pt idx="571">
                  <c:v>670</c:v>
                </c:pt>
                <c:pt idx="572">
                  <c:v>670</c:v>
                </c:pt>
                <c:pt idx="573">
                  <c:v>670</c:v>
                </c:pt>
                <c:pt idx="574">
                  <c:v>670</c:v>
                </c:pt>
                <c:pt idx="575">
                  <c:v>670</c:v>
                </c:pt>
                <c:pt idx="576">
                  <c:v>670</c:v>
                </c:pt>
                <c:pt idx="577">
                  <c:v>670</c:v>
                </c:pt>
                <c:pt idx="578">
                  <c:v>670</c:v>
                </c:pt>
                <c:pt idx="579">
                  <c:v>670</c:v>
                </c:pt>
                <c:pt idx="580">
                  <c:v>670</c:v>
                </c:pt>
                <c:pt idx="581">
                  <c:v>670</c:v>
                </c:pt>
                <c:pt idx="582">
                  <c:v>670</c:v>
                </c:pt>
                <c:pt idx="583">
                  <c:v>670</c:v>
                </c:pt>
                <c:pt idx="584">
                  <c:v>670</c:v>
                </c:pt>
                <c:pt idx="585">
                  <c:v>670</c:v>
                </c:pt>
                <c:pt idx="586">
                  <c:v>670</c:v>
                </c:pt>
                <c:pt idx="587">
                  <c:v>670</c:v>
                </c:pt>
                <c:pt idx="588">
                  <c:v>670</c:v>
                </c:pt>
                <c:pt idx="589">
                  <c:v>670</c:v>
                </c:pt>
                <c:pt idx="590">
                  <c:v>670</c:v>
                </c:pt>
                <c:pt idx="591">
                  <c:v>670</c:v>
                </c:pt>
                <c:pt idx="592">
                  <c:v>670</c:v>
                </c:pt>
                <c:pt idx="593">
                  <c:v>670</c:v>
                </c:pt>
                <c:pt idx="594">
                  <c:v>670</c:v>
                </c:pt>
                <c:pt idx="595">
                  <c:v>670</c:v>
                </c:pt>
                <c:pt idx="596">
                  <c:v>670</c:v>
                </c:pt>
                <c:pt idx="597">
                  <c:v>670</c:v>
                </c:pt>
                <c:pt idx="598">
                  <c:v>670</c:v>
                </c:pt>
                <c:pt idx="599">
                  <c:v>670</c:v>
                </c:pt>
                <c:pt idx="600">
                  <c:v>670</c:v>
                </c:pt>
                <c:pt idx="601">
                  <c:v>670</c:v>
                </c:pt>
                <c:pt idx="602">
                  <c:v>670</c:v>
                </c:pt>
                <c:pt idx="603">
                  <c:v>670</c:v>
                </c:pt>
                <c:pt idx="604">
                  <c:v>670</c:v>
                </c:pt>
                <c:pt idx="605">
                  <c:v>670</c:v>
                </c:pt>
                <c:pt idx="606">
                  <c:v>670</c:v>
                </c:pt>
                <c:pt idx="607">
                  <c:v>670</c:v>
                </c:pt>
                <c:pt idx="608">
                  <c:v>670</c:v>
                </c:pt>
                <c:pt idx="609">
                  <c:v>670</c:v>
                </c:pt>
                <c:pt idx="610">
                  <c:v>670</c:v>
                </c:pt>
                <c:pt idx="611">
                  <c:v>670</c:v>
                </c:pt>
                <c:pt idx="612">
                  <c:v>670</c:v>
                </c:pt>
                <c:pt idx="613">
                  <c:v>670</c:v>
                </c:pt>
                <c:pt idx="614">
                  <c:v>670</c:v>
                </c:pt>
                <c:pt idx="615">
                  <c:v>670</c:v>
                </c:pt>
                <c:pt idx="616">
                  <c:v>670</c:v>
                </c:pt>
                <c:pt idx="617">
                  <c:v>670</c:v>
                </c:pt>
                <c:pt idx="618">
                  <c:v>670</c:v>
                </c:pt>
                <c:pt idx="619">
                  <c:v>670</c:v>
                </c:pt>
                <c:pt idx="620">
                  <c:v>670</c:v>
                </c:pt>
                <c:pt idx="621">
                  <c:v>670</c:v>
                </c:pt>
                <c:pt idx="622">
                  <c:v>670</c:v>
                </c:pt>
                <c:pt idx="623">
                  <c:v>670</c:v>
                </c:pt>
                <c:pt idx="624">
                  <c:v>670</c:v>
                </c:pt>
                <c:pt idx="625">
                  <c:v>670</c:v>
                </c:pt>
                <c:pt idx="626">
                  <c:v>670</c:v>
                </c:pt>
                <c:pt idx="627">
                  <c:v>670</c:v>
                </c:pt>
                <c:pt idx="628">
                  <c:v>670</c:v>
                </c:pt>
                <c:pt idx="629">
                  <c:v>670</c:v>
                </c:pt>
                <c:pt idx="630">
                  <c:v>670</c:v>
                </c:pt>
                <c:pt idx="631">
                  <c:v>670</c:v>
                </c:pt>
                <c:pt idx="632">
                  <c:v>670</c:v>
                </c:pt>
                <c:pt idx="633">
                  <c:v>670</c:v>
                </c:pt>
                <c:pt idx="634">
                  <c:v>670</c:v>
                </c:pt>
                <c:pt idx="635">
                  <c:v>670</c:v>
                </c:pt>
                <c:pt idx="636">
                  <c:v>670</c:v>
                </c:pt>
                <c:pt idx="637">
                  <c:v>670</c:v>
                </c:pt>
                <c:pt idx="638">
                  <c:v>670</c:v>
                </c:pt>
                <c:pt idx="639">
                  <c:v>670</c:v>
                </c:pt>
                <c:pt idx="640">
                  <c:v>670</c:v>
                </c:pt>
                <c:pt idx="641">
                  <c:v>670</c:v>
                </c:pt>
                <c:pt idx="642">
                  <c:v>670</c:v>
                </c:pt>
                <c:pt idx="643">
                  <c:v>670</c:v>
                </c:pt>
                <c:pt idx="644">
                  <c:v>670</c:v>
                </c:pt>
                <c:pt idx="645">
                  <c:v>670</c:v>
                </c:pt>
                <c:pt idx="646">
                  <c:v>670</c:v>
                </c:pt>
                <c:pt idx="647">
                  <c:v>670</c:v>
                </c:pt>
                <c:pt idx="648">
                  <c:v>670</c:v>
                </c:pt>
                <c:pt idx="649">
                  <c:v>670</c:v>
                </c:pt>
                <c:pt idx="650">
                  <c:v>670</c:v>
                </c:pt>
                <c:pt idx="651">
                  <c:v>670</c:v>
                </c:pt>
                <c:pt idx="652">
                  <c:v>670</c:v>
                </c:pt>
                <c:pt idx="653">
                  <c:v>670</c:v>
                </c:pt>
                <c:pt idx="654">
                  <c:v>670</c:v>
                </c:pt>
                <c:pt idx="655">
                  <c:v>670</c:v>
                </c:pt>
                <c:pt idx="656">
                  <c:v>670</c:v>
                </c:pt>
                <c:pt idx="657">
                  <c:v>670</c:v>
                </c:pt>
                <c:pt idx="658">
                  <c:v>670</c:v>
                </c:pt>
                <c:pt idx="659">
                  <c:v>670</c:v>
                </c:pt>
                <c:pt idx="660">
                  <c:v>670</c:v>
                </c:pt>
                <c:pt idx="661">
                  <c:v>670</c:v>
                </c:pt>
                <c:pt idx="662">
                  <c:v>670</c:v>
                </c:pt>
                <c:pt idx="663">
                  <c:v>670</c:v>
                </c:pt>
                <c:pt idx="664">
                  <c:v>670</c:v>
                </c:pt>
                <c:pt idx="665">
                  <c:v>670</c:v>
                </c:pt>
                <c:pt idx="666">
                  <c:v>670</c:v>
                </c:pt>
                <c:pt idx="667">
                  <c:v>670</c:v>
                </c:pt>
                <c:pt idx="668">
                  <c:v>670</c:v>
                </c:pt>
                <c:pt idx="669">
                  <c:v>670</c:v>
                </c:pt>
                <c:pt idx="670">
                  <c:v>670</c:v>
                </c:pt>
                <c:pt idx="671">
                  <c:v>670</c:v>
                </c:pt>
                <c:pt idx="672">
                  <c:v>670</c:v>
                </c:pt>
                <c:pt idx="673">
                  <c:v>670</c:v>
                </c:pt>
                <c:pt idx="674">
                  <c:v>670</c:v>
                </c:pt>
                <c:pt idx="675">
                  <c:v>670</c:v>
                </c:pt>
                <c:pt idx="676">
                  <c:v>670</c:v>
                </c:pt>
                <c:pt idx="677">
                  <c:v>670</c:v>
                </c:pt>
                <c:pt idx="678">
                  <c:v>670</c:v>
                </c:pt>
                <c:pt idx="679">
                  <c:v>670</c:v>
                </c:pt>
                <c:pt idx="680">
                  <c:v>670</c:v>
                </c:pt>
                <c:pt idx="681">
                  <c:v>670</c:v>
                </c:pt>
                <c:pt idx="682">
                  <c:v>670</c:v>
                </c:pt>
                <c:pt idx="683">
                  <c:v>670</c:v>
                </c:pt>
                <c:pt idx="684">
                  <c:v>670</c:v>
                </c:pt>
                <c:pt idx="685">
                  <c:v>670</c:v>
                </c:pt>
                <c:pt idx="686">
                  <c:v>670</c:v>
                </c:pt>
                <c:pt idx="687">
                  <c:v>670</c:v>
                </c:pt>
                <c:pt idx="688">
                  <c:v>670</c:v>
                </c:pt>
                <c:pt idx="689">
                  <c:v>670</c:v>
                </c:pt>
                <c:pt idx="690">
                  <c:v>670</c:v>
                </c:pt>
                <c:pt idx="691">
                  <c:v>670</c:v>
                </c:pt>
                <c:pt idx="692">
                  <c:v>670</c:v>
                </c:pt>
                <c:pt idx="693">
                  <c:v>670</c:v>
                </c:pt>
                <c:pt idx="694">
                  <c:v>670</c:v>
                </c:pt>
                <c:pt idx="695">
                  <c:v>670</c:v>
                </c:pt>
                <c:pt idx="696">
                  <c:v>670</c:v>
                </c:pt>
                <c:pt idx="697">
                  <c:v>620</c:v>
                </c:pt>
                <c:pt idx="698">
                  <c:v>620</c:v>
                </c:pt>
                <c:pt idx="699">
                  <c:v>620</c:v>
                </c:pt>
                <c:pt idx="700">
                  <c:v>620</c:v>
                </c:pt>
                <c:pt idx="701">
                  <c:v>620</c:v>
                </c:pt>
                <c:pt idx="702">
                  <c:v>620</c:v>
                </c:pt>
                <c:pt idx="703">
                  <c:v>620</c:v>
                </c:pt>
                <c:pt idx="704">
                  <c:v>620</c:v>
                </c:pt>
                <c:pt idx="705">
                  <c:v>620</c:v>
                </c:pt>
                <c:pt idx="706">
                  <c:v>620</c:v>
                </c:pt>
                <c:pt idx="707">
                  <c:v>620</c:v>
                </c:pt>
                <c:pt idx="708">
                  <c:v>620</c:v>
                </c:pt>
                <c:pt idx="709">
                  <c:v>620</c:v>
                </c:pt>
                <c:pt idx="710">
                  <c:v>620</c:v>
                </c:pt>
                <c:pt idx="711">
                  <c:v>620</c:v>
                </c:pt>
                <c:pt idx="712">
                  <c:v>620</c:v>
                </c:pt>
                <c:pt idx="713">
                  <c:v>620</c:v>
                </c:pt>
                <c:pt idx="714">
                  <c:v>620</c:v>
                </c:pt>
                <c:pt idx="715">
                  <c:v>620</c:v>
                </c:pt>
                <c:pt idx="716">
                  <c:v>620</c:v>
                </c:pt>
                <c:pt idx="717">
                  <c:v>620</c:v>
                </c:pt>
                <c:pt idx="718">
                  <c:v>620</c:v>
                </c:pt>
                <c:pt idx="719">
                  <c:v>620</c:v>
                </c:pt>
                <c:pt idx="720">
                  <c:v>620</c:v>
                </c:pt>
                <c:pt idx="721">
                  <c:v>620</c:v>
                </c:pt>
                <c:pt idx="722">
                  <c:v>620</c:v>
                </c:pt>
                <c:pt idx="723">
                  <c:v>620</c:v>
                </c:pt>
                <c:pt idx="724">
                  <c:v>620</c:v>
                </c:pt>
                <c:pt idx="725">
                  <c:v>620</c:v>
                </c:pt>
                <c:pt idx="726">
                  <c:v>620</c:v>
                </c:pt>
                <c:pt idx="727">
                  <c:v>620</c:v>
                </c:pt>
                <c:pt idx="728">
                  <c:v>620</c:v>
                </c:pt>
                <c:pt idx="729">
                  <c:v>620</c:v>
                </c:pt>
                <c:pt idx="730">
                  <c:v>620</c:v>
                </c:pt>
                <c:pt idx="731">
                  <c:v>620</c:v>
                </c:pt>
                <c:pt idx="732">
                  <c:v>620</c:v>
                </c:pt>
                <c:pt idx="733">
                  <c:v>620</c:v>
                </c:pt>
                <c:pt idx="734">
                  <c:v>620</c:v>
                </c:pt>
                <c:pt idx="735">
                  <c:v>620</c:v>
                </c:pt>
                <c:pt idx="736">
                  <c:v>620</c:v>
                </c:pt>
                <c:pt idx="737">
                  <c:v>620</c:v>
                </c:pt>
                <c:pt idx="738">
                  <c:v>620</c:v>
                </c:pt>
                <c:pt idx="739">
                  <c:v>620</c:v>
                </c:pt>
                <c:pt idx="740">
                  <c:v>620</c:v>
                </c:pt>
                <c:pt idx="741">
                  <c:v>620</c:v>
                </c:pt>
              </c:numCache>
            </c:numRef>
          </c:val>
          <c:smooth val="0"/>
          <c:extLst>
            <c:ext xmlns:c16="http://schemas.microsoft.com/office/drawing/2014/chart" uri="{C3380CC4-5D6E-409C-BE32-E72D297353CC}">
              <c16:uniqueId val="{00000001-BD69-4FD6-A7D6-508AE9A3F891}"/>
            </c:ext>
          </c:extLst>
        </c:ser>
        <c:ser>
          <c:idx val="2"/>
          <c:order val="2"/>
          <c:tx>
            <c:strRef>
              <c:f>硅石价格图表!$AL$2</c:f>
              <c:strCache>
                <c:ptCount val="1"/>
                <c:pt idx="0">
                  <c:v>江西</c:v>
                </c:pt>
              </c:strCache>
            </c:strRef>
          </c:tx>
          <c:spPr>
            <a:ln w="19050" cap="rnd">
              <a:solidFill>
                <a:srgbClr val="0070C0"/>
              </a:solidFill>
              <a:round/>
            </a:ln>
            <a:effectLst/>
          </c:spPr>
          <c:marker>
            <c:symbol val="none"/>
          </c:marker>
          <c:cat>
            <c:numRef>
              <c:f>硅石价格图表!$AI$3:$AI$744</c:f>
              <c:numCache>
                <c:formatCode>m/d/yyyy</c:formatCode>
                <c:ptCount val="742"/>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pt idx="738">
                  <c:v>44739</c:v>
                </c:pt>
                <c:pt idx="739">
                  <c:v>44738</c:v>
                </c:pt>
                <c:pt idx="740">
                  <c:v>44737</c:v>
                </c:pt>
                <c:pt idx="741">
                  <c:v>44736</c:v>
                </c:pt>
              </c:numCache>
            </c:numRef>
          </c:cat>
          <c:val>
            <c:numRef>
              <c:f>硅石价格图表!$AL$3:$AL$744</c:f>
              <c:numCache>
                <c:formatCode>General</c:formatCode>
                <c:ptCount val="742"/>
                <c:pt idx="0">
                  <c:v>510</c:v>
                </c:pt>
                <c:pt idx="1">
                  <c:v>510</c:v>
                </c:pt>
                <c:pt idx="2">
                  <c:v>510</c:v>
                </c:pt>
                <c:pt idx="3">
                  <c:v>510</c:v>
                </c:pt>
                <c:pt idx="4">
                  <c:v>510</c:v>
                </c:pt>
                <c:pt idx="5">
                  <c:v>510</c:v>
                </c:pt>
                <c:pt idx="6">
                  <c:v>510</c:v>
                </c:pt>
                <c:pt idx="7">
                  <c:v>510</c:v>
                </c:pt>
                <c:pt idx="8">
                  <c:v>510</c:v>
                </c:pt>
                <c:pt idx="9">
                  <c:v>510</c:v>
                </c:pt>
                <c:pt idx="10">
                  <c:v>510</c:v>
                </c:pt>
                <c:pt idx="11">
                  <c:v>510</c:v>
                </c:pt>
                <c:pt idx="12">
                  <c:v>510</c:v>
                </c:pt>
                <c:pt idx="13">
                  <c:v>510</c:v>
                </c:pt>
                <c:pt idx="14">
                  <c:v>510</c:v>
                </c:pt>
                <c:pt idx="15">
                  <c:v>510</c:v>
                </c:pt>
                <c:pt idx="16">
                  <c:v>510</c:v>
                </c:pt>
                <c:pt idx="17">
                  <c:v>510</c:v>
                </c:pt>
                <c:pt idx="18">
                  <c:v>510</c:v>
                </c:pt>
                <c:pt idx="19">
                  <c:v>510</c:v>
                </c:pt>
                <c:pt idx="20">
                  <c:v>510</c:v>
                </c:pt>
                <c:pt idx="21">
                  <c:v>510</c:v>
                </c:pt>
                <c:pt idx="22">
                  <c:v>510</c:v>
                </c:pt>
                <c:pt idx="23">
                  <c:v>510</c:v>
                </c:pt>
                <c:pt idx="24">
                  <c:v>510</c:v>
                </c:pt>
                <c:pt idx="25">
                  <c:v>510</c:v>
                </c:pt>
                <c:pt idx="26">
                  <c:v>510</c:v>
                </c:pt>
                <c:pt idx="27">
                  <c:v>510</c:v>
                </c:pt>
                <c:pt idx="28">
                  <c:v>510</c:v>
                </c:pt>
                <c:pt idx="29">
                  <c:v>510</c:v>
                </c:pt>
                <c:pt idx="30">
                  <c:v>510</c:v>
                </c:pt>
                <c:pt idx="31">
                  <c:v>510</c:v>
                </c:pt>
                <c:pt idx="32">
                  <c:v>510</c:v>
                </c:pt>
                <c:pt idx="33">
                  <c:v>510</c:v>
                </c:pt>
                <c:pt idx="34">
                  <c:v>510</c:v>
                </c:pt>
                <c:pt idx="35">
                  <c:v>510</c:v>
                </c:pt>
                <c:pt idx="36">
                  <c:v>510</c:v>
                </c:pt>
                <c:pt idx="37">
                  <c:v>510</c:v>
                </c:pt>
                <c:pt idx="38">
                  <c:v>510</c:v>
                </c:pt>
                <c:pt idx="39">
                  <c:v>510</c:v>
                </c:pt>
                <c:pt idx="40">
                  <c:v>510</c:v>
                </c:pt>
                <c:pt idx="41">
                  <c:v>510</c:v>
                </c:pt>
                <c:pt idx="42">
                  <c:v>510</c:v>
                </c:pt>
                <c:pt idx="43">
                  <c:v>510</c:v>
                </c:pt>
                <c:pt idx="44">
                  <c:v>510</c:v>
                </c:pt>
                <c:pt idx="45">
                  <c:v>510</c:v>
                </c:pt>
                <c:pt idx="46">
                  <c:v>510</c:v>
                </c:pt>
                <c:pt idx="47">
                  <c:v>510</c:v>
                </c:pt>
                <c:pt idx="48">
                  <c:v>510</c:v>
                </c:pt>
                <c:pt idx="49">
                  <c:v>510</c:v>
                </c:pt>
                <c:pt idx="50">
                  <c:v>510</c:v>
                </c:pt>
                <c:pt idx="51">
                  <c:v>510</c:v>
                </c:pt>
                <c:pt idx="52">
                  <c:v>510</c:v>
                </c:pt>
                <c:pt idx="53">
                  <c:v>510</c:v>
                </c:pt>
                <c:pt idx="54">
                  <c:v>510</c:v>
                </c:pt>
                <c:pt idx="55">
                  <c:v>510</c:v>
                </c:pt>
                <c:pt idx="56">
                  <c:v>510</c:v>
                </c:pt>
                <c:pt idx="57">
                  <c:v>510</c:v>
                </c:pt>
                <c:pt idx="58">
                  <c:v>510</c:v>
                </c:pt>
                <c:pt idx="59">
                  <c:v>510</c:v>
                </c:pt>
                <c:pt idx="60">
                  <c:v>510</c:v>
                </c:pt>
                <c:pt idx="61">
                  <c:v>510</c:v>
                </c:pt>
                <c:pt idx="62">
                  <c:v>510</c:v>
                </c:pt>
                <c:pt idx="63">
                  <c:v>510</c:v>
                </c:pt>
                <c:pt idx="64">
                  <c:v>510</c:v>
                </c:pt>
                <c:pt idx="65">
                  <c:v>510</c:v>
                </c:pt>
                <c:pt idx="66">
                  <c:v>510</c:v>
                </c:pt>
                <c:pt idx="67">
                  <c:v>510</c:v>
                </c:pt>
                <c:pt idx="68">
                  <c:v>510</c:v>
                </c:pt>
                <c:pt idx="69">
                  <c:v>510</c:v>
                </c:pt>
                <c:pt idx="70">
                  <c:v>510</c:v>
                </c:pt>
                <c:pt idx="71">
                  <c:v>510</c:v>
                </c:pt>
                <c:pt idx="72">
                  <c:v>510</c:v>
                </c:pt>
                <c:pt idx="73">
                  <c:v>510</c:v>
                </c:pt>
                <c:pt idx="74">
                  <c:v>510</c:v>
                </c:pt>
                <c:pt idx="75">
                  <c:v>510</c:v>
                </c:pt>
                <c:pt idx="76">
                  <c:v>510</c:v>
                </c:pt>
                <c:pt idx="77">
                  <c:v>510</c:v>
                </c:pt>
                <c:pt idx="78">
                  <c:v>510</c:v>
                </c:pt>
                <c:pt idx="79">
                  <c:v>510</c:v>
                </c:pt>
                <c:pt idx="80">
                  <c:v>510</c:v>
                </c:pt>
                <c:pt idx="81">
                  <c:v>510</c:v>
                </c:pt>
                <c:pt idx="82">
                  <c:v>510</c:v>
                </c:pt>
                <c:pt idx="83">
                  <c:v>510</c:v>
                </c:pt>
                <c:pt idx="84">
                  <c:v>510</c:v>
                </c:pt>
                <c:pt idx="85">
                  <c:v>510</c:v>
                </c:pt>
                <c:pt idx="86">
                  <c:v>510</c:v>
                </c:pt>
                <c:pt idx="87">
                  <c:v>510</c:v>
                </c:pt>
                <c:pt idx="88">
                  <c:v>510</c:v>
                </c:pt>
                <c:pt idx="89">
                  <c:v>510</c:v>
                </c:pt>
                <c:pt idx="90">
                  <c:v>510</c:v>
                </c:pt>
                <c:pt idx="91">
                  <c:v>510</c:v>
                </c:pt>
                <c:pt idx="92">
                  <c:v>510</c:v>
                </c:pt>
                <c:pt idx="93">
                  <c:v>510</c:v>
                </c:pt>
                <c:pt idx="94">
                  <c:v>510</c:v>
                </c:pt>
                <c:pt idx="95">
                  <c:v>510</c:v>
                </c:pt>
                <c:pt idx="96">
                  <c:v>510</c:v>
                </c:pt>
                <c:pt idx="97">
                  <c:v>510</c:v>
                </c:pt>
                <c:pt idx="98">
                  <c:v>510</c:v>
                </c:pt>
                <c:pt idx="99">
                  <c:v>510</c:v>
                </c:pt>
                <c:pt idx="100">
                  <c:v>510</c:v>
                </c:pt>
                <c:pt idx="101">
                  <c:v>510</c:v>
                </c:pt>
                <c:pt idx="102">
                  <c:v>510</c:v>
                </c:pt>
                <c:pt idx="103">
                  <c:v>510</c:v>
                </c:pt>
                <c:pt idx="104">
                  <c:v>510</c:v>
                </c:pt>
                <c:pt idx="105">
                  <c:v>510</c:v>
                </c:pt>
                <c:pt idx="106">
                  <c:v>510</c:v>
                </c:pt>
                <c:pt idx="107">
                  <c:v>510</c:v>
                </c:pt>
                <c:pt idx="108">
                  <c:v>510</c:v>
                </c:pt>
                <c:pt idx="109">
                  <c:v>510</c:v>
                </c:pt>
                <c:pt idx="110">
                  <c:v>510</c:v>
                </c:pt>
                <c:pt idx="111">
                  <c:v>510</c:v>
                </c:pt>
                <c:pt idx="112">
                  <c:v>510</c:v>
                </c:pt>
                <c:pt idx="113">
                  <c:v>510</c:v>
                </c:pt>
                <c:pt idx="114">
                  <c:v>510</c:v>
                </c:pt>
                <c:pt idx="115">
                  <c:v>510</c:v>
                </c:pt>
                <c:pt idx="116">
                  <c:v>510</c:v>
                </c:pt>
                <c:pt idx="117">
                  <c:v>510</c:v>
                </c:pt>
                <c:pt idx="118">
                  <c:v>510</c:v>
                </c:pt>
                <c:pt idx="119">
                  <c:v>510</c:v>
                </c:pt>
                <c:pt idx="120">
                  <c:v>510</c:v>
                </c:pt>
                <c:pt idx="121">
                  <c:v>510</c:v>
                </c:pt>
                <c:pt idx="122">
                  <c:v>510</c:v>
                </c:pt>
                <c:pt idx="123">
                  <c:v>510</c:v>
                </c:pt>
                <c:pt idx="124">
                  <c:v>510</c:v>
                </c:pt>
                <c:pt idx="125">
                  <c:v>510</c:v>
                </c:pt>
                <c:pt idx="126">
                  <c:v>510</c:v>
                </c:pt>
                <c:pt idx="127">
                  <c:v>510</c:v>
                </c:pt>
                <c:pt idx="128">
                  <c:v>510</c:v>
                </c:pt>
                <c:pt idx="129">
                  <c:v>510</c:v>
                </c:pt>
                <c:pt idx="130">
                  <c:v>510</c:v>
                </c:pt>
                <c:pt idx="131">
                  <c:v>510</c:v>
                </c:pt>
                <c:pt idx="132">
                  <c:v>510</c:v>
                </c:pt>
                <c:pt idx="133">
                  <c:v>510</c:v>
                </c:pt>
                <c:pt idx="134">
                  <c:v>510</c:v>
                </c:pt>
                <c:pt idx="135">
                  <c:v>510</c:v>
                </c:pt>
                <c:pt idx="136">
                  <c:v>510</c:v>
                </c:pt>
                <c:pt idx="137">
                  <c:v>510</c:v>
                </c:pt>
                <c:pt idx="138">
                  <c:v>510</c:v>
                </c:pt>
                <c:pt idx="139">
                  <c:v>510</c:v>
                </c:pt>
                <c:pt idx="140">
                  <c:v>510</c:v>
                </c:pt>
                <c:pt idx="141">
                  <c:v>510</c:v>
                </c:pt>
                <c:pt idx="142">
                  <c:v>510</c:v>
                </c:pt>
                <c:pt idx="143">
                  <c:v>510</c:v>
                </c:pt>
                <c:pt idx="144">
                  <c:v>510</c:v>
                </c:pt>
                <c:pt idx="145">
                  <c:v>510</c:v>
                </c:pt>
                <c:pt idx="146">
                  <c:v>510</c:v>
                </c:pt>
                <c:pt idx="147">
                  <c:v>510</c:v>
                </c:pt>
                <c:pt idx="148">
                  <c:v>510</c:v>
                </c:pt>
                <c:pt idx="149">
                  <c:v>510</c:v>
                </c:pt>
                <c:pt idx="150">
                  <c:v>510</c:v>
                </c:pt>
                <c:pt idx="151">
                  <c:v>510</c:v>
                </c:pt>
                <c:pt idx="152">
                  <c:v>510</c:v>
                </c:pt>
                <c:pt idx="153">
                  <c:v>510</c:v>
                </c:pt>
                <c:pt idx="154">
                  <c:v>510</c:v>
                </c:pt>
                <c:pt idx="155">
                  <c:v>510</c:v>
                </c:pt>
                <c:pt idx="156">
                  <c:v>510</c:v>
                </c:pt>
                <c:pt idx="157">
                  <c:v>510</c:v>
                </c:pt>
                <c:pt idx="158">
                  <c:v>510</c:v>
                </c:pt>
                <c:pt idx="159">
                  <c:v>510</c:v>
                </c:pt>
                <c:pt idx="160">
                  <c:v>510</c:v>
                </c:pt>
                <c:pt idx="161">
                  <c:v>510</c:v>
                </c:pt>
                <c:pt idx="162">
                  <c:v>510</c:v>
                </c:pt>
                <c:pt idx="163">
                  <c:v>510</c:v>
                </c:pt>
                <c:pt idx="164">
                  <c:v>510</c:v>
                </c:pt>
                <c:pt idx="165">
                  <c:v>510</c:v>
                </c:pt>
                <c:pt idx="166">
                  <c:v>510</c:v>
                </c:pt>
                <c:pt idx="167">
                  <c:v>510</c:v>
                </c:pt>
                <c:pt idx="168">
                  <c:v>510</c:v>
                </c:pt>
                <c:pt idx="169">
                  <c:v>510</c:v>
                </c:pt>
                <c:pt idx="170">
                  <c:v>510</c:v>
                </c:pt>
                <c:pt idx="171">
                  <c:v>510</c:v>
                </c:pt>
                <c:pt idx="172">
                  <c:v>510</c:v>
                </c:pt>
                <c:pt idx="173">
                  <c:v>510</c:v>
                </c:pt>
                <c:pt idx="174">
                  <c:v>510</c:v>
                </c:pt>
                <c:pt idx="175">
                  <c:v>510</c:v>
                </c:pt>
                <c:pt idx="176">
                  <c:v>510</c:v>
                </c:pt>
                <c:pt idx="177">
                  <c:v>510</c:v>
                </c:pt>
                <c:pt idx="178">
                  <c:v>510</c:v>
                </c:pt>
                <c:pt idx="179">
                  <c:v>510</c:v>
                </c:pt>
                <c:pt idx="180">
                  <c:v>510</c:v>
                </c:pt>
                <c:pt idx="181">
                  <c:v>510</c:v>
                </c:pt>
                <c:pt idx="182">
                  <c:v>510</c:v>
                </c:pt>
                <c:pt idx="183">
                  <c:v>510</c:v>
                </c:pt>
                <c:pt idx="184">
                  <c:v>510</c:v>
                </c:pt>
                <c:pt idx="185">
                  <c:v>510</c:v>
                </c:pt>
                <c:pt idx="186">
                  <c:v>510</c:v>
                </c:pt>
                <c:pt idx="187">
                  <c:v>510</c:v>
                </c:pt>
                <c:pt idx="188">
                  <c:v>510</c:v>
                </c:pt>
                <c:pt idx="189">
                  <c:v>510</c:v>
                </c:pt>
                <c:pt idx="190">
                  <c:v>510</c:v>
                </c:pt>
                <c:pt idx="191">
                  <c:v>510</c:v>
                </c:pt>
                <c:pt idx="192">
                  <c:v>510</c:v>
                </c:pt>
                <c:pt idx="193">
                  <c:v>510</c:v>
                </c:pt>
                <c:pt idx="194">
                  <c:v>510</c:v>
                </c:pt>
                <c:pt idx="195">
                  <c:v>510</c:v>
                </c:pt>
                <c:pt idx="196">
                  <c:v>510</c:v>
                </c:pt>
                <c:pt idx="197">
                  <c:v>510</c:v>
                </c:pt>
                <c:pt idx="198">
                  <c:v>510</c:v>
                </c:pt>
                <c:pt idx="199">
                  <c:v>510</c:v>
                </c:pt>
                <c:pt idx="200">
                  <c:v>510</c:v>
                </c:pt>
                <c:pt idx="201">
                  <c:v>510</c:v>
                </c:pt>
                <c:pt idx="202">
                  <c:v>510</c:v>
                </c:pt>
                <c:pt idx="203">
                  <c:v>510</c:v>
                </c:pt>
                <c:pt idx="204">
                  <c:v>510</c:v>
                </c:pt>
                <c:pt idx="205">
                  <c:v>510</c:v>
                </c:pt>
                <c:pt idx="206">
                  <c:v>510</c:v>
                </c:pt>
                <c:pt idx="207">
                  <c:v>510</c:v>
                </c:pt>
                <c:pt idx="208">
                  <c:v>510</c:v>
                </c:pt>
                <c:pt idx="209">
                  <c:v>510</c:v>
                </c:pt>
                <c:pt idx="210">
                  <c:v>510</c:v>
                </c:pt>
                <c:pt idx="211">
                  <c:v>510</c:v>
                </c:pt>
                <c:pt idx="212">
                  <c:v>510</c:v>
                </c:pt>
                <c:pt idx="213">
                  <c:v>510</c:v>
                </c:pt>
                <c:pt idx="214">
                  <c:v>510</c:v>
                </c:pt>
                <c:pt idx="215">
                  <c:v>510</c:v>
                </c:pt>
                <c:pt idx="216">
                  <c:v>510</c:v>
                </c:pt>
                <c:pt idx="217">
                  <c:v>510</c:v>
                </c:pt>
                <c:pt idx="218">
                  <c:v>510</c:v>
                </c:pt>
                <c:pt idx="219">
                  <c:v>510</c:v>
                </c:pt>
                <c:pt idx="220">
                  <c:v>510</c:v>
                </c:pt>
                <c:pt idx="221">
                  <c:v>510</c:v>
                </c:pt>
                <c:pt idx="222">
                  <c:v>510</c:v>
                </c:pt>
                <c:pt idx="223">
                  <c:v>510</c:v>
                </c:pt>
                <c:pt idx="224">
                  <c:v>510</c:v>
                </c:pt>
                <c:pt idx="225">
                  <c:v>510</c:v>
                </c:pt>
                <c:pt idx="226">
                  <c:v>510</c:v>
                </c:pt>
                <c:pt idx="227">
                  <c:v>510</c:v>
                </c:pt>
                <c:pt idx="228">
                  <c:v>510</c:v>
                </c:pt>
                <c:pt idx="229">
                  <c:v>510</c:v>
                </c:pt>
                <c:pt idx="230">
                  <c:v>510</c:v>
                </c:pt>
                <c:pt idx="231">
                  <c:v>510</c:v>
                </c:pt>
                <c:pt idx="232">
                  <c:v>510</c:v>
                </c:pt>
                <c:pt idx="233">
                  <c:v>510</c:v>
                </c:pt>
                <c:pt idx="234">
                  <c:v>510</c:v>
                </c:pt>
                <c:pt idx="235">
                  <c:v>510</c:v>
                </c:pt>
                <c:pt idx="236">
                  <c:v>510</c:v>
                </c:pt>
                <c:pt idx="237">
                  <c:v>510</c:v>
                </c:pt>
                <c:pt idx="238">
                  <c:v>510</c:v>
                </c:pt>
                <c:pt idx="239">
                  <c:v>510</c:v>
                </c:pt>
                <c:pt idx="240">
                  <c:v>510</c:v>
                </c:pt>
                <c:pt idx="241">
                  <c:v>510</c:v>
                </c:pt>
                <c:pt idx="242">
                  <c:v>510</c:v>
                </c:pt>
                <c:pt idx="243">
                  <c:v>510</c:v>
                </c:pt>
                <c:pt idx="244">
                  <c:v>510</c:v>
                </c:pt>
                <c:pt idx="245">
                  <c:v>510</c:v>
                </c:pt>
                <c:pt idx="246">
                  <c:v>510</c:v>
                </c:pt>
                <c:pt idx="247">
                  <c:v>510</c:v>
                </c:pt>
                <c:pt idx="248">
                  <c:v>510</c:v>
                </c:pt>
                <c:pt idx="249">
                  <c:v>510</c:v>
                </c:pt>
                <c:pt idx="250">
                  <c:v>510</c:v>
                </c:pt>
                <c:pt idx="251">
                  <c:v>510</c:v>
                </c:pt>
                <c:pt idx="252">
                  <c:v>510</c:v>
                </c:pt>
                <c:pt idx="253">
                  <c:v>510</c:v>
                </c:pt>
                <c:pt idx="254">
                  <c:v>510</c:v>
                </c:pt>
                <c:pt idx="255">
                  <c:v>510</c:v>
                </c:pt>
                <c:pt idx="256">
                  <c:v>510</c:v>
                </c:pt>
                <c:pt idx="257">
                  <c:v>510</c:v>
                </c:pt>
                <c:pt idx="258">
                  <c:v>510</c:v>
                </c:pt>
                <c:pt idx="259">
                  <c:v>510</c:v>
                </c:pt>
                <c:pt idx="260">
                  <c:v>510</c:v>
                </c:pt>
                <c:pt idx="261">
                  <c:v>510</c:v>
                </c:pt>
                <c:pt idx="262">
                  <c:v>510</c:v>
                </c:pt>
                <c:pt idx="263">
                  <c:v>510</c:v>
                </c:pt>
                <c:pt idx="264">
                  <c:v>510</c:v>
                </c:pt>
                <c:pt idx="265">
                  <c:v>510</c:v>
                </c:pt>
                <c:pt idx="266">
                  <c:v>510</c:v>
                </c:pt>
                <c:pt idx="267">
                  <c:v>510</c:v>
                </c:pt>
                <c:pt idx="268">
                  <c:v>510</c:v>
                </c:pt>
                <c:pt idx="269">
                  <c:v>510</c:v>
                </c:pt>
                <c:pt idx="270">
                  <c:v>510</c:v>
                </c:pt>
                <c:pt idx="271">
                  <c:v>510</c:v>
                </c:pt>
                <c:pt idx="272">
                  <c:v>510</c:v>
                </c:pt>
                <c:pt idx="273">
                  <c:v>510</c:v>
                </c:pt>
                <c:pt idx="274">
                  <c:v>510</c:v>
                </c:pt>
                <c:pt idx="275">
                  <c:v>510</c:v>
                </c:pt>
                <c:pt idx="276">
                  <c:v>510</c:v>
                </c:pt>
                <c:pt idx="277">
                  <c:v>510</c:v>
                </c:pt>
                <c:pt idx="278">
                  <c:v>510</c:v>
                </c:pt>
                <c:pt idx="279">
                  <c:v>510</c:v>
                </c:pt>
                <c:pt idx="280">
                  <c:v>510</c:v>
                </c:pt>
                <c:pt idx="281">
                  <c:v>510</c:v>
                </c:pt>
                <c:pt idx="282">
                  <c:v>510</c:v>
                </c:pt>
                <c:pt idx="283">
                  <c:v>510</c:v>
                </c:pt>
                <c:pt idx="284">
                  <c:v>510</c:v>
                </c:pt>
                <c:pt idx="285">
                  <c:v>510</c:v>
                </c:pt>
                <c:pt idx="286">
                  <c:v>510</c:v>
                </c:pt>
                <c:pt idx="287">
                  <c:v>510</c:v>
                </c:pt>
                <c:pt idx="288">
                  <c:v>510</c:v>
                </c:pt>
                <c:pt idx="289">
                  <c:v>510</c:v>
                </c:pt>
                <c:pt idx="290">
                  <c:v>510</c:v>
                </c:pt>
                <c:pt idx="291">
                  <c:v>510</c:v>
                </c:pt>
                <c:pt idx="292">
                  <c:v>510</c:v>
                </c:pt>
                <c:pt idx="293">
                  <c:v>510</c:v>
                </c:pt>
                <c:pt idx="294">
                  <c:v>510</c:v>
                </c:pt>
                <c:pt idx="295">
                  <c:v>510</c:v>
                </c:pt>
                <c:pt idx="296">
                  <c:v>510</c:v>
                </c:pt>
                <c:pt idx="297">
                  <c:v>510</c:v>
                </c:pt>
                <c:pt idx="298">
                  <c:v>510</c:v>
                </c:pt>
                <c:pt idx="299">
                  <c:v>510</c:v>
                </c:pt>
                <c:pt idx="300">
                  <c:v>510</c:v>
                </c:pt>
                <c:pt idx="301">
                  <c:v>510</c:v>
                </c:pt>
                <c:pt idx="302">
                  <c:v>510</c:v>
                </c:pt>
                <c:pt idx="303">
                  <c:v>510</c:v>
                </c:pt>
                <c:pt idx="304">
                  <c:v>510</c:v>
                </c:pt>
                <c:pt idx="305">
                  <c:v>510</c:v>
                </c:pt>
                <c:pt idx="306">
                  <c:v>510</c:v>
                </c:pt>
                <c:pt idx="307">
                  <c:v>510</c:v>
                </c:pt>
                <c:pt idx="308">
                  <c:v>510</c:v>
                </c:pt>
                <c:pt idx="309">
                  <c:v>510</c:v>
                </c:pt>
                <c:pt idx="310">
                  <c:v>510</c:v>
                </c:pt>
                <c:pt idx="311">
                  <c:v>510</c:v>
                </c:pt>
                <c:pt idx="312">
                  <c:v>510</c:v>
                </c:pt>
                <c:pt idx="313">
                  <c:v>510</c:v>
                </c:pt>
                <c:pt idx="314">
                  <c:v>510</c:v>
                </c:pt>
                <c:pt idx="315">
                  <c:v>510</c:v>
                </c:pt>
                <c:pt idx="316">
                  <c:v>510</c:v>
                </c:pt>
                <c:pt idx="317">
                  <c:v>510</c:v>
                </c:pt>
                <c:pt idx="318">
                  <c:v>510</c:v>
                </c:pt>
                <c:pt idx="319">
                  <c:v>#N/A</c:v>
                </c:pt>
                <c:pt idx="320">
                  <c:v>#N/A</c:v>
                </c:pt>
                <c:pt idx="321">
                  <c:v>510</c:v>
                </c:pt>
                <c:pt idx="322">
                  <c:v>510</c:v>
                </c:pt>
                <c:pt idx="323">
                  <c:v>510</c:v>
                </c:pt>
                <c:pt idx="324">
                  <c:v>510</c:v>
                </c:pt>
                <c:pt idx="325">
                  <c:v>510</c:v>
                </c:pt>
                <c:pt idx="326">
                  <c:v>510</c:v>
                </c:pt>
                <c:pt idx="327">
                  <c:v>510</c:v>
                </c:pt>
                <c:pt idx="328">
                  <c:v>510</c:v>
                </c:pt>
                <c:pt idx="329">
                  <c:v>510</c:v>
                </c:pt>
                <c:pt idx="330">
                  <c:v>510</c:v>
                </c:pt>
                <c:pt idx="331">
                  <c:v>510</c:v>
                </c:pt>
                <c:pt idx="332">
                  <c:v>510</c:v>
                </c:pt>
                <c:pt idx="333">
                  <c:v>510</c:v>
                </c:pt>
                <c:pt idx="334">
                  <c:v>510</c:v>
                </c:pt>
                <c:pt idx="335">
                  <c:v>510</c:v>
                </c:pt>
                <c:pt idx="336">
                  <c:v>510</c:v>
                </c:pt>
                <c:pt idx="337">
                  <c:v>510</c:v>
                </c:pt>
                <c:pt idx="338">
                  <c:v>510</c:v>
                </c:pt>
                <c:pt idx="339">
                  <c:v>510</c:v>
                </c:pt>
                <c:pt idx="340">
                  <c:v>510</c:v>
                </c:pt>
                <c:pt idx="341">
                  <c:v>510</c:v>
                </c:pt>
                <c:pt idx="342">
                  <c:v>510</c:v>
                </c:pt>
                <c:pt idx="343">
                  <c:v>510</c:v>
                </c:pt>
                <c:pt idx="344">
                  <c:v>510</c:v>
                </c:pt>
                <c:pt idx="345">
                  <c:v>510</c:v>
                </c:pt>
                <c:pt idx="346">
                  <c:v>510</c:v>
                </c:pt>
                <c:pt idx="347">
                  <c:v>510</c:v>
                </c:pt>
                <c:pt idx="348">
                  <c:v>510</c:v>
                </c:pt>
                <c:pt idx="349">
                  <c:v>510</c:v>
                </c:pt>
                <c:pt idx="350">
                  <c:v>510</c:v>
                </c:pt>
                <c:pt idx="351">
                  <c:v>510</c:v>
                </c:pt>
                <c:pt idx="352">
                  <c:v>510</c:v>
                </c:pt>
                <c:pt idx="353">
                  <c:v>510</c:v>
                </c:pt>
                <c:pt idx="354">
                  <c:v>510</c:v>
                </c:pt>
                <c:pt idx="355">
                  <c:v>510</c:v>
                </c:pt>
                <c:pt idx="356">
                  <c:v>510</c:v>
                </c:pt>
                <c:pt idx="357">
                  <c:v>510</c:v>
                </c:pt>
                <c:pt idx="358">
                  <c:v>510</c:v>
                </c:pt>
                <c:pt idx="359">
                  <c:v>510</c:v>
                </c:pt>
                <c:pt idx="360">
                  <c:v>510</c:v>
                </c:pt>
                <c:pt idx="361">
                  <c:v>510</c:v>
                </c:pt>
                <c:pt idx="362">
                  <c:v>510</c:v>
                </c:pt>
                <c:pt idx="363">
                  <c:v>510</c:v>
                </c:pt>
                <c:pt idx="364">
                  <c:v>510</c:v>
                </c:pt>
                <c:pt idx="365">
                  <c:v>510</c:v>
                </c:pt>
                <c:pt idx="366">
                  <c:v>510</c:v>
                </c:pt>
                <c:pt idx="367">
                  <c:v>510</c:v>
                </c:pt>
                <c:pt idx="368">
                  <c:v>510</c:v>
                </c:pt>
                <c:pt idx="369">
                  <c:v>510</c:v>
                </c:pt>
                <c:pt idx="370">
                  <c:v>510</c:v>
                </c:pt>
                <c:pt idx="371">
                  <c:v>510</c:v>
                </c:pt>
                <c:pt idx="372">
                  <c:v>510</c:v>
                </c:pt>
                <c:pt idx="373">
                  <c:v>510</c:v>
                </c:pt>
                <c:pt idx="374">
                  <c:v>510</c:v>
                </c:pt>
                <c:pt idx="375">
                  <c:v>510</c:v>
                </c:pt>
                <c:pt idx="376">
                  <c:v>510</c:v>
                </c:pt>
                <c:pt idx="377">
                  <c:v>510</c:v>
                </c:pt>
                <c:pt idx="378">
                  <c:v>510</c:v>
                </c:pt>
                <c:pt idx="379">
                  <c:v>510</c:v>
                </c:pt>
                <c:pt idx="380">
                  <c:v>510</c:v>
                </c:pt>
                <c:pt idx="381">
                  <c:v>510</c:v>
                </c:pt>
                <c:pt idx="382">
                  <c:v>510</c:v>
                </c:pt>
                <c:pt idx="383">
                  <c:v>510</c:v>
                </c:pt>
                <c:pt idx="384">
                  <c:v>510</c:v>
                </c:pt>
                <c:pt idx="385">
                  <c:v>510</c:v>
                </c:pt>
                <c:pt idx="386">
                  <c:v>510</c:v>
                </c:pt>
                <c:pt idx="387">
                  <c:v>510</c:v>
                </c:pt>
                <c:pt idx="388">
                  <c:v>510</c:v>
                </c:pt>
                <c:pt idx="389">
                  <c:v>510</c:v>
                </c:pt>
                <c:pt idx="390">
                  <c:v>510</c:v>
                </c:pt>
                <c:pt idx="391">
                  <c:v>510</c:v>
                </c:pt>
                <c:pt idx="392">
                  <c:v>510</c:v>
                </c:pt>
                <c:pt idx="393">
                  <c:v>510</c:v>
                </c:pt>
                <c:pt idx="394">
                  <c:v>510</c:v>
                </c:pt>
                <c:pt idx="395">
                  <c:v>510</c:v>
                </c:pt>
                <c:pt idx="396">
                  <c:v>510</c:v>
                </c:pt>
                <c:pt idx="397">
                  <c:v>510</c:v>
                </c:pt>
                <c:pt idx="398">
                  <c:v>510</c:v>
                </c:pt>
                <c:pt idx="399">
                  <c:v>510</c:v>
                </c:pt>
                <c:pt idx="400">
                  <c:v>510</c:v>
                </c:pt>
                <c:pt idx="401">
                  <c:v>510</c:v>
                </c:pt>
                <c:pt idx="402">
                  <c:v>510</c:v>
                </c:pt>
                <c:pt idx="403">
                  <c:v>510</c:v>
                </c:pt>
                <c:pt idx="404">
                  <c:v>510</c:v>
                </c:pt>
                <c:pt idx="405">
                  <c:v>510</c:v>
                </c:pt>
                <c:pt idx="406">
                  <c:v>510</c:v>
                </c:pt>
                <c:pt idx="407">
                  <c:v>510</c:v>
                </c:pt>
                <c:pt idx="408">
                  <c:v>510</c:v>
                </c:pt>
                <c:pt idx="409">
                  <c:v>510</c:v>
                </c:pt>
                <c:pt idx="410">
                  <c:v>510</c:v>
                </c:pt>
                <c:pt idx="411">
                  <c:v>510</c:v>
                </c:pt>
                <c:pt idx="412">
                  <c:v>510</c:v>
                </c:pt>
                <c:pt idx="413">
                  <c:v>510</c:v>
                </c:pt>
                <c:pt idx="414">
                  <c:v>510</c:v>
                </c:pt>
                <c:pt idx="415">
                  <c:v>510</c:v>
                </c:pt>
                <c:pt idx="416">
                  <c:v>510</c:v>
                </c:pt>
                <c:pt idx="417">
                  <c:v>510</c:v>
                </c:pt>
                <c:pt idx="418">
                  <c:v>510</c:v>
                </c:pt>
                <c:pt idx="419">
                  <c:v>510</c:v>
                </c:pt>
                <c:pt idx="420">
                  <c:v>510</c:v>
                </c:pt>
                <c:pt idx="421">
                  <c:v>510</c:v>
                </c:pt>
                <c:pt idx="422">
                  <c:v>510</c:v>
                </c:pt>
                <c:pt idx="423">
                  <c:v>510</c:v>
                </c:pt>
                <c:pt idx="424">
                  <c:v>510</c:v>
                </c:pt>
                <c:pt idx="425">
                  <c:v>510</c:v>
                </c:pt>
                <c:pt idx="426">
                  <c:v>510</c:v>
                </c:pt>
                <c:pt idx="427">
                  <c:v>510</c:v>
                </c:pt>
                <c:pt idx="428">
                  <c:v>510</c:v>
                </c:pt>
                <c:pt idx="429">
                  <c:v>510</c:v>
                </c:pt>
                <c:pt idx="430">
                  <c:v>510</c:v>
                </c:pt>
                <c:pt idx="431">
                  <c:v>510</c:v>
                </c:pt>
                <c:pt idx="432">
                  <c:v>510</c:v>
                </c:pt>
                <c:pt idx="433">
                  <c:v>510</c:v>
                </c:pt>
                <c:pt idx="434">
                  <c:v>510</c:v>
                </c:pt>
                <c:pt idx="435">
                  <c:v>510</c:v>
                </c:pt>
                <c:pt idx="436">
                  <c:v>510</c:v>
                </c:pt>
                <c:pt idx="437">
                  <c:v>510</c:v>
                </c:pt>
                <c:pt idx="438">
                  <c:v>510</c:v>
                </c:pt>
                <c:pt idx="439">
                  <c:v>510</c:v>
                </c:pt>
                <c:pt idx="440">
                  <c:v>510</c:v>
                </c:pt>
                <c:pt idx="441">
                  <c:v>510</c:v>
                </c:pt>
                <c:pt idx="442">
                  <c:v>510</c:v>
                </c:pt>
                <c:pt idx="443">
                  <c:v>510</c:v>
                </c:pt>
                <c:pt idx="444">
                  <c:v>510</c:v>
                </c:pt>
                <c:pt idx="445">
                  <c:v>510</c:v>
                </c:pt>
                <c:pt idx="446">
                  <c:v>510</c:v>
                </c:pt>
                <c:pt idx="447">
                  <c:v>510</c:v>
                </c:pt>
                <c:pt idx="448">
                  <c:v>510</c:v>
                </c:pt>
                <c:pt idx="449">
                  <c:v>510</c:v>
                </c:pt>
                <c:pt idx="450">
                  <c:v>510</c:v>
                </c:pt>
                <c:pt idx="451">
                  <c:v>510</c:v>
                </c:pt>
                <c:pt idx="452">
                  <c:v>510</c:v>
                </c:pt>
                <c:pt idx="453">
                  <c:v>510</c:v>
                </c:pt>
                <c:pt idx="454">
                  <c:v>510</c:v>
                </c:pt>
                <c:pt idx="455">
                  <c:v>510</c:v>
                </c:pt>
                <c:pt idx="456">
                  <c:v>510</c:v>
                </c:pt>
                <c:pt idx="457">
                  <c:v>510</c:v>
                </c:pt>
                <c:pt idx="458">
                  <c:v>510</c:v>
                </c:pt>
                <c:pt idx="459">
                  <c:v>510</c:v>
                </c:pt>
                <c:pt idx="460">
                  <c:v>510</c:v>
                </c:pt>
                <c:pt idx="461">
                  <c:v>510</c:v>
                </c:pt>
                <c:pt idx="462">
                  <c:v>510</c:v>
                </c:pt>
                <c:pt idx="463">
                  <c:v>510</c:v>
                </c:pt>
                <c:pt idx="464">
                  <c:v>510</c:v>
                </c:pt>
                <c:pt idx="465">
                  <c:v>510</c:v>
                </c:pt>
                <c:pt idx="466">
                  <c:v>510</c:v>
                </c:pt>
                <c:pt idx="467">
                  <c:v>510</c:v>
                </c:pt>
                <c:pt idx="468">
                  <c:v>510</c:v>
                </c:pt>
                <c:pt idx="469">
                  <c:v>510</c:v>
                </c:pt>
                <c:pt idx="470">
                  <c:v>510</c:v>
                </c:pt>
                <c:pt idx="471">
                  <c:v>510</c:v>
                </c:pt>
                <c:pt idx="472">
                  <c:v>510</c:v>
                </c:pt>
                <c:pt idx="473">
                  <c:v>510</c:v>
                </c:pt>
                <c:pt idx="474">
                  <c:v>510</c:v>
                </c:pt>
                <c:pt idx="475">
                  <c:v>510</c:v>
                </c:pt>
                <c:pt idx="476">
                  <c:v>510</c:v>
                </c:pt>
                <c:pt idx="477">
                  <c:v>510</c:v>
                </c:pt>
                <c:pt idx="478">
                  <c:v>510</c:v>
                </c:pt>
                <c:pt idx="479">
                  <c:v>510</c:v>
                </c:pt>
                <c:pt idx="480">
                  <c:v>510</c:v>
                </c:pt>
                <c:pt idx="481">
                  <c:v>510</c:v>
                </c:pt>
                <c:pt idx="482">
                  <c:v>510</c:v>
                </c:pt>
                <c:pt idx="483">
                  <c:v>510</c:v>
                </c:pt>
                <c:pt idx="484">
                  <c:v>510</c:v>
                </c:pt>
                <c:pt idx="485">
                  <c:v>510</c:v>
                </c:pt>
                <c:pt idx="486">
                  <c:v>510</c:v>
                </c:pt>
                <c:pt idx="487">
                  <c:v>510</c:v>
                </c:pt>
                <c:pt idx="488">
                  <c:v>510</c:v>
                </c:pt>
                <c:pt idx="489">
                  <c:v>510</c:v>
                </c:pt>
                <c:pt idx="490">
                  <c:v>510</c:v>
                </c:pt>
                <c:pt idx="491">
                  <c:v>510</c:v>
                </c:pt>
                <c:pt idx="492">
                  <c:v>510</c:v>
                </c:pt>
                <c:pt idx="493">
                  <c:v>510</c:v>
                </c:pt>
                <c:pt idx="494">
                  <c:v>510</c:v>
                </c:pt>
                <c:pt idx="495">
                  <c:v>510</c:v>
                </c:pt>
                <c:pt idx="496">
                  <c:v>510</c:v>
                </c:pt>
                <c:pt idx="497">
                  <c:v>510</c:v>
                </c:pt>
                <c:pt idx="498">
                  <c:v>510</c:v>
                </c:pt>
                <c:pt idx="499">
                  <c:v>510</c:v>
                </c:pt>
                <c:pt idx="500">
                  <c:v>510</c:v>
                </c:pt>
                <c:pt idx="501">
                  <c:v>510</c:v>
                </c:pt>
                <c:pt idx="502">
                  <c:v>510</c:v>
                </c:pt>
                <c:pt idx="503">
                  <c:v>510</c:v>
                </c:pt>
                <c:pt idx="504">
                  <c:v>510</c:v>
                </c:pt>
                <c:pt idx="505">
                  <c:v>510</c:v>
                </c:pt>
                <c:pt idx="506">
                  <c:v>510</c:v>
                </c:pt>
                <c:pt idx="507">
                  <c:v>510</c:v>
                </c:pt>
                <c:pt idx="508">
                  <c:v>510</c:v>
                </c:pt>
                <c:pt idx="509">
                  <c:v>510</c:v>
                </c:pt>
                <c:pt idx="510">
                  <c:v>510</c:v>
                </c:pt>
                <c:pt idx="511">
                  <c:v>510</c:v>
                </c:pt>
                <c:pt idx="512">
                  <c:v>510</c:v>
                </c:pt>
                <c:pt idx="513">
                  <c:v>510</c:v>
                </c:pt>
                <c:pt idx="514">
                  <c:v>510</c:v>
                </c:pt>
                <c:pt idx="515">
                  <c:v>510</c:v>
                </c:pt>
                <c:pt idx="516">
                  <c:v>510</c:v>
                </c:pt>
                <c:pt idx="517">
                  <c:v>510</c:v>
                </c:pt>
                <c:pt idx="518">
                  <c:v>510</c:v>
                </c:pt>
                <c:pt idx="519">
                  <c:v>510</c:v>
                </c:pt>
                <c:pt idx="520">
                  <c:v>510</c:v>
                </c:pt>
                <c:pt idx="521">
                  <c:v>510</c:v>
                </c:pt>
                <c:pt idx="522">
                  <c:v>510</c:v>
                </c:pt>
                <c:pt idx="523">
                  <c:v>510</c:v>
                </c:pt>
                <c:pt idx="524">
                  <c:v>510</c:v>
                </c:pt>
                <c:pt idx="525">
                  <c:v>510</c:v>
                </c:pt>
                <c:pt idx="526">
                  <c:v>510</c:v>
                </c:pt>
                <c:pt idx="527">
                  <c:v>510</c:v>
                </c:pt>
                <c:pt idx="528">
                  <c:v>510</c:v>
                </c:pt>
                <c:pt idx="529">
                  <c:v>510</c:v>
                </c:pt>
                <c:pt idx="530">
                  <c:v>510</c:v>
                </c:pt>
                <c:pt idx="531">
                  <c:v>510</c:v>
                </c:pt>
                <c:pt idx="532">
                  <c:v>510</c:v>
                </c:pt>
                <c:pt idx="533">
                  <c:v>510</c:v>
                </c:pt>
                <c:pt idx="534">
                  <c:v>510</c:v>
                </c:pt>
                <c:pt idx="535">
                  <c:v>510</c:v>
                </c:pt>
                <c:pt idx="536">
                  <c:v>510</c:v>
                </c:pt>
                <c:pt idx="537">
                  <c:v>510</c:v>
                </c:pt>
                <c:pt idx="538">
                  <c:v>510</c:v>
                </c:pt>
                <c:pt idx="539">
                  <c:v>510</c:v>
                </c:pt>
                <c:pt idx="540">
                  <c:v>510</c:v>
                </c:pt>
                <c:pt idx="541">
                  <c:v>510</c:v>
                </c:pt>
                <c:pt idx="542">
                  <c:v>510</c:v>
                </c:pt>
                <c:pt idx="543">
                  <c:v>510</c:v>
                </c:pt>
                <c:pt idx="544">
                  <c:v>510</c:v>
                </c:pt>
                <c:pt idx="545">
                  <c:v>510</c:v>
                </c:pt>
                <c:pt idx="546">
                  <c:v>510</c:v>
                </c:pt>
                <c:pt idx="547">
                  <c:v>510</c:v>
                </c:pt>
                <c:pt idx="548">
                  <c:v>510</c:v>
                </c:pt>
                <c:pt idx="549">
                  <c:v>510</c:v>
                </c:pt>
                <c:pt idx="550">
                  <c:v>510</c:v>
                </c:pt>
                <c:pt idx="551">
                  <c:v>510</c:v>
                </c:pt>
                <c:pt idx="552">
                  <c:v>510</c:v>
                </c:pt>
                <c:pt idx="553">
                  <c:v>510</c:v>
                </c:pt>
                <c:pt idx="554">
                  <c:v>510</c:v>
                </c:pt>
                <c:pt idx="555">
                  <c:v>510</c:v>
                </c:pt>
                <c:pt idx="556">
                  <c:v>510</c:v>
                </c:pt>
                <c:pt idx="557">
                  <c:v>510</c:v>
                </c:pt>
                <c:pt idx="558">
                  <c:v>510</c:v>
                </c:pt>
                <c:pt idx="559">
                  <c:v>510</c:v>
                </c:pt>
                <c:pt idx="560">
                  <c:v>510</c:v>
                </c:pt>
                <c:pt idx="561">
                  <c:v>510</c:v>
                </c:pt>
                <c:pt idx="562">
                  <c:v>510</c:v>
                </c:pt>
                <c:pt idx="563">
                  <c:v>510</c:v>
                </c:pt>
                <c:pt idx="564">
                  <c:v>510</c:v>
                </c:pt>
                <c:pt idx="565">
                  <c:v>510</c:v>
                </c:pt>
                <c:pt idx="566">
                  <c:v>510</c:v>
                </c:pt>
                <c:pt idx="567">
                  <c:v>510</c:v>
                </c:pt>
                <c:pt idx="568">
                  <c:v>510</c:v>
                </c:pt>
                <c:pt idx="569">
                  <c:v>510</c:v>
                </c:pt>
                <c:pt idx="570">
                  <c:v>510</c:v>
                </c:pt>
                <c:pt idx="571">
                  <c:v>510</c:v>
                </c:pt>
                <c:pt idx="572">
                  <c:v>510</c:v>
                </c:pt>
                <c:pt idx="573">
                  <c:v>510</c:v>
                </c:pt>
                <c:pt idx="574">
                  <c:v>510</c:v>
                </c:pt>
                <c:pt idx="575">
                  <c:v>510</c:v>
                </c:pt>
                <c:pt idx="576">
                  <c:v>510</c:v>
                </c:pt>
                <c:pt idx="577">
                  <c:v>510</c:v>
                </c:pt>
                <c:pt idx="578">
                  <c:v>510</c:v>
                </c:pt>
                <c:pt idx="579">
                  <c:v>510</c:v>
                </c:pt>
                <c:pt idx="580">
                  <c:v>510</c:v>
                </c:pt>
                <c:pt idx="581">
                  <c:v>510</c:v>
                </c:pt>
                <c:pt idx="582">
                  <c:v>510</c:v>
                </c:pt>
                <c:pt idx="583">
                  <c:v>510</c:v>
                </c:pt>
                <c:pt idx="584">
                  <c:v>510</c:v>
                </c:pt>
                <c:pt idx="585">
                  <c:v>510</c:v>
                </c:pt>
                <c:pt idx="586">
                  <c:v>510</c:v>
                </c:pt>
                <c:pt idx="587">
                  <c:v>510</c:v>
                </c:pt>
                <c:pt idx="588">
                  <c:v>510</c:v>
                </c:pt>
                <c:pt idx="589">
                  <c:v>510</c:v>
                </c:pt>
                <c:pt idx="590">
                  <c:v>510</c:v>
                </c:pt>
                <c:pt idx="591">
                  <c:v>510</c:v>
                </c:pt>
                <c:pt idx="592">
                  <c:v>510</c:v>
                </c:pt>
                <c:pt idx="593">
                  <c:v>510</c:v>
                </c:pt>
                <c:pt idx="594">
                  <c:v>510</c:v>
                </c:pt>
                <c:pt idx="595">
                  <c:v>510</c:v>
                </c:pt>
                <c:pt idx="596">
                  <c:v>510</c:v>
                </c:pt>
                <c:pt idx="597">
                  <c:v>510</c:v>
                </c:pt>
                <c:pt idx="598">
                  <c:v>510</c:v>
                </c:pt>
                <c:pt idx="599">
                  <c:v>510</c:v>
                </c:pt>
                <c:pt idx="600">
                  <c:v>510</c:v>
                </c:pt>
                <c:pt idx="601">
                  <c:v>510</c:v>
                </c:pt>
                <c:pt idx="602">
                  <c:v>510</c:v>
                </c:pt>
                <c:pt idx="603">
                  <c:v>510</c:v>
                </c:pt>
                <c:pt idx="604">
                  <c:v>510</c:v>
                </c:pt>
                <c:pt idx="605">
                  <c:v>510</c:v>
                </c:pt>
                <c:pt idx="606">
                  <c:v>510</c:v>
                </c:pt>
                <c:pt idx="607">
                  <c:v>510</c:v>
                </c:pt>
                <c:pt idx="608">
                  <c:v>510</c:v>
                </c:pt>
                <c:pt idx="609">
                  <c:v>510</c:v>
                </c:pt>
                <c:pt idx="610">
                  <c:v>510</c:v>
                </c:pt>
                <c:pt idx="611">
                  <c:v>510</c:v>
                </c:pt>
                <c:pt idx="612">
                  <c:v>510</c:v>
                </c:pt>
                <c:pt idx="613">
                  <c:v>510</c:v>
                </c:pt>
                <c:pt idx="614">
                  <c:v>510</c:v>
                </c:pt>
                <c:pt idx="615">
                  <c:v>510</c:v>
                </c:pt>
                <c:pt idx="616">
                  <c:v>510</c:v>
                </c:pt>
                <c:pt idx="617">
                  <c:v>510</c:v>
                </c:pt>
                <c:pt idx="618">
                  <c:v>510</c:v>
                </c:pt>
                <c:pt idx="619">
                  <c:v>510</c:v>
                </c:pt>
                <c:pt idx="620">
                  <c:v>510</c:v>
                </c:pt>
                <c:pt idx="621">
                  <c:v>510</c:v>
                </c:pt>
                <c:pt idx="622">
                  <c:v>510</c:v>
                </c:pt>
                <c:pt idx="623">
                  <c:v>510</c:v>
                </c:pt>
                <c:pt idx="624">
                  <c:v>510</c:v>
                </c:pt>
                <c:pt idx="625">
                  <c:v>510</c:v>
                </c:pt>
                <c:pt idx="626">
                  <c:v>510</c:v>
                </c:pt>
                <c:pt idx="627">
                  <c:v>510</c:v>
                </c:pt>
                <c:pt idx="628">
                  <c:v>510</c:v>
                </c:pt>
                <c:pt idx="629">
                  <c:v>510</c:v>
                </c:pt>
                <c:pt idx="630">
                  <c:v>510</c:v>
                </c:pt>
                <c:pt idx="631">
                  <c:v>510</c:v>
                </c:pt>
                <c:pt idx="632">
                  <c:v>510</c:v>
                </c:pt>
                <c:pt idx="633">
                  <c:v>510</c:v>
                </c:pt>
                <c:pt idx="634">
                  <c:v>510</c:v>
                </c:pt>
                <c:pt idx="635">
                  <c:v>510</c:v>
                </c:pt>
                <c:pt idx="636">
                  <c:v>510</c:v>
                </c:pt>
                <c:pt idx="637">
                  <c:v>510</c:v>
                </c:pt>
                <c:pt idx="638">
                  <c:v>510</c:v>
                </c:pt>
                <c:pt idx="639">
                  <c:v>510</c:v>
                </c:pt>
                <c:pt idx="640">
                  <c:v>510</c:v>
                </c:pt>
                <c:pt idx="641">
                  <c:v>510</c:v>
                </c:pt>
                <c:pt idx="642">
                  <c:v>510</c:v>
                </c:pt>
                <c:pt idx="643">
                  <c:v>510</c:v>
                </c:pt>
                <c:pt idx="644">
                  <c:v>510</c:v>
                </c:pt>
                <c:pt idx="645">
                  <c:v>510</c:v>
                </c:pt>
                <c:pt idx="646">
                  <c:v>510</c:v>
                </c:pt>
                <c:pt idx="647">
                  <c:v>510</c:v>
                </c:pt>
                <c:pt idx="648">
                  <c:v>510</c:v>
                </c:pt>
                <c:pt idx="649">
                  <c:v>510</c:v>
                </c:pt>
                <c:pt idx="650">
                  <c:v>510</c:v>
                </c:pt>
                <c:pt idx="651">
                  <c:v>510</c:v>
                </c:pt>
                <c:pt idx="652">
                  <c:v>510</c:v>
                </c:pt>
                <c:pt idx="653">
                  <c:v>510</c:v>
                </c:pt>
                <c:pt idx="654">
                  <c:v>510</c:v>
                </c:pt>
                <c:pt idx="655">
                  <c:v>510</c:v>
                </c:pt>
                <c:pt idx="656">
                  <c:v>510</c:v>
                </c:pt>
                <c:pt idx="657">
                  <c:v>510</c:v>
                </c:pt>
                <c:pt idx="658">
                  <c:v>510</c:v>
                </c:pt>
                <c:pt idx="659">
                  <c:v>510</c:v>
                </c:pt>
                <c:pt idx="660">
                  <c:v>510</c:v>
                </c:pt>
                <c:pt idx="661">
                  <c:v>510</c:v>
                </c:pt>
                <c:pt idx="662">
                  <c:v>510</c:v>
                </c:pt>
                <c:pt idx="663">
                  <c:v>510</c:v>
                </c:pt>
                <c:pt idx="664">
                  <c:v>510</c:v>
                </c:pt>
                <c:pt idx="665">
                  <c:v>510</c:v>
                </c:pt>
                <c:pt idx="666">
                  <c:v>510</c:v>
                </c:pt>
                <c:pt idx="667">
                  <c:v>510</c:v>
                </c:pt>
                <c:pt idx="668">
                  <c:v>510</c:v>
                </c:pt>
                <c:pt idx="669">
                  <c:v>510</c:v>
                </c:pt>
                <c:pt idx="670">
                  <c:v>510</c:v>
                </c:pt>
                <c:pt idx="671">
                  <c:v>510</c:v>
                </c:pt>
                <c:pt idx="672">
                  <c:v>510</c:v>
                </c:pt>
                <c:pt idx="673">
                  <c:v>510</c:v>
                </c:pt>
                <c:pt idx="674">
                  <c:v>510</c:v>
                </c:pt>
                <c:pt idx="675">
                  <c:v>510</c:v>
                </c:pt>
                <c:pt idx="676">
                  <c:v>510</c:v>
                </c:pt>
                <c:pt idx="677">
                  <c:v>510</c:v>
                </c:pt>
                <c:pt idx="678">
                  <c:v>510</c:v>
                </c:pt>
                <c:pt idx="679">
                  <c:v>510</c:v>
                </c:pt>
                <c:pt idx="680">
                  <c:v>510</c:v>
                </c:pt>
                <c:pt idx="681">
                  <c:v>510</c:v>
                </c:pt>
                <c:pt idx="682">
                  <c:v>510</c:v>
                </c:pt>
                <c:pt idx="683">
                  <c:v>510</c:v>
                </c:pt>
                <c:pt idx="684">
                  <c:v>510</c:v>
                </c:pt>
                <c:pt idx="685">
                  <c:v>510</c:v>
                </c:pt>
                <c:pt idx="686">
                  <c:v>510</c:v>
                </c:pt>
                <c:pt idx="687">
                  <c:v>510</c:v>
                </c:pt>
                <c:pt idx="688">
                  <c:v>510</c:v>
                </c:pt>
                <c:pt idx="689">
                  <c:v>510</c:v>
                </c:pt>
                <c:pt idx="690">
                  <c:v>510</c:v>
                </c:pt>
                <c:pt idx="691">
                  <c:v>510</c:v>
                </c:pt>
                <c:pt idx="692">
                  <c:v>510</c:v>
                </c:pt>
                <c:pt idx="693">
                  <c:v>510</c:v>
                </c:pt>
                <c:pt idx="694">
                  <c:v>510</c:v>
                </c:pt>
                <c:pt idx="695">
                  <c:v>510</c:v>
                </c:pt>
                <c:pt idx="696">
                  <c:v>510</c:v>
                </c:pt>
                <c:pt idx="697">
                  <c:v>510</c:v>
                </c:pt>
                <c:pt idx="698">
                  <c:v>510</c:v>
                </c:pt>
                <c:pt idx="699">
                  <c:v>510</c:v>
                </c:pt>
                <c:pt idx="700">
                  <c:v>510</c:v>
                </c:pt>
                <c:pt idx="701">
                  <c:v>510</c:v>
                </c:pt>
                <c:pt idx="702">
                  <c:v>510</c:v>
                </c:pt>
                <c:pt idx="703">
                  <c:v>510</c:v>
                </c:pt>
                <c:pt idx="704">
                  <c:v>510</c:v>
                </c:pt>
                <c:pt idx="705">
                  <c:v>510</c:v>
                </c:pt>
                <c:pt idx="706">
                  <c:v>510</c:v>
                </c:pt>
                <c:pt idx="707">
                  <c:v>510</c:v>
                </c:pt>
                <c:pt idx="708">
                  <c:v>510</c:v>
                </c:pt>
                <c:pt idx="709">
                  <c:v>510</c:v>
                </c:pt>
                <c:pt idx="710">
                  <c:v>510</c:v>
                </c:pt>
                <c:pt idx="711">
                  <c:v>510</c:v>
                </c:pt>
                <c:pt idx="712">
                  <c:v>510</c:v>
                </c:pt>
                <c:pt idx="713">
                  <c:v>510</c:v>
                </c:pt>
                <c:pt idx="714">
                  <c:v>510</c:v>
                </c:pt>
                <c:pt idx="715">
                  <c:v>510</c:v>
                </c:pt>
                <c:pt idx="716">
                  <c:v>510</c:v>
                </c:pt>
                <c:pt idx="717">
                  <c:v>510</c:v>
                </c:pt>
                <c:pt idx="718">
                  <c:v>510</c:v>
                </c:pt>
                <c:pt idx="719">
                  <c:v>510</c:v>
                </c:pt>
                <c:pt idx="720">
                  <c:v>510</c:v>
                </c:pt>
                <c:pt idx="721">
                  <c:v>510</c:v>
                </c:pt>
                <c:pt idx="722">
                  <c:v>510</c:v>
                </c:pt>
                <c:pt idx="723">
                  <c:v>510</c:v>
                </c:pt>
                <c:pt idx="724">
                  <c:v>510</c:v>
                </c:pt>
                <c:pt idx="725">
                  <c:v>510</c:v>
                </c:pt>
                <c:pt idx="726">
                  <c:v>510</c:v>
                </c:pt>
                <c:pt idx="727">
                  <c:v>510</c:v>
                </c:pt>
                <c:pt idx="728">
                  <c:v>510</c:v>
                </c:pt>
                <c:pt idx="729">
                  <c:v>510</c:v>
                </c:pt>
                <c:pt idx="730">
                  <c:v>510</c:v>
                </c:pt>
                <c:pt idx="731">
                  <c:v>510</c:v>
                </c:pt>
                <c:pt idx="732">
                  <c:v>510</c:v>
                </c:pt>
                <c:pt idx="733">
                  <c:v>510</c:v>
                </c:pt>
                <c:pt idx="734">
                  <c:v>510</c:v>
                </c:pt>
                <c:pt idx="735">
                  <c:v>510</c:v>
                </c:pt>
                <c:pt idx="736">
                  <c:v>510</c:v>
                </c:pt>
                <c:pt idx="737">
                  <c:v>510</c:v>
                </c:pt>
                <c:pt idx="738">
                  <c:v>510</c:v>
                </c:pt>
                <c:pt idx="739">
                  <c:v>510</c:v>
                </c:pt>
                <c:pt idx="740">
                  <c:v>510</c:v>
                </c:pt>
                <c:pt idx="741">
                  <c:v>510</c:v>
                </c:pt>
              </c:numCache>
            </c:numRef>
          </c:val>
          <c:smooth val="0"/>
          <c:extLst>
            <c:ext xmlns:c16="http://schemas.microsoft.com/office/drawing/2014/chart" uri="{C3380CC4-5D6E-409C-BE32-E72D297353CC}">
              <c16:uniqueId val="{00000002-BD69-4FD6-A7D6-508AE9A3F891}"/>
            </c:ext>
          </c:extLst>
        </c:ser>
        <c:ser>
          <c:idx val="3"/>
          <c:order val="3"/>
          <c:tx>
            <c:strRef>
              <c:f>硅石价格图表!$AM$2</c:f>
              <c:strCache>
                <c:ptCount val="1"/>
                <c:pt idx="0">
                  <c:v>广西</c:v>
                </c:pt>
              </c:strCache>
            </c:strRef>
          </c:tx>
          <c:spPr>
            <a:ln w="19050" cap="rnd">
              <a:solidFill>
                <a:schemeClr val="accent4"/>
              </a:solidFill>
              <a:round/>
            </a:ln>
            <a:effectLst/>
          </c:spPr>
          <c:marker>
            <c:symbol val="none"/>
          </c:marker>
          <c:cat>
            <c:numRef>
              <c:f>硅石价格图表!$AI$3:$AI$744</c:f>
              <c:numCache>
                <c:formatCode>m/d/yyyy</c:formatCode>
                <c:ptCount val="742"/>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pt idx="738">
                  <c:v>44739</c:v>
                </c:pt>
                <c:pt idx="739">
                  <c:v>44738</c:v>
                </c:pt>
                <c:pt idx="740">
                  <c:v>44737</c:v>
                </c:pt>
                <c:pt idx="741">
                  <c:v>44736</c:v>
                </c:pt>
              </c:numCache>
            </c:numRef>
          </c:cat>
          <c:val>
            <c:numRef>
              <c:f>硅石价格图表!$AM$3:$AM$744</c:f>
              <c:numCache>
                <c:formatCode>General</c:formatCode>
                <c:ptCount val="742"/>
                <c:pt idx="0">
                  <c:v>570</c:v>
                </c:pt>
                <c:pt idx="1">
                  <c:v>570</c:v>
                </c:pt>
                <c:pt idx="2">
                  <c:v>570</c:v>
                </c:pt>
                <c:pt idx="3">
                  <c:v>570</c:v>
                </c:pt>
                <c:pt idx="4">
                  <c:v>570</c:v>
                </c:pt>
                <c:pt idx="5">
                  <c:v>570</c:v>
                </c:pt>
                <c:pt idx="6">
                  <c:v>570</c:v>
                </c:pt>
                <c:pt idx="7">
                  <c:v>570</c:v>
                </c:pt>
                <c:pt idx="8">
                  <c:v>570</c:v>
                </c:pt>
                <c:pt idx="9">
                  <c:v>570</c:v>
                </c:pt>
                <c:pt idx="10">
                  <c:v>570</c:v>
                </c:pt>
                <c:pt idx="11">
                  <c:v>570</c:v>
                </c:pt>
                <c:pt idx="12">
                  <c:v>570</c:v>
                </c:pt>
                <c:pt idx="13">
                  <c:v>570</c:v>
                </c:pt>
                <c:pt idx="14">
                  <c:v>570</c:v>
                </c:pt>
                <c:pt idx="15">
                  <c:v>570</c:v>
                </c:pt>
                <c:pt idx="16">
                  <c:v>570</c:v>
                </c:pt>
                <c:pt idx="17">
                  <c:v>570</c:v>
                </c:pt>
                <c:pt idx="18">
                  <c:v>570</c:v>
                </c:pt>
                <c:pt idx="19">
                  <c:v>570</c:v>
                </c:pt>
                <c:pt idx="20">
                  <c:v>570</c:v>
                </c:pt>
                <c:pt idx="21">
                  <c:v>570</c:v>
                </c:pt>
                <c:pt idx="22">
                  <c:v>570</c:v>
                </c:pt>
                <c:pt idx="23">
                  <c:v>570</c:v>
                </c:pt>
                <c:pt idx="24">
                  <c:v>570</c:v>
                </c:pt>
                <c:pt idx="25">
                  <c:v>570</c:v>
                </c:pt>
                <c:pt idx="26">
                  <c:v>570</c:v>
                </c:pt>
                <c:pt idx="27">
                  <c:v>570</c:v>
                </c:pt>
                <c:pt idx="28">
                  <c:v>570</c:v>
                </c:pt>
                <c:pt idx="29">
                  <c:v>570</c:v>
                </c:pt>
                <c:pt idx="30">
                  <c:v>570</c:v>
                </c:pt>
                <c:pt idx="31">
                  <c:v>570</c:v>
                </c:pt>
                <c:pt idx="32">
                  <c:v>570</c:v>
                </c:pt>
                <c:pt idx="33">
                  <c:v>570</c:v>
                </c:pt>
                <c:pt idx="34">
                  <c:v>570</c:v>
                </c:pt>
                <c:pt idx="35">
                  <c:v>570</c:v>
                </c:pt>
                <c:pt idx="36">
                  <c:v>570</c:v>
                </c:pt>
                <c:pt idx="37">
                  <c:v>570</c:v>
                </c:pt>
                <c:pt idx="38">
                  <c:v>570</c:v>
                </c:pt>
                <c:pt idx="39">
                  <c:v>570</c:v>
                </c:pt>
                <c:pt idx="40">
                  <c:v>570</c:v>
                </c:pt>
                <c:pt idx="41">
                  <c:v>570</c:v>
                </c:pt>
                <c:pt idx="42">
                  <c:v>570</c:v>
                </c:pt>
                <c:pt idx="43">
                  <c:v>570</c:v>
                </c:pt>
                <c:pt idx="44">
                  <c:v>570</c:v>
                </c:pt>
                <c:pt idx="45">
                  <c:v>570</c:v>
                </c:pt>
                <c:pt idx="46">
                  <c:v>570</c:v>
                </c:pt>
                <c:pt idx="47">
                  <c:v>570</c:v>
                </c:pt>
                <c:pt idx="48">
                  <c:v>570</c:v>
                </c:pt>
                <c:pt idx="49">
                  <c:v>570</c:v>
                </c:pt>
                <c:pt idx="50">
                  <c:v>570</c:v>
                </c:pt>
                <c:pt idx="51">
                  <c:v>570</c:v>
                </c:pt>
                <c:pt idx="52">
                  <c:v>570</c:v>
                </c:pt>
                <c:pt idx="53">
                  <c:v>570</c:v>
                </c:pt>
                <c:pt idx="54">
                  <c:v>570</c:v>
                </c:pt>
                <c:pt idx="55">
                  <c:v>570</c:v>
                </c:pt>
                <c:pt idx="56">
                  <c:v>570</c:v>
                </c:pt>
                <c:pt idx="57">
                  <c:v>570</c:v>
                </c:pt>
                <c:pt idx="58">
                  <c:v>570</c:v>
                </c:pt>
                <c:pt idx="59">
                  <c:v>570</c:v>
                </c:pt>
                <c:pt idx="60">
                  <c:v>570</c:v>
                </c:pt>
                <c:pt idx="61">
                  <c:v>570</c:v>
                </c:pt>
                <c:pt idx="62">
                  <c:v>570</c:v>
                </c:pt>
                <c:pt idx="63">
                  <c:v>570</c:v>
                </c:pt>
                <c:pt idx="64">
                  <c:v>570</c:v>
                </c:pt>
                <c:pt idx="65">
                  <c:v>570</c:v>
                </c:pt>
                <c:pt idx="66">
                  <c:v>570</c:v>
                </c:pt>
                <c:pt idx="67">
                  <c:v>570</c:v>
                </c:pt>
                <c:pt idx="68">
                  <c:v>570</c:v>
                </c:pt>
                <c:pt idx="69">
                  <c:v>570</c:v>
                </c:pt>
                <c:pt idx="70">
                  <c:v>570</c:v>
                </c:pt>
                <c:pt idx="71">
                  <c:v>570</c:v>
                </c:pt>
                <c:pt idx="72">
                  <c:v>570</c:v>
                </c:pt>
                <c:pt idx="73">
                  <c:v>570</c:v>
                </c:pt>
                <c:pt idx="74">
                  <c:v>570</c:v>
                </c:pt>
                <c:pt idx="75">
                  <c:v>570</c:v>
                </c:pt>
                <c:pt idx="76">
                  <c:v>570</c:v>
                </c:pt>
                <c:pt idx="77">
                  <c:v>570</c:v>
                </c:pt>
                <c:pt idx="78">
                  <c:v>570</c:v>
                </c:pt>
                <c:pt idx="79">
                  <c:v>570</c:v>
                </c:pt>
                <c:pt idx="80">
                  <c:v>570</c:v>
                </c:pt>
                <c:pt idx="81">
                  <c:v>570</c:v>
                </c:pt>
                <c:pt idx="82">
                  <c:v>570</c:v>
                </c:pt>
                <c:pt idx="83">
                  <c:v>570</c:v>
                </c:pt>
                <c:pt idx="84">
                  <c:v>570</c:v>
                </c:pt>
                <c:pt idx="85">
                  <c:v>570</c:v>
                </c:pt>
                <c:pt idx="86">
                  <c:v>570</c:v>
                </c:pt>
                <c:pt idx="87">
                  <c:v>570</c:v>
                </c:pt>
                <c:pt idx="88">
                  <c:v>570</c:v>
                </c:pt>
                <c:pt idx="89">
                  <c:v>570</c:v>
                </c:pt>
                <c:pt idx="90">
                  <c:v>570</c:v>
                </c:pt>
                <c:pt idx="91">
                  <c:v>570</c:v>
                </c:pt>
                <c:pt idx="92">
                  <c:v>570</c:v>
                </c:pt>
                <c:pt idx="93">
                  <c:v>570</c:v>
                </c:pt>
                <c:pt idx="94">
                  <c:v>570</c:v>
                </c:pt>
                <c:pt idx="95">
                  <c:v>570</c:v>
                </c:pt>
                <c:pt idx="96">
                  <c:v>570</c:v>
                </c:pt>
                <c:pt idx="97">
                  <c:v>570</c:v>
                </c:pt>
                <c:pt idx="98">
                  <c:v>570</c:v>
                </c:pt>
                <c:pt idx="99">
                  <c:v>570</c:v>
                </c:pt>
                <c:pt idx="100">
                  <c:v>570</c:v>
                </c:pt>
                <c:pt idx="101">
                  <c:v>570</c:v>
                </c:pt>
                <c:pt idx="102">
                  <c:v>570</c:v>
                </c:pt>
                <c:pt idx="103">
                  <c:v>570</c:v>
                </c:pt>
                <c:pt idx="104">
                  <c:v>570</c:v>
                </c:pt>
                <c:pt idx="105">
                  <c:v>570</c:v>
                </c:pt>
                <c:pt idx="106">
                  <c:v>570</c:v>
                </c:pt>
                <c:pt idx="107">
                  <c:v>570</c:v>
                </c:pt>
                <c:pt idx="108">
                  <c:v>570</c:v>
                </c:pt>
                <c:pt idx="109">
                  <c:v>570</c:v>
                </c:pt>
                <c:pt idx="110">
                  <c:v>570</c:v>
                </c:pt>
                <c:pt idx="111">
                  <c:v>570</c:v>
                </c:pt>
                <c:pt idx="112">
                  <c:v>570</c:v>
                </c:pt>
                <c:pt idx="113">
                  <c:v>570</c:v>
                </c:pt>
                <c:pt idx="114">
                  <c:v>570</c:v>
                </c:pt>
                <c:pt idx="115">
                  <c:v>570</c:v>
                </c:pt>
                <c:pt idx="116">
                  <c:v>570</c:v>
                </c:pt>
                <c:pt idx="117">
                  <c:v>570</c:v>
                </c:pt>
                <c:pt idx="118">
                  <c:v>570</c:v>
                </c:pt>
                <c:pt idx="119">
                  <c:v>570</c:v>
                </c:pt>
                <c:pt idx="120">
                  <c:v>570</c:v>
                </c:pt>
                <c:pt idx="121">
                  <c:v>570</c:v>
                </c:pt>
                <c:pt idx="122">
                  <c:v>570</c:v>
                </c:pt>
                <c:pt idx="123">
                  <c:v>570</c:v>
                </c:pt>
                <c:pt idx="124">
                  <c:v>570</c:v>
                </c:pt>
                <c:pt idx="125">
                  <c:v>570</c:v>
                </c:pt>
                <c:pt idx="126">
                  <c:v>570</c:v>
                </c:pt>
                <c:pt idx="127">
                  <c:v>570</c:v>
                </c:pt>
                <c:pt idx="128">
                  <c:v>570</c:v>
                </c:pt>
                <c:pt idx="129">
                  <c:v>570</c:v>
                </c:pt>
                <c:pt idx="130">
                  <c:v>570</c:v>
                </c:pt>
                <c:pt idx="131">
                  <c:v>570</c:v>
                </c:pt>
                <c:pt idx="132">
                  <c:v>570</c:v>
                </c:pt>
                <c:pt idx="133">
                  <c:v>570</c:v>
                </c:pt>
                <c:pt idx="134">
                  <c:v>570</c:v>
                </c:pt>
                <c:pt idx="135">
                  <c:v>570</c:v>
                </c:pt>
                <c:pt idx="136">
                  <c:v>570</c:v>
                </c:pt>
                <c:pt idx="137">
                  <c:v>570</c:v>
                </c:pt>
                <c:pt idx="138">
                  <c:v>570</c:v>
                </c:pt>
                <c:pt idx="139">
                  <c:v>570</c:v>
                </c:pt>
                <c:pt idx="140">
                  <c:v>570</c:v>
                </c:pt>
                <c:pt idx="141">
                  <c:v>570</c:v>
                </c:pt>
                <c:pt idx="142">
                  <c:v>570</c:v>
                </c:pt>
                <c:pt idx="143">
                  <c:v>570</c:v>
                </c:pt>
                <c:pt idx="144">
                  <c:v>570</c:v>
                </c:pt>
                <c:pt idx="145">
                  <c:v>570</c:v>
                </c:pt>
                <c:pt idx="146">
                  <c:v>570</c:v>
                </c:pt>
                <c:pt idx="147">
                  <c:v>570</c:v>
                </c:pt>
                <c:pt idx="148">
                  <c:v>570</c:v>
                </c:pt>
                <c:pt idx="149">
                  <c:v>570</c:v>
                </c:pt>
                <c:pt idx="150">
                  <c:v>570</c:v>
                </c:pt>
                <c:pt idx="151">
                  <c:v>570</c:v>
                </c:pt>
                <c:pt idx="152">
                  <c:v>570</c:v>
                </c:pt>
                <c:pt idx="153">
                  <c:v>570</c:v>
                </c:pt>
                <c:pt idx="154">
                  <c:v>570</c:v>
                </c:pt>
                <c:pt idx="155">
                  <c:v>570</c:v>
                </c:pt>
                <c:pt idx="156">
                  <c:v>570</c:v>
                </c:pt>
                <c:pt idx="157">
                  <c:v>570</c:v>
                </c:pt>
                <c:pt idx="158">
                  <c:v>570</c:v>
                </c:pt>
                <c:pt idx="159">
                  <c:v>570</c:v>
                </c:pt>
                <c:pt idx="160">
                  <c:v>570</c:v>
                </c:pt>
                <c:pt idx="161">
                  <c:v>570</c:v>
                </c:pt>
                <c:pt idx="162">
                  <c:v>570</c:v>
                </c:pt>
                <c:pt idx="163">
                  <c:v>570</c:v>
                </c:pt>
                <c:pt idx="164">
                  <c:v>570</c:v>
                </c:pt>
                <c:pt idx="165">
                  <c:v>570</c:v>
                </c:pt>
                <c:pt idx="166">
                  <c:v>570</c:v>
                </c:pt>
                <c:pt idx="167">
                  <c:v>570</c:v>
                </c:pt>
                <c:pt idx="168">
                  <c:v>570</c:v>
                </c:pt>
                <c:pt idx="169">
                  <c:v>570</c:v>
                </c:pt>
                <c:pt idx="170">
                  <c:v>570</c:v>
                </c:pt>
                <c:pt idx="171">
                  <c:v>570</c:v>
                </c:pt>
                <c:pt idx="172">
                  <c:v>570</c:v>
                </c:pt>
                <c:pt idx="173">
                  <c:v>570</c:v>
                </c:pt>
                <c:pt idx="174">
                  <c:v>570</c:v>
                </c:pt>
                <c:pt idx="175">
                  <c:v>570</c:v>
                </c:pt>
                <c:pt idx="176">
                  <c:v>570</c:v>
                </c:pt>
                <c:pt idx="177">
                  <c:v>570</c:v>
                </c:pt>
                <c:pt idx="178">
                  <c:v>570</c:v>
                </c:pt>
                <c:pt idx="179">
                  <c:v>570</c:v>
                </c:pt>
                <c:pt idx="180">
                  <c:v>570</c:v>
                </c:pt>
                <c:pt idx="181">
                  <c:v>570</c:v>
                </c:pt>
                <c:pt idx="182">
                  <c:v>570</c:v>
                </c:pt>
                <c:pt idx="183">
                  <c:v>570</c:v>
                </c:pt>
                <c:pt idx="184">
                  <c:v>570</c:v>
                </c:pt>
                <c:pt idx="185">
                  <c:v>570</c:v>
                </c:pt>
                <c:pt idx="186">
                  <c:v>570</c:v>
                </c:pt>
                <c:pt idx="187">
                  <c:v>570</c:v>
                </c:pt>
                <c:pt idx="188">
                  <c:v>570</c:v>
                </c:pt>
                <c:pt idx="189">
                  <c:v>570</c:v>
                </c:pt>
                <c:pt idx="190">
                  <c:v>570</c:v>
                </c:pt>
                <c:pt idx="191">
                  <c:v>570</c:v>
                </c:pt>
                <c:pt idx="192">
                  <c:v>570</c:v>
                </c:pt>
                <c:pt idx="193">
                  <c:v>570</c:v>
                </c:pt>
                <c:pt idx="194">
                  <c:v>570</c:v>
                </c:pt>
                <c:pt idx="195">
                  <c:v>570</c:v>
                </c:pt>
                <c:pt idx="196">
                  <c:v>570</c:v>
                </c:pt>
                <c:pt idx="197">
                  <c:v>570</c:v>
                </c:pt>
                <c:pt idx="198">
                  <c:v>570</c:v>
                </c:pt>
                <c:pt idx="199">
                  <c:v>570</c:v>
                </c:pt>
                <c:pt idx="200">
                  <c:v>570</c:v>
                </c:pt>
                <c:pt idx="201">
                  <c:v>570</c:v>
                </c:pt>
                <c:pt idx="202">
                  <c:v>570</c:v>
                </c:pt>
                <c:pt idx="203">
                  <c:v>570</c:v>
                </c:pt>
                <c:pt idx="204">
                  <c:v>570</c:v>
                </c:pt>
                <c:pt idx="205">
                  <c:v>570</c:v>
                </c:pt>
                <c:pt idx="206">
                  <c:v>570</c:v>
                </c:pt>
                <c:pt idx="207">
                  <c:v>550</c:v>
                </c:pt>
                <c:pt idx="208">
                  <c:v>550</c:v>
                </c:pt>
                <c:pt idx="209">
                  <c:v>550</c:v>
                </c:pt>
                <c:pt idx="210">
                  <c:v>550</c:v>
                </c:pt>
                <c:pt idx="211">
                  <c:v>550</c:v>
                </c:pt>
                <c:pt idx="212">
                  <c:v>550</c:v>
                </c:pt>
                <c:pt idx="213">
                  <c:v>550</c:v>
                </c:pt>
                <c:pt idx="214">
                  <c:v>550</c:v>
                </c:pt>
                <c:pt idx="215">
                  <c:v>550</c:v>
                </c:pt>
                <c:pt idx="216">
                  <c:v>550</c:v>
                </c:pt>
                <c:pt idx="217">
                  <c:v>550</c:v>
                </c:pt>
                <c:pt idx="218">
                  <c:v>550</c:v>
                </c:pt>
                <c:pt idx="219">
                  <c:v>550</c:v>
                </c:pt>
                <c:pt idx="220">
                  <c:v>550</c:v>
                </c:pt>
                <c:pt idx="221">
                  <c:v>550</c:v>
                </c:pt>
                <c:pt idx="222">
                  <c:v>550</c:v>
                </c:pt>
                <c:pt idx="223">
                  <c:v>550</c:v>
                </c:pt>
                <c:pt idx="224">
                  <c:v>550</c:v>
                </c:pt>
                <c:pt idx="225">
                  <c:v>550</c:v>
                </c:pt>
                <c:pt idx="226">
                  <c:v>550</c:v>
                </c:pt>
                <c:pt idx="227">
                  <c:v>550</c:v>
                </c:pt>
                <c:pt idx="228">
                  <c:v>550</c:v>
                </c:pt>
                <c:pt idx="229">
                  <c:v>550</c:v>
                </c:pt>
                <c:pt idx="230">
                  <c:v>550</c:v>
                </c:pt>
                <c:pt idx="231">
                  <c:v>550</c:v>
                </c:pt>
                <c:pt idx="232">
                  <c:v>550</c:v>
                </c:pt>
                <c:pt idx="233">
                  <c:v>550</c:v>
                </c:pt>
                <c:pt idx="234">
                  <c:v>550</c:v>
                </c:pt>
                <c:pt idx="235">
                  <c:v>550</c:v>
                </c:pt>
                <c:pt idx="236">
                  <c:v>550</c:v>
                </c:pt>
                <c:pt idx="237">
                  <c:v>550</c:v>
                </c:pt>
                <c:pt idx="238">
                  <c:v>550</c:v>
                </c:pt>
                <c:pt idx="239">
                  <c:v>550</c:v>
                </c:pt>
                <c:pt idx="240">
                  <c:v>550</c:v>
                </c:pt>
                <c:pt idx="241">
                  <c:v>550</c:v>
                </c:pt>
                <c:pt idx="242">
                  <c:v>550</c:v>
                </c:pt>
                <c:pt idx="243">
                  <c:v>550</c:v>
                </c:pt>
                <c:pt idx="244">
                  <c:v>550</c:v>
                </c:pt>
                <c:pt idx="245">
                  <c:v>550</c:v>
                </c:pt>
                <c:pt idx="246">
                  <c:v>550</c:v>
                </c:pt>
                <c:pt idx="247">
                  <c:v>550</c:v>
                </c:pt>
                <c:pt idx="248">
                  <c:v>550</c:v>
                </c:pt>
                <c:pt idx="249">
                  <c:v>550</c:v>
                </c:pt>
                <c:pt idx="250">
                  <c:v>550</c:v>
                </c:pt>
                <c:pt idx="251">
                  <c:v>550</c:v>
                </c:pt>
                <c:pt idx="252">
                  <c:v>550</c:v>
                </c:pt>
                <c:pt idx="253">
                  <c:v>550</c:v>
                </c:pt>
                <c:pt idx="254">
                  <c:v>550</c:v>
                </c:pt>
                <c:pt idx="255">
                  <c:v>550</c:v>
                </c:pt>
                <c:pt idx="256">
                  <c:v>550</c:v>
                </c:pt>
                <c:pt idx="257">
                  <c:v>550</c:v>
                </c:pt>
                <c:pt idx="258">
                  <c:v>550</c:v>
                </c:pt>
                <c:pt idx="259">
                  <c:v>550</c:v>
                </c:pt>
                <c:pt idx="260">
                  <c:v>550</c:v>
                </c:pt>
                <c:pt idx="261">
                  <c:v>550</c:v>
                </c:pt>
                <c:pt idx="262">
                  <c:v>550</c:v>
                </c:pt>
                <c:pt idx="263">
                  <c:v>550</c:v>
                </c:pt>
                <c:pt idx="264">
                  <c:v>550</c:v>
                </c:pt>
                <c:pt idx="265">
                  <c:v>550</c:v>
                </c:pt>
                <c:pt idx="266">
                  <c:v>550</c:v>
                </c:pt>
                <c:pt idx="267">
                  <c:v>550</c:v>
                </c:pt>
                <c:pt idx="268">
                  <c:v>550</c:v>
                </c:pt>
                <c:pt idx="269">
                  <c:v>550</c:v>
                </c:pt>
                <c:pt idx="270">
                  <c:v>550</c:v>
                </c:pt>
                <c:pt idx="271">
                  <c:v>550</c:v>
                </c:pt>
                <c:pt idx="272">
                  <c:v>550</c:v>
                </c:pt>
                <c:pt idx="273">
                  <c:v>550</c:v>
                </c:pt>
                <c:pt idx="274">
                  <c:v>550</c:v>
                </c:pt>
                <c:pt idx="275">
                  <c:v>550</c:v>
                </c:pt>
                <c:pt idx="276">
                  <c:v>550</c:v>
                </c:pt>
                <c:pt idx="277">
                  <c:v>550</c:v>
                </c:pt>
                <c:pt idx="278">
                  <c:v>550</c:v>
                </c:pt>
                <c:pt idx="279">
                  <c:v>550</c:v>
                </c:pt>
                <c:pt idx="280">
                  <c:v>550</c:v>
                </c:pt>
                <c:pt idx="281">
                  <c:v>550</c:v>
                </c:pt>
                <c:pt idx="282">
                  <c:v>550</c:v>
                </c:pt>
                <c:pt idx="283">
                  <c:v>550</c:v>
                </c:pt>
                <c:pt idx="284">
                  <c:v>550</c:v>
                </c:pt>
                <c:pt idx="285">
                  <c:v>550</c:v>
                </c:pt>
                <c:pt idx="286">
                  <c:v>550</c:v>
                </c:pt>
                <c:pt idx="287">
                  <c:v>550</c:v>
                </c:pt>
                <c:pt idx="288">
                  <c:v>550</c:v>
                </c:pt>
                <c:pt idx="289">
                  <c:v>550</c:v>
                </c:pt>
                <c:pt idx="290">
                  <c:v>550</c:v>
                </c:pt>
                <c:pt idx="291">
                  <c:v>550</c:v>
                </c:pt>
                <c:pt idx="292">
                  <c:v>550</c:v>
                </c:pt>
                <c:pt idx="293">
                  <c:v>550</c:v>
                </c:pt>
                <c:pt idx="294">
                  <c:v>550</c:v>
                </c:pt>
                <c:pt idx="295">
                  <c:v>550</c:v>
                </c:pt>
                <c:pt idx="296">
                  <c:v>550</c:v>
                </c:pt>
                <c:pt idx="297">
                  <c:v>550</c:v>
                </c:pt>
                <c:pt idx="298">
                  <c:v>550</c:v>
                </c:pt>
                <c:pt idx="299">
                  <c:v>550</c:v>
                </c:pt>
                <c:pt idx="300">
                  <c:v>550</c:v>
                </c:pt>
                <c:pt idx="301">
                  <c:v>550</c:v>
                </c:pt>
                <c:pt idx="302">
                  <c:v>550</c:v>
                </c:pt>
                <c:pt idx="303">
                  <c:v>550</c:v>
                </c:pt>
                <c:pt idx="304">
                  <c:v>550</c:v>
                </c:pt>
                <c:pt idx="305">
                  <c:v>550</c:v>
                </c:pt>
                <c:pt idx="306">
                  <c:v>550</c:v>
                </c:pt>
                <c:pt idx="307">
                  <c:v>550</c:v>
                </c:pt>
                <c:pt idx="308">
                  <c:v>550</c:v>
                </c:pt>
                <c:pt idx="309">
                  <c:v>550</c:v>
                </c:pt>
                <c:pt idx="310">
                  <c:v>550</c:v>
                </c:pt>
                <c:pt idx="311">
                  <c:v>550</c:v>
                </c:pt>
                <c:pt idx="312">
                  <c:v>550</c:v>
                </c:pt>
                <c:pt idx="313">
                  <c:v>550</c:v>
                </c:pt>
                <c:pt idx="314">
                  <c:v>550</c:v>
                </c:pt>
                <c:pt idx="315">
                  <c:v>550</c:v>
                </c:pt>
                <c:pt idx="316">
                  <c:v>550</c:v>
                </c:pt>
                <c:pt idx="317">
                  <c:v>550</c:v>
                </c:pt>
                <c:pt idx="318">
                  <c:v>550</c:v>
                </c:pt>
                <c:pt idx="319">
                  <c:v>#N/A</c:v>
                </c:pt>
                <c:pt idx="320">
                  <c:v>#N/A</c:v>
                </c:pt>
                <c:pt idx="321">
                  <c:v>550</c:v>
                </c:pt>
                <c:pt idx="322">
                  <c:v>550</c:v>
                </c:pt>
                <c:pt idx="323">
                  <c:v>550</c:v>
                </c:pt>
                <c:pt idx="324">
                  <c:v>550</c:v>
                </c:pt>
                <c:pt idx="325">
                  <c:v>550</c:v>
                </c:pt>
                <c:pt idx="326">
                  <c:v>550</c:v>
                </c:pt>
                <c:pt idx="327">
                  <c:v>550</c:v>
                </c:pt>
                <c:pt idx="328">
                  <c:v>550</c:v>
                </c:pt>
                <c:pt idx="329">
                  <c:v>550</c:v>
                </c:pt>
                <c:pt idx="330">
                  <c:v>550</c:v>
                </c:pt>
                <c:pt idx="331">
                  <c:v>550</c:v>
                </c:pt>
                <c:pt idx="332">
                  <c:v>550</c:v>
                </c:pt>
                <c:pt idx="333">
                  <c:v>550</c:v>
                </c:pt>
                <c:pt idx="334">
                  <c:v>550</c:v>
                </c:pt>
                <c:pt idx="335">
                  <c:v>550</c:v>
                </c:pt>
                <c:pt idx="336">
                  <c:v>550</c:v>
                </c:pt>
                <c:pt idx="337">
                  <c:v>550</c:v>
                </c:pt>
                <c:pt idx="338">
                  <c:v>550</c:v>
                </c:pt>
                <c:pt idx="339">
                  <c:v>550</c:v>
                </c:pt>
                <c:pt idx="340">
                  <c:v>550</c:v>
                </c:pt>
                <c:pt idx="341">
                  <c:v>550</c:v>
                </c:pt>
                <c:pt idx="342">
                  <c:v>550</c:v>
                </c:pt>
                <c:pt idx="343">
                  <c:v>550</c:v>
                </c:pt>
                <c:pt idx="344">
                  <c:v>550</c:v>
                </c:pt>
                <c:pt idx="345">
                  <c:v>550</c:v>
                </c:pt>
                <c:pt idx="346">
                  <c:v>550</c:v>
                </c:pt>
                <c:pt idx="347">
                  <c:v>550</c:v>
                </c:pt>
                <c:pt idx="348">
                  <c:v>550</c:v>
                </c:pt>
                <c:pt idx="349">
                  <c:v>550</c:v>
                </c:pt>
                <c:pt idx="350">
                  <c:v>550</c:v>
                </c:pt>
                <c:pt idx="351">
                  <c:v>550</c:v>
                </c:pt>
                <c:pt idx="352">
                  <c:v>550</c:v>
                </c:pt>
                <c:pt idx="353">
                  <c:v>550</c:v>
                </c:pt>
                <c:pt idx="354">
                  <c:v>550</c:v>
                </c:pt>
                <c:pt idx="355">
                  <c:v>550</c:v>
                </c:pt>
                <c:pt idx="356">
                  <c:v>550</c:v>
                </c:pt>
                <c:pt idx="357">
                  <c:v>550</c:v>
                </c:pt>
                <c:pt idx="358">
                  <c:v>550</c:v>
                </c:pt>
                <c:pt idx="359">
                  <c:v>550</c:v>
                </c:pt>
                <c:pt idx="360">
                  <c:v>550</c:v>
                </c:pt>
                <c:pt idx="361">
                  <c:v>550</c:v>
                </c:pt>
                <c:pt idx="362">
                  <c:v>550</c:v>
                </c:pt>
                <c:pt idx="363">
                  <c:v>550</c:v>
                </c:pt>
                <c:pt idx="364">
                  <c:v>550</c:v>
                </c:pt>
                <c:pt idx="365">
                  <c:v>550</c:v>
                </c:pt>
                <c:pt idx="366">
                  <c:v>550</c:v>
                </c:pt>
                <c:pt idx="367">
                  <c:v>550</c:v>
                </c:pt>
                <c:pt idx="368">
                  <c:v>550</c:v>
                </c:pt>
                <c:pt idx="369">
                  <c:v>550</c:v>
                </c:pt>
                <c:pt idx="370">
                  <c:v>550</c:v>
                </c:pt>
                <c:pt idx="371">
                  <c:v>550</c:v>
                </c:pt>
                <c:pt idx="372">
                  <c:v>550</c:v>
                </c:pt>
                <c:pt idx="373">
                  <c:v>550</c:v>
                </c:pt>
                <c:pt idx="374">
                  <c:v>550</c:v>
                </c:pt>
                <c:pt idx="375">
                  <c:v>550</c:v>
                </c:pt>
                <c:pt idx="376">
                  <c:v>550</c:v>
                </c:pt>
                <c:pt idx="377">
                  <c:v>550</c:v>
                </c:pt>
                <c:pt idx="378">
                  <c:v>550</c:v>
                </c:pt>
                <c:pt idx="379">
                  <c:v>550</c:v>
                </c:pt>
                <c:pt idx="380">
                  <c:v>550</c:v>
                </c:pt>
                <c:pt idx="381">
                  <c:v>550</c:v>
                </c:pt>
                <c:pt idx="382">
                  <c:v>550</c:v>
                </c:pt>
                <c:pt idx="383">
                  <c:v>550</c:v>
                </c:pt>
                <c:pt idx="384">
                  <c:v>550</c:v>
                </c:pt>
                <c:pt idx="385">
                  <c:v>550</c:v>
                </c:pt>
                <c:pt idx="386">
                  <c:v>550</c:v>
                </c:pt>
                <c:pt idx="387">
                  <c:v>550</c:v>
                </c:pt>
                <c:pt idx="388">
                  <c:v>550</c:v>
                </c:pt>
                <c:pt idx="389">
                  <c:v>550</c:v>
                </c:pt>
                <c:pt idx="390">
                  <c:v>550</c:v>
                </c:pt>
                <c:pt idx="391">
                  <c:v>550</c:v>
                </c:pt>
                <c:pt idx="392">
                  <c:v>550</c:v>
                </c:pt>
                <c:pt idx="393">
                  <c:v>550</c:v>
                </c:pt>
                <c:pt idx="394">
                  <c:v>550</c:v>
                </c:pt>
                <c:pt idx="395">
                  <c:v>550</c:v>
                </c:pt>
                <c:pt idx="396">
                  <c:v>550</c:v>
                </c:pt>
                <c:pt idx="397">
                  <c:v>550</c:v>
                </c:pt>
                <c:pt idx="398">
                  <c:v>550</c:v>
                </c:pt>
                <c:pt idx="399">
                  <c:v>550</c:v>
                </c:pt>
                <c:pt idx="400">
                  <c:v>550</c:v>
                </c:pt>
                <c:pt idx="401">
                  <c:v>550</c:v>
                </c:pt>
                <c:pt idx="402">
                  <c:v>550</c:v>
                </c:pt>
                <c:pt idx="403">
                  <c:v>550</c:v>
                </c:pt>
                <c:pt idx="404">
                  <c:v>550</c:v>
                </c:pt>
                <c:pt idx="405">
                  <c:v>550</c:v>
                </c:pt>
                <c:pt idx="406">
                  <c:v>550</c:v>
                </c:pt>
                <c:pt idx="407">
                  <c:v>550</c:v>
                </c:pt>
                <c:pt idx="408">
                  <c:v>550</c:v>
                </c:pt>
                <c:pt idx="409">
                  <c:v>550</c:v>
                </c:pt>
                <c:pt idx="410">
                  <c:v>550</c:v>
                </c:pt>
                <c:pt idx="411">
                  <c:v>550</c:v>
                </c:pt>
                <c:pt idx="412">
                  <c:v>550</c:v>
                </c:pt>
                <c:pt idx="413">
                  <c:v>550</c:v>
                </c:pt>
                <c:pt idx="414">
                  <c:v>550</c:v>
                </c:pt>
                <c:pt idx="415">
                  <c:v>550</c:v>
                </c:pt>
                <c:pt idx="416">
                  <c:v>550</c:v>
                </c:pt>
                <c:pt idx="417">
                  <c:v>550</c:v>
                </c:pt>
                <c:pt idx="418">
                  <c:v>550</c:v>
                </c:pt>
                <c:pt idx="419">
                  <c:v>550</c:v>
                </c:pt>
                <c:pt idx="420">
                  <c:v>550</c:v>
                </c:pt>
                <c:pt idx="421">
                  <c:v>550</c:v>
                </c:pt>
                <c:pt idx="422">
                  <c:v>550</c:v>
                </c:pt>
                <c:pt idx="423">
                  <c:v>550</c:v>
                </c:pt>
                <c:pt idx="424">
                  <c:v>550</c:v>
                </c:pt>
                <c:pt idx="425">
                  <c:v>550</c:v>
                </c:pt>
                <c:pt idx="426">
                  <c:v>550</c:v>
                </c:pt>
                <c:pt idx="427">
                  <c:v>550</c:v>
                </c:pt>
                <c:pt idx="428">
                  <c:v>550</c:v>
                </c:pt>
                <c:pt idx="429">
                  <c:v>550</c:v>
                </c:pt>
                <c:pt idx="430">
                  <c:v>550</c:v>
                </c:pt>
                <c:pt idx="431">
                  <c:v>550</c:v>
                </c:pt>
                <c:pt idx="432">
                  <c:v>550</c:v>
                </c:pt>
                <c:pt idx="433">
                  <c:v>550</c:v>
                </c:pt>
                <c:pt idx="434">
                  <c:v>550</c:v>
                </c:pt>
                <c:pt idx="435">
                  <c:v>550</c:v>
                </c:pt>
                <c:pt idx="436">
                  <c:v>550</c:v>
                </c:pt>
                <c:pt idx="437">
                  <c:v>550</c:v>
                </c:pt>
                <c:pt idx="438">
                  <c:v>550</c:v>
                </c:pt>
                <c:pt idx="439">
                  <c:v>550</c:v>
                </c:pt>
                <c:pt idx="440">
                  <c:v>550</c:v>
                </c:pt>
                <c:pt idx="441">
                  <c:v>550</c:v>
                </c:pt>
                <c:pt idx="442">
                  <c:v>550</c:v>
                </c:pt>
                <c:pt idx="443">
                  <c:v>550</c:v>
                </c:pt>
                <c:pt idx="444">
                  <c:v>550</c:v>
                </c:pt>
                <c:pt idx="445">
                  <c:v>550</c:v>
                </c:pt>
                <c:pt idx="446">
                  <c:v>550</c:v>
                </c:pt>
                <c:pt idx="447">
                  <c:v>550</c:v>
                </c:pt>
                <c:pt idx="448">
                  <c:v>550</c:v>
                </c:pt>
                <c:pt idx="449">
                  <c:v>550</c:v>
                </c:pt>
                <c:pt idx="450">
                  <c:v>550</c:v>
                </c:pt>
                <c:pt idx="451">
                  <c:v>550</c:v>
                </c:pt>
                <c:pt idx="452">
                  <c:v>550</c:v>
                </c:pt>
                <c:pt idx="453">
                  <c:v>550</c:v>
                </c:pt>
                <c:pt idx="454">
                  <c:v>550</c:v>
                </c:pt>
                <c:pt idx="455">
                  <c:v>550</c:v>
                </c:pt>
                <c:pt idx="456">
                  <c:v>550</c:v>
                </c:pt>
                <c:pt idx="457">
                  <c:v>550</c:v>
                </c:pt>
                <c:pt idx="458">
                  <c:v>550</c:v>
                </c:pt>
                <c:pt idx="459">
                  <c:v>550</c:v>
                </c:pt>
                <c:pt idx="460">
                  <c:v>550</c:v>
                </c:pt>
                <c:pt idx="461">
                  <c:v>550</c:v>
                </c:pt>
                <c:pt idx="462">
                  <c:v>550</c:v>
                </c:pt>
                <c:pt idx="463">
                  <c:v>550</c:v>
                </c:pt>
                <c:pt idx="464">
                  <c:v>550</c:v>
                </c:pt>
                <c:pt idx="465">
                  <c:v>550</c:v>
                </c:pt>
                <c:pt idx="466">
                  <c:v>550</c:v>
                </c:pt>
                <c:pt idx="467">
                  <c:v>550</c:v>
                </c:pt>
                <c:pt idx="468">
                  <c:v>550</c:v>
                </c:pt>
                <c:pt idx="469">
                  <c:v>550</c:v>
                </c:pt>
                <c:pt idx="470">
                  <c:v>550</c:v>
                </c:pt>
                <c:pt idx="471">
                  <c:v>550</c:v>
                </c:pt>
                <c:pt idx="472">
                  <c:v>550</c:v>
                </c:pt>
                <c:pt idx="473">
                  <c:v>550</c:v>
                </c:pt>
                <c:pt idx="474">
                  <c:v>550</c:v>
                </c:pt>
                <c:pt idx="475">
                  <c:v>550</c:v>
                </c:pt>
                <c:pt idx="476">
                  <c:v>550</c:v>
                </c:pt>
                <c:pt idx="477">
                  <c:v>550</c:v>
                </c:pt>
                <c:pt idx="478">
                  <c:v>550</c:v>
                </c:pt>
                <c:pt idx="479">
                  <c:v>550</c:v>
                </c:pt>
                <c:pt idx="480">
                  <c:v>550</c:v>
                </c:pt>
                <c:pt idx="481">
                  <c:v>550</c:v>
                </c:pt>
                <c:pt idx="482">
                  <c:v>550</c:v>
                </c:pt>
                <c:pt idx="483">
                  <c:v>550</c:v>
                </c:pt>
                <c:pt idx="484">
                  <c:v>550</c:v>
                </c:pt>
                <c:pt idx="485">
                  <c:v>550</c:v>
                </c:pt>
                <c:pt idx="486">
                  <c:v>550</c:v>
                </c:pt>
                <c:pt idx="487">
                  <c:v>550</c:v>
                </c:pt>
                <c:pt idx="488">
                  <c:v>550</c:v>
                </c:pt>
                <c:pt idx="489">
                  <c:v>550</c:v>
                </c:pt>
                <c:pt idx="490">
                  <c:v>550</c:v>
                </c:pt>
                <c:pt idx="491">
                  <c:v>500</c:v>
                </c:pt>
                <c:pt idx="492">
                  <c:v>500</c:v>
                </c:pt>
                <c:pt idx="493">
                  <c:v>500</c:v>
                </c:pt>
                <c:pt idx="494">
                  <c:v>500</c:v>
                </c:pt>
                <c:pt idx="495">
                  <c:v>500</c:v>
                </c:pt>
                <c:pt idx="496">
                  <c:v>500</c:v>
                </c:pt>
                <c:pt idx="497">
                  <c:v>500</c:v>
                </c:pt>
                <c:pt idx="498">
                  <c:v>500</c:v>
                </c:pt>
                <c:pt idx="499">
                  <c:v>500</c:v>
                </c:pt>
                <c:pt idx="500">
                  <c:v>500</c:v>
                </c:pt>
                <c:pt idx="501">
                  <c:v>500</c:v>
                </c:pt>
                <c:pt idx="502">
                  <c:v>500</c:v>
                </c:pt>
                <c:pt idx="503">
                  <c:v>500</c:v>
                </c:pt>
                <c:pt idx="504">
                  <c:v>500</c:v>
                </c:pt>
                <c:pt idx="505">
                  <c:v>500</c:v>
                </c:pt>
                <c:pt idx="506">
                  <c:v>500</c:v>
                </c:pt>
                <c:pt idx="507">
                  <c:v>500</c:v>
                </c:pt>
                <c:pt idx="508">
                  <c:v>500</c:v>
                </c:pt>
                <c:pt idx="509">
                  <c:v>500</c:v>
                </c:pt>
                <c:pt idx="510">
                  <c:v>500</c:v>
                </c:pt>
                <c:pt idx="511">
                  <c:v>500</c:v>
                </c:pt>
                <c:pt idx="512">
                  <c:v>500</c:v>
                </c:pt>
                <c:pt idx="513">
                  <c:v>500</c:v>
                </c:pt>
                <c:pt idx="514">
                  <c:v>500</c:v>
                </c:pt>
                <c:pt idx="515">
                  <c:v>500</c:v>
                </c:pt>
                <c:pt idx="516">
                  <c:v>500</c:v>
                </c:pt>
                <c:pt idx="517">
                  <c:v>500</c:v>
                </c:pt>
                <c:pt idx="518">
                  <c:v>500</c:v>
                </c:pt>
                <c:pt idx="519">
                  <c:v>500</c:v>
                </c:pt>
                <c:pt idx="520">
                  <c:v>500</c:v>
                </c:pt>
                <c:pt idx="521">
                  <c:v>500</c:v>
                </c:pt>
                <c:pt idx="522">
                  <c:v>500</c:v>
                </c:pt>
                <c:pt idx="523">
                  <c:v>500</c:v>
                </c:pt>
                <c:pt idx="524">
                  <c:v>500</c:v>
                </c:pt>
                <c:pt idx="525">
                  <c:v>500</c:v>
                </c:pt>
                <c:pt idx="526">
                  <c:v>500</c:v>
                </c:pt>
                <c:pt idx="527">
                  <c:v>500</c:v>
                </c:pt>
                <c:pt idx="528">
                  <c:v>500</c:v>
                </c:pt>
                <c:pt idx="529">
                  <c:v>500</c:v>
                </c:pt>
                <c:pt idx="530">
                  <c:v>500</c:v>
                </c:pt>
                <c:pt idx="531">
                  <c:v>500</c:v>
                </c:pt>
                <c:pt idx="532">
                  <c:v>500</c:v>
                </c:pt>
                <c:pt idx="533">
                  <c:v>500</c:v>
                </c:pt>
                <c:pt idx="534">
                  <c:v>500</c:v>
                </c:pt>
                <c:pt idx="535">
                  <c:v>500</c:v>
                </c:pt>
                <c:pt idx="536">
                  <c:v>500</c:v>
                </c:pt>
                <c:pt idx="537">
                  <c:v>500</c:v>
                </c:pt>
                <c:pt idx="538">
                  <c:v>500</c:v>
                </c:pt>
                <c:pt idx="539">
                  <c:v>500</c:v>
                </c:pt>
                <c:pt idx="540">
                  <c:v>500</c:v>
                </c:pt>
                <c:pt idx="541">
                  <c:v>500</c:v>
                </c:pt>
                <c:pt idx="542">
                  <c:v>500</c:v>
                </c:pt>
                <c:pt idx="543">
                  <c:v>500</c:v>
                </c:pt>
                <c:pt idx="544">
                  <c:v>500</c:v>
                </c:pt>
                <c:pt idx="545">
                  <c:v>500</c:v>
                </c:pt>
                <c:pt idx="546">
                  <c:v>500</c:v>
                </c:pt>
                <c:pt idx="547">
                  <c:v>500</c:v>
                </c:pt>
                <c:pt idx="548">
                  <c:v>500</c:v>
                </c:pt>
                <c:pt idx="549">
                  <c:v>500</c:v>
                </c:pt>
                <c:pt idx="550">
                  <c:v>500</c:v>
                </c:pt>
                <c:pt idx="551">
                  <c:v>500</c:v>
                </c:pt>
                <c:pt idx="552">
                  <c:v>500</c:v>
                </c:pt>
                <c:pt idx="553">
                  <c:v>500</c:v>
                </c:pt>
                <c:pt idx="554">
                  <c:v>500</c:v>
                </c:pt>
                <c:pt idx="555">
                  <c:v>500</c:v>
                </c:pt>
                <c:pt idx="556">
                  <c:v>500</c:v>
                </c:pt>
                <c:pt idx="557">
                  <c:v>500</c:v>
                </c:pt>
                <c:pt idx="558">
                  <c:v>500</c:v>
                </c:pt>
                <c:pt idx="559">
                  <c:v>500</c:v>
                </c:pt>
                <c:pt idx="560">
                  <c:v>500</c:v>
                </c:pt>
                <c:pt idx="561">
                  <c:v>500</c:v>
                </c:pt>
                <c:pt idx="562">
                  <c:v>500</c:v>
                </c:pt>
                <c:pt idx="563">
                  <c:v>500</c:v>
                </c:pt>
                <c:pt idx="564">
                  <c:v>500</c:v>
                </c:pt>
                <c:pt idx="565">
                  <c:v>500</c:v>
                </c:pt>
                <c:pt idx="566">
                  <c:v>500</c:v>
                </c:pt>
                <c:pt idx="567">
                  <c:v>500</c:v>
                </c:pt>
                <c:pt idx="568">
                  <c:v>500</c:v>
                </c:pt>
                <c:pt idx="569">
                  <c:v>500</c:v>
                </c:pt>
                <c:pt idx="570">
                  <c:v>500</c:v>
                </c:pt>
                <c:pt idx="571">
                  <c:v>500</c:v>
                </c:pt>
                <c:pt idx="572">
                  <c:v>500</c:v>
                </c:pt>
                <c:pt idx="573">
                  <c:v>500</c:v>
                </c:pt>
                <c:pt idx="574">
                  <c:v>500</c:v>
                </c:pt>
                <c:pt idx="575">
                  <c:v>500</c:v>
                </c:pt>
                <c:pt idx="576">
                  <c:v>500</c:v>
                </c:pt>
                <c:pt idx="577">
                  <c:v>500</c:v>
                </c:pt>
                <c:pt idx="578">
                  <c:v>500</c:v>
                </c:pt>
                <c:pt idx="579">
                  <c:v>500</c:v>
                </c:pt>
                <c:pt idx="580">
                  <c:v>500</c:v>
                </c:pt>
                <c:pt idx="581">
                  <c:v>500</c:v>
                </c:pt>
                <c:pt idx="582">
                  <c:v>500</c:v>
                </c:pt>
                <c:pt idx="583">
                  <c:v>500</c:v>
                </c:pt>
                <c:pt idx="584">
                  <c:v>500</c:v>
                </c:pt>
                <c:pt idx="585">
                  <c:v>500</c:v>
                </c:pt>
                <c:pt idx="586">
                  <c:v>500</c:v>
                </c:pt>
                <c:pt idx="587">
                  <c:v>500</c:v>
                </c:pt>
                <c:pt idx="588">
                  <c:v>500</c:v>
                </c:pt>
                <c:pt idx="589">
                  <c:v>500</c:v>
                </c:pt>
                <c:pt idx="590">
                  <c:v>500</c:v>
                </c:pt>
                <c:pt idx="591">
                  <c:v>500</c:v>
                </c:pt>
                <c:pt idx="592">
                  <c:v>500</c:v>
                </c:pt>
                <c:pt idx="593">
                  <c:v>500</c:v>
                </c:pt>
                <c:pt idx="594">
                  <c:v>500</c:v>
                </c:pt>
                <c:pt idx="595">
                  <c:v>500</c:v>
                </c:pt>
                <c:pt idx="596">
                  <c:v>500</c:v>
                </c:pt>
                <c:pt idx="597">
                  <c:v>500</c:v>
                </c:pt>
                <c:pt idx="598">
                  <c:v>500</c:v>
                </c:pt>
                <c:pt idx="599">
                  <c:v>500</c:v>
                </c:pt>
                <c:pt idx="600">
                  <c:v>500</c:v>
                </c:pt>
                <c:pt idx="601">
                  <c:v>500</c:v>
                </c:pt>
                <c:pt idx="602">
                  <c:v>500</c:v>
                </c:pt>
                <c:pt idx="603">
                  <c:v>500</c:v>
                </c:pt>
                <c:pt idx="604">
                  <c:v>500</c:v>
                </c:pt>
                <c:pt idx="605">
                  <c:v>500</c:v>
                </c:pt>
                <c:pt idx="606">
                  <c:v>500</c:v>
                </c:pt>
                <c:pt idx="607">
                  <c:v>500</c:v>
                </c:pt>
                <c:pt idx="608">
                  <c:v>500</c:v>
                </c:pt>
                <c:pt idx="609">
                  <c:v>500</c:v>
                </c:pt>
                <c:pt idx="610">
                  <c:v>500</c:v>
                </c:pt>
                <c:pt idx="611">
                  <c:v>500</c:v>
                </c:pt>
                <c:pt idx="612">
                  <c:v>500</c:v>
                </c:pt>
                <c:pt idx="613">
                  <c:v>500</c:v>
                </c:pt>
                <c:pt idx="614">
                  <c:v>500</c:v>
                </c:pt>
                <c:pt idx="615">
                  <c:v>500</c:v>
                </c:pt>
                <c:pt idx="616">
                  <c:v>500</c:v>
                </c:pt>
                <c:pt idx="617">
                  <c:v>500</c:v>
                </c:pt>
                <c:pt idx="618">
                  <c:v>500</c:v>
                </c:pt>
                <c:pt idx="619">
                  <c:v>500</c:v>
                </c:pt>
                <c:pt idx="620">
                  <c:v>500</c:v>
                </c:pt>
                <c:pt idx="621">
                  <c:v>500</c:v>
                </c:pt>
                <c:pt idx="622">
                  <c:v>500</c:v>
                </c:pt>
                <c:pt idx="623">
                  <c:v>500</c:v>
                </c:pt>
                <c:pt idx="624">
                  <c:v>500</c:v>
                </c:pt>
                <c:pt idx="625">
                  <c:v>500</c:v>
                </c:pt>
                <c:pt idx="626">
                  <c:v>500</c:v>
                </c:pt>
                <c:pt idx="627">
                  <c:v>500</c:v>
                </c:pt>
                <c:pt idx="628">
                  <c:v>500</c:v>
                </c:pt>
                <c:pt idx="629">
                  <c:v>500</c:v>
                </c:pt>
                <c:pt idx="630">
                  <c:v>500</c:v>
                </c:pt>
                <c:pt idx="631">
                  <c:v>500</c:v>
                </c:pt>
                <c:pt idx="632">
                  <c:v>500</c:v>
                </c:pt>
                <c:pt idx="633">
                  <c:v>500</c:v>
                </c:pt>
                <c:pt idx="634">
                  <c:v>500</c:v>
                </c:pt>
                <c:pt idx="635">
                  <c:v>500</c:v>
                </c:pt>
                <c:pt idx="636">
                  <c:v>500</c:v>
                </c:pt>
                <c:pt idx="637">
                  <c:v>500</c:v>
                </c:pt>
                <c:pt idx="638">
                  <c:v>500</c:v>
                </c:pt>
                <c:pt idx="639">
                  <c:v>500</c:v>
                </c:pt>
                <c:pt idx="640">
                  <c:v>500</c:v>
                </c:pt>
                <c:pt idx="641">
                  <c:v>500</c:v>
                </c:pt>
                <c:pt idx="642">
                  <c:v>500</c:v>
                </c:pt>
                <c:pt idx="643">
                  <c:v>500</c:v>
                </c:pt>
                <c:pt idx="644">
                  <c:v>500</c:v>
                </c:pt>
                <c:pt idx="645">
                  <c:v>500</c:v>
                </c:pt>
                <c:pt idx="646">
                  <c:v>500</c:v>
                </c:pt>
                <c:pt idx="647">
                  <c:v>500</c:v>
                </c:pt>
                <c:pt idx="648">
                  <c:v>500</c:v>
                </c:pt>
                <c:pt idx="649">
                  <c:v>500</c:v>
                </c:pt>
                <c:pt idx="650">
                  <c:v>500</c:v>
                </c:pt>
                <c:pt idx="651">
                  <c:v>500</c:v>
                </c:pt>
                <c:pt idx="652">
                  <c:v>500</c:v>
                </c:pt>
                <c:pt idx="653">
                  <c:v>500</c:v>
                </c:pt>
                <c:pt idx="654">
                  <c:v>500</c:v>
                </c:pt>
                <c:pt idx="655">
                  <c:v>500</c:v>
                </c:pt>
                <c:pt idx="656">
                  <c:v>500</c:v>
                </c:pt>
                <c:pt idx="657">
                  <c:v>500</c:v>
                </c:pt>
                <c:pt idx="658">
                  <c:v>500</c:v>
                </c:pt>
                <c:pt idx="659">
                  <c:v>500</c:v>
                </c:pt>
                <c:pt idx="660">
                  <c:v>500</c:v>
                </c:pt>
                <c:pt idx="661">
                  <c:v>500</c:v>
                </c:pt>
                <c:pt idx="662">
                  <c:v>500</c:v>
                </c:pt>
                <c:pt idx="663">
                  <c:v>500</c:v>
                </c:pt>
                <c:pt idx="664">
                  <c:v>500</c:v>
                </c:pt>
                <c:pt idx="665">
                  <c:v>500</c:v>
                </c:pt>
                <c:pt idx="666">
                  <c:v>500</c:v>
                </c:pt>
                <c:pt idx="667">
                  <c:v>500</c:v>
                </c:pt>
                <c:pt idx="668">
                  <c:v>500</c:v>
                </c:pt>
                <c:pt idx="669">
                  <c:v>500</c:v>
                </c:pt>
                <c:pt idx="670">
                  <c:v>500</c:v>
                </c:pt>
                <c:pt idx="671">
                  <c:v>500</c:v>
                </c:pt>
                <c:pt idx="672">
                  <c:v>500</c:v>
                </c:pt>
                <c:pt idx="673">
                  <c:v>500</c:v>
                </c:pt>
                <c:pt idx="674">
                  <c:v>500</c:v>
                </c:pt>
                <c:pt idx="675">
                  <c:v>500</c:v>
                </c:pt>
                <c:pt idx="676">
                  <c:v>500</c:v>
                </c:pt>
                <c:pt idx="677">
                  <c:v>500</c:v>
                </c:pt>
                <c:pt idx="678">
                  <c:v>500</c:v>
                </c:pt>
                <c:pt idx="679">
                  <c:v>500</c:v>
                </c:pt>
                <c:pt idx="680">
                  <c:v>500</c:v>
                </c:pt>
                <c:pt idx="681">
                  <c:v>500</c:v>
                </c:pt>
                <c:pt idx="682">
                  <c:v>500</c:v>
                </c:pt>
                <c:pt idx="683">
                  <c:v>500</c:v>
                </c:pt>
                <c:pt idx="684">
                  <c:v>500</c:v>
                </c:pt>
                <c:pt idx="685">
                  <c:v>500</c:v>
                </c:pt>
                <c:pt idx="686">
                  <c:v>500</c:v>
                </c:pt>
                <c:pt idx="687">
                  <c:v>500</c:v>
                </c:pt>
                <c:pt idx="688">
                  <c:v>500</c:v>
                </c:pt>
                <c:pt idx="689">
                  <c:v>500</c:v>
                </c:pt>
                <c:pt idx="690">
                  <c:v>500</c:v>
                </c:pt>
                <c:pt idx="691">
                  <c:v>500</c:v>
                </c:pt>
                <c:pt idx="692">
                  <c:v>500</c:v>
                </c:pt>
                <c:pt idx="693">
                  <c:v>500</c:v>
                </c:pt>
                <c:pt idx="694">
                  <c:v>500</c:v>
                </c:pt>
                <c:pt idx="695">
                  <c:v>500</c:v>
                </c:pt>
                <c:pt idx="696">
                  <c:v>500</c:v>
                </c:pt>
                <c:pt idx="697">
                  <c:v>450</c:v>
                </c:pt>
                <c:pt idx="698">
                  <c:v>450</c:v>
                </c:pt>
                <c:pt idx="699">
                  <c:v>450</c:v>
                </c:pt>
                <c:pt idx="700">
                  <c:v>450</c:v>
                </c:pt>
                <c:pt idx="701">
                  <c:v>450</c:v>
                </c:pt>
                <c:pt idx="702">
                  <c:v>450</c:v>
                </c:pt>
                <c:pt idx="703">
                  <c:v>450</c:v>
                </c:pt>
                <c:pt idx="704">
                  <c:v>450</c:v>
                </c:pt>
                <c:pt idx="705">
                  <c:v>450</c:v>
                </c:pt>
                <c:pt idx="706">
                  <c:v>450</c:v>
                </c:pt>
                <c:pt idx="707">
                  <c:v>450</c:v>
                </c:pt>
                <c:pt idx="708">
                  <c:v>450</c:v>
                </c:pt>
                <c:pt idx="709">
                  <c:v>450</c:v>
                </c:pt>
                <c:pt idx="710">
                  <c:v>450</c:v>
                </c:pt>
                <c:pt idx="711">
                  <c:v>450</c:v>
                </c:pt>
                <c:pt idx="712">
                  <c:v>450</c:v>
                </c:pt>
                <c:pt idx="713">
                  <c:v>450</c:v>
                </c:pt>
                <c:pt idx="714">
                  <c:v>450</c:v>
                </c:pt>
                <c:pt idx="715">
                  <c:v>450</c:v>
                </c:pt>
                <c:pt idx="716">
                  <c:v>450</c:v>
                </c:pt>
                <c:pt idx="717">
                  <c:v>450</c:v>
                </c:pt>
                <c:pt idx="718">
                  <c:v>450</c:v>
                </c:pt>
                <c:pt idx="719">
                  <c:v>450</c:v>
                </c:pt>
                <c:pt idx="720">
                  <c:v>450</c:v>
                </c:pt>
                <c:pt idx="721">
                  <c:v>450</c:v>
                </c:pt>
                <c:pt idx="722">
                  <c:v>450</c:v>
                </c:pt>
                <c:pt idx="723">
                  <c:v>450</c:v>
                </c:pt>
                <c:pt idx="724">
                  <c:v>450</c:v>
                </c:pt>
                <c:pt idx="725">
                  <c:v>450</c:v>
                </c:pt>
                <c:pt idx="726">
                  <c:v>450</c:v>
                </c:pt>
                <c:pt idx="727">
                  <c:v>450</c:v>
                </c:pt>
                <c:pt idx="728">
                  <c:v>450</c:v>
                </c:pt>
                <c:pt idx="729">
                  <c:v>450</c:v>
                </c:pt>
                <c:pt idx="730">
                  <c:v>450</c:v>
                </c:pt>
                <c:pt idx="731">
                  <c:v>450</c:v>
                </c:pt>
                <c:pt idx="732">
                  <c:v>450</c:v>
                </c:pt>
                <c:pt idx="733">
                  <c:v>450</c:v>
                </c:pt>
                <c:pt idx="734">
                  <c:v>450</c:v>
                </c:pt>
                <c:pt idx="735">
                  <c:v>450</c:v>
                </c:pt>
                <c:pt idx="736">
                  <c:v>450</c:v>
                </c:pt>
                <c:pt idx="737">
                  <c:v>450</c:v>
                </c:pt>
                <c:pt idx="738">
                  <c:v>450</c:v>
                </c:pt>
                <c:pt idx="739">
                  <c:v>450</c:v>
                </c:pt>
                <c:pt idx="740">
                  <c:v>450</c:v>
                </c:pt>
                <c:pt idx="741">
                  <c:v>450</c:v>
                </c:pt>
              </c:numCache>
            </c:numRef>
          </c:val>
          <c:smooth val="0"/>
          <c:extLst>
            <c:ext xmlns:c16="http://schemas.microsoft.com/office/drawing/2014/chart" uri="{C3380CC4-5D6E-409C-BE32-E72D297353CC}">
              <c16:uniqueId val="{00000003-BD69-4FD6-A7D6-508AE9A3F891}"/>
            </c:ext>
          </c:extLst>
        </c:ser>
        <c:ser>
          <c:idx val="4"/>
          <c:order val="4"/>
          <c:tx>
            <c:strRef>
              <c:f>硅石价格图表!$AN$2</c:f>
              <c:strCache>
                <c:ptCount val="1"/>
                <c:pt idx="0">
                  <c:v>陕西</c:v>
                </c:pt>
              </c:strCache>
            </c:strRef>
          </c:tx>
          <c:spPr>
            <a:ln w="19050" cap="rnd">
              <a:solidFill>
                <a:schemeClr val="accent5"/>
              </a:solidFill>
              <a:round/>
            </a:ln>
            <a:effectLst/>
          </c:spPr>
          <c:marker>
            <c:symbol val="none"/>
          </c:marker>
          <c:cat>
            <c:numRef>
              <c:f>硅石价格图表!$AI$3:$AI$744</c:f>
              <c:numCache>
                <c:formatCode>m/d/yyyy</c:formatCode>
                <c:ptCount val="742"/>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pt idx="738">
                  <c:v>44739</c:v>
                </c:pt>
                <c:pt idx="739">
                  <c:v>44738</c:v>
                </c:pt>
                <c:pt idx="740">
                  <c:v>44737</c:v>
                </c:pt>
                <c:pt idx="741">
                  <c:v>44736</c:v>
                </c:pt>
              </c:numCache>
            </c:numRef>
          </c:cat>
          <c:val>
            <c:numRef>
              <c:f>硅石价格图表!$AN$3:$AN$744</c:f>
              <c:numCache>
                <c:formatCode>General</c:formatCode>
                <c:ptCount val="742"/>
                <c:pt idx="0">
                  <c:v>270</c:v>
                </c:pt>
                <c:pt idx="1">
                  <c:v>270</c:v>
                </c:pt>
                <c:pt idx="2">
                  <c:v>270</c:v>
                </c:pt>
                <c:pt idx="3">
                  <c:v>270</c:v>
                </c:pt>
                <c:pt idx="4">
                  <c:v>270</c:v>
                </c:pt>
                <c:pt idx="5">
                  <c:v>270</c:v>
                </c:pt>
                <c:pt idx="6">
                  <c:v>270</c:v>
                </c:pt>
                <c:pt idx="7">
                  <c:v>270</c:v>
                </c:pt>
                <c:pt idx="8">
                  <c:v>270</c:v>
                </c:pt>
                <c:pt idx="9">
                  <c:v>270</c:v>
                </c:pt>
                <c:pt idx="10">
                  <c:v>270</c:v>
                </c:pt>
                <c:pt idx="11">
                  <c:v>270</c:v>
                </c:pt>
                <c:pt idx="12">
                  <c:v>270</c:v>
                </c:pt>
                <c:pt idx="13">
                  <c:v>270</c:v>
                </c:pt>
                <c:pt idx="14">
                  <c:v>270</c:v>
                </c:pt>
                <c:pt idx="15">
                  <c:v>270</c:v>
                </c:pt>
                <c:pt idx="16">
                  <c:v>270</c:v>
                </c:pt>
                <c:pt idx="17">
                  <c:v>270</c:v>
                </c:pt>
                <c:pt idx="18">
                  <c:v>270</c:v>
                </c:pt>
                <c:pt idx="19">
                  <c:v>270</c:v>
                </c:pt>
                <c:pt idx="20">
                  <c:v>270</c:v>
                </c:pt>
                <c:pt idx="21">
                  <c:v>270</c:v>
                </c:pt>
                <c:pt idx="22">
                  <c:v>270</c:v>
                </c:pt>
                <c:pt idx="23">
                  <c:v>270</c:v>
                </c:pt>
                <c:pt idx="24">
                  <c:v>270</c:v>
                </c:pt>
                <c:pt idx="25">
                  <c:v>270</c:v>
                </c:pt>
                <c:pt idx="26">
                  <c:v>270</c:v>
                </c:pt>
                <c:pt idx="27">
                  <c:v>270</c:v>
                </c:pt>
                <c:pt idx="28">
                  <c:v>270</c:v>
                </c:pt>
                <c:pt idx="29">
                  <c:v>270</c:v>
                </c:pt>
                <c:pt idx="30">
                  <c:v>270</c:v>
                </c:pt>
                <c:pt idx="31">
                  <c:v>270</c:v>
                </c:pt>
                <c:pt idx="32">
                  <c:v>270</c:v>
                </c:pt>
                <c:pt idx="33">
                  <c:v>270</c:v>
                </c:pt>
                <c:pt idx="34">
                  <c:v>270</c:v>
                </c:pt>
                <c:pt idx="35">
                  <c:v>270</c:v>
                </c:pt>
                <c:pt idx="36">
                  <c:v>270</c:v>
                </c:pt>
                <c:pt idx="37">
                  <c:v>270</c:v>
                </c:pt>
                <c:pt idx="38">
                  <c:v>270</c:v>
                </c:pt>
                <c:pt idx="39">
                  <c:v>270</c:v>
                </c:pt>
                <c:pt idx="40">
                  <c:v>270</c:v>
                </c:pt>
                <c:pt idx="41">
                  <c:v>270</c:v>
                </c:pt>
                <c:pt idx="42">
                  <c:v>270</c:v>
                </c:pt>
                <c:pt idx="43">
                  <c:v>270</c:v>
                </c:pt>
                <c:pt idx="44">
                  <c:v>270</c:v>
                </c:pt>
                <c:pt idx="45">
                  <c:v>270</c:v>
                </c:pt>
                <c:pt idx="46">
                  <c:v>270</c:v>
                </c:pt>
                <c:pt idx="47">
                  <c:v>270</c:v>
                </c:pt>
                <c:pt idx="48">
                  <c:v>270</c:v>
                </c:pt>
                <c:pt idx="49">
                  <c:v>270</c:v>
                </c:pt>
                <c:pt idx="50">
                  <c:v>270</c:v>
                </c:pt>
                <c:pt idx="51">
                  <c:v>270</c:v>
                </c:pt>
                <c:pt idx="52">
                  <c:v>270</c:v>
                </c:pt>
                <c:pt idx="53">
                  <c:v>270</c:v>
                </c:pt>
                <c:pt idx="54">
                  <c:v>270</c:v>
                </c:pt>
                <c:pt idx="55">
                  <c:v>270</c:v>
                </c:pt>
                <c:pt idx="56">
                  <c:v>270</c:v>
                </c:pt>
                <c:pt idx="57">
                  <c:v>270</c:v>
                </c:pt>
                <c:pt idx="58">
                  <c:v>270</c:v>
                </c:pt>
                <c:pt idx="59">
                  <c:v>270</c:v>
                </c:pt>
                <c:pt idx="60">
                  <c:v>270</c:v>
                </c:pt>
                <c:pt idx="61">
                  <c:v>270</c:v>
                </c:pt>
                <c:pt idx="62">
                  <c:v>270</c:v>
                </c:pt>
                <c:pt idx="63">
                  <c:v>270</c:v>
                </c:pt>
                <c:pt idx="64">
                  <c:v>270</c:v>
                </c:pt>
                <c:pt idx="65">
                  <c:v>270</c:v>
                </c:pt>
                <c:pt idx="66">
                  <c:v>270</c:v>
                </c:pt>
                <c:pt idx="67">
                  <c:v>270</c:v>
                </c:pt>
                <c:pt idx="68">
                  <c:v>270</c:v>
                </c:pt>
                <c:pt idx="69">
                  <c:v>270</c:v>
                </c:pt>
                <c:pt idx="70">
                  <c:v>270</c:v>
                </c:pt>
                <c:pt idx="71">
                  <c:v>270</c:v>
                </c:pt>
                <c:pt idx="72">
                  <c:v>270</c:v>
                </c:pt>
                <c:pt idx="73">
                  <c:v>270</c:v>
                </c:pt>
                <c:pt idx="74">
                  <c:v>270</c:v>
                </c:pt>
                <c:pt idx="75">
                  <c:v>270</c:v>
                </c:pt>
                <c:pt idx="76">
                  <c:v>270</c:v>
                </c:pt>
                <c:pt idx="77">
                  <c:v>270</c:v>
                </c:pt>
                <c:pt idx="78">
                  <c:v>270</c:v>
                </c:pt>
                <c:pt idx="79">
                  <c:v>270</c:v>
                </c:pt>
                <c:pt idx="80">
                  <c:v>270</c:v>
                </c:pt>
                <c:pt idx="81">
                  <c:v>270</c:v>
                </c:pt>
                <c:pt idx="82">
                  <c:v>270</c:v>
                </c:pt>
                <c:pt idx="83">
                  <c:v>270</c:v>
                </c:pt>
                <c:pt idx="84">
                  <c:v>270</c:v>
                </c:pt>
                <c:pt idx="85">
                  <c:v>270</c:v>
                </c:pt>
                <c:pt idx="86">
                  <c:v>270</c:v>
                </c:pt>
                <c:pt idx="87">
                  <c:v>270</c:v>
                </c:pt>
                <c:pt idx="88">
                  <c:v>270</c:v>
                </c:pt>
                <c:pt idx="89">
                  <c:v>270</c:v>
                </c:pt>
                <c:pt idx="90">
                  <c:v>270</c:v>
                </c:pt>
                <c:pt idx="91">
                  <c:v>270</c:v>
                </c:pt>
                <c:pt idx="92">
                  <c:v>270</c:v>
                </c:pt>
                <c:pt idx="93">
                  <c:v>270</c:v>
                </c:pt>
                <c:pt idx="94">
                  <c:v>270</c:v>
                </c:pt>
                <c:pt idx="95">
                  <c:v>270</c:v>
                </c:pt>
                <c:pt idx="96">
                  <c:v>270</c:v>
                </c:pt>
                <c:pt idx="97">
                  <c:v>270</c:v>
                </c:pt>
                <c:pt idx="98">
                  <c:v>270</c:v>
                </c:pt>
                <c:pt idx="99">
                  <c:v>270</c:v>
                </c:pt>
                <c:pt idx="100">
                  <c:v>270</c:v>
                </c:pt>
                <c:pt idx="101">
                  <c:v>270</c:v>
                </c:pt>
                <c:pt idx="102">
                  <c:v>270</c:v>
                </c:pt>
                <c:pt idx="103">
                  <c:v>270</c:v>
                </c:pt>
                <c:pt idx="104">
                  <c:v>270</c:v>
                </c:pt>
                <c:pt idx="105">
                  <c:v>270</c:v>
                </c:pt>
                <c:pt idx="106">
                  <c:v>270</c:v>
                </c:pt>
                <c:pt idx="107">
                  <c:v>270</c:v>
                </c:pt>
                <c:pt idx="108">
                  <c:v>270</c:v>
                </c:pt>
                <c:pt idx="109">
                  <c:v>270</c:v>
                </c:pt>
                <c:pt idx="110">
                  <c:v>270</c:v>
                </c:pt>
                <c:pt idx="111">
                  <c:v>270</c:v>
                </c:pt>
                <c:pt idx="112">
                  <c:v>270</c:v>
                </c:pt>
                <c:pt idx="113">
                  <c:v>270</c:v>
                </c:pt>
                <c:pt idx="114">
                  <c:v>270</c:v>
                </c:pt>
                <c:pt idx="115">
                  <c:v>270</c:v>
                </c:pt>
                <c:pt idx="116">
                  <c:v>270</c:v>
                </c:pt>
                <c:pt idx="117">
                  <c:v>270</c:v>
                </c:pt>
                <c:pt idx="118">
                  <c:v>270</c:v>
                </c:pt>
                <c:pt idx="119">
                  <c:v>270</c:v>
                </c:pt>
                <c:pt idx="120">
                  <c:v>270</c:v>
                </c:pt>
                <c:pt idx="121">
                  <c:v>270</c:v>
                </c:pt>
                <c:pt idx="122">
                  <c:v>270</c:v>
                </c:pt>
                <c:pt idx="123">
                  <c:v>270</c:v>
                </c:pt>
                <c:pt idx="124">
                  <c:v>270</c:v>
                </c:pt>
                <c:pt idx="125">
                  <c:v>270</c:v>
                </c:pt>
                <c:pt idx="126">
                  <c:v>270</c:v>
                </c:pt>
                <c:pt idx="127">
                  <c:v>270</c:v>
                </c:pt>
                <c:pt idx="128">
                  <c:v>270</c:v>
                </c:pt>
                <c:pt idx="129">
                  <c:v>270</c:v>
                </c:pt>
                <c:pt idx="130">
                  <c:v>270</c:v>
                </c:pt>
                <c:pt idx="131">
                  <c:v>270</c:v>
                </c:pt>
                <c:pt idx="132">
                  <c:v>270</c:v>
                </c:pt>
                <c:pt idx="133">
                  <c:v>270</c:v>
                </c:pt>
                <c:pt idx="134">
                  <c:v>270</c:v>
                </c:pt>
                <c:pt idx="135">
                  <c:v>270</c:v>
                </c:pt>
                <c:pt idx="136">
                  <c:v>270</c:v>
                </c:pt>
                <c:pt idx="137">
                  <c:v>270</c:v>
                </c:pt>
                <c:pt idx="138">
                  <c:v>270</c:v>
                </c:pt>
                <c:pt idx="139">
                  <c:v>270</c:v>
                </c:pt>
                <c:pt idx="140">
                  <c:v>270</c:v>
                </c:pt>
                <c:pt idx="141">
                  <c:v>270</c:v>
                </c:pt>
                <c:pt idx="142">
                  <c:v>270</c:v>
                </c:pt>
                <c:pt idx="143">
                  <c:v>270</c:v>
                </c:pt>
                <c:pt idx="144">
                  <c:v>270</c:v>
                </c:pt>
                <c:pt idx="145">
                  <c:v>270</c:v>
                </c:pt>
                <c:pt idx="146">
                  <c:v>270</c:v>
                </c:pt>
                <c:pt idx="147">
                  <c:v>270</c:v>
                </c:pt>
                <c:pt idx="148">
                  <c:v>270</c:v>
                </c:pt>
                <c:pt idx="149">
                  <c:v>270</c:v>
                </c:pt>
                <c:pt idx="150">
                  <c:v>270</c:v>
                </c:pt>
                <c:pt idx="151">
                  <c:v>270</c:v>
                </c:pt>
                <c:pt idx="152">
                  <c:v>270</c:v>
                </c:pt>
                <c:pt idx="153">
                  <c:v>270</c:v>
                </c:pt>
                <c:pt idx="154">
                  <c:v>270</c:v>
                </c:pt>
                <c:pt idx="155">
                  <c:v>270</c:v>
                </c:pt>
                <c:pt idx="156">
                  <c:v>270</c:v>
                </c:pt>
                <c:pt idx="157">
                  <c:v>270</c:v>
                </c:pt>
                <c:pt idx="158">
                  <c:v>270</c:v>
                </c:pt>
                <c:pt idx="159">
                  <c:v>270</c:v>
                </c:pt>
                <c:pt idx="160">
                  <c:v>270</c:v>
                </c:pt>
                <c:pt idx="161">
                  <c:v>270</c:v>
                </c:pt>
                <c:pt idx="162">
                  <c:v>270</c:v>
                </c:pt>
                <c:pt idx="163">
                  <c:v>270</c:v>
                </c:pt>
                <c:pt idx="164">
                  <c:v>270</c:v>
                </c:pt>
                <c:pt idx="165">
                  <c:v>270</c:v>
                </c:pt>
                <c:pt idx="166">
                  <c:v>270</c:v>
                </c:pt>
                <c:pt idx="167">
                  <c:v>270</c:v>
                </c:pt>
                <c:pt idx="168">
                  <c:v>270</c:v>
                </c:pt>
                <c:pt idx="169">
                  <c:v>270</c:v>
                </c:pt>
                <c:pt idx="170">
                  <c:v>270</c:v>
                </c:pt>
                <c:pt idx="171">
                  <c:v>270</c:v>
                </c:pt>
                <c:pt idx="172">
                  <c:v>270</c:v>
                </c:pt>
                <c:pt idx="173">
                  <c:v>270</c:v>
                </c:pt>
                <c:pt idx="174">
                  <c:v>270</c:v>
                </c:pt>
                <c:pt idx="175">
                  <c:v>270</c:v>
                </c:pt>
                <c:pt idx="176">
                  <c:v>270</c:v>
                </c:pt>
                <c:pt idx="177">
                  <c:v>270</c:v>
                </c:pt>
                <c:pt idx="178">
                  <c:v>270</c:v>
                </c:pt>
                <c:pt idx="179">
                  <c:v>270</c:v>
                </c:pt>
                <c:pt idx="180">
                  <c:v>270</c:v>
                </c:pt>
                <c:pt idx="181">
                  <c:v>270</c:v>
                </c:pt>
                <c:pt idx="182">
                  <c:v>270</c:v>
                </c:pt>
                <c:pt idx="183">
                  <c:v>270</c:v>
                </c:pt>
                <c:pt idx="184">
                  <c:v>270</c:v>
                </c:pt>
                <c:pt idx="185">
                  <c:v>270</c:v>
                </c:pt>
                <c:pt idx="186">
                  <c:v>270</c:v>
                </c:pt>
                <c:pt idx="187">
                  <c:v>270</c:v>
                </c:pt>
                <c:pt idx="188">
                  <c:v>270</c:v>
                </c:pt>
                <c:pt idx="189">
                  <c:v>270</c:v>
                </c:pt>
                <c:pt idx="190">
                  <c:v>270</c:v>
                </c:pt>
                <c:pt idx="191">
                  <c:v>270</c:v>
                </c:pt>
                <c:pt idx="192">
                  <c:v>270</c:v>
                </c:pt>
                <c:pt idx="193">
                  <c:v>270</c:v>
                </c:pt>
                <c:pt idx="194">
                  <c:v>270</c:v>
                </c:pt>
                <c:pt idx="195">
                  <c:v>270</c:v>
                </c:pt>
                <c:pt idx="196">
                  <c:v>270</c:v>
                </c:pt>
                <c:pt idx="197">
                  <c:v>270</c:v>
                </c:pt>
                <c:pt idx="198">
                  <c:v>270</c:v>
                </c:pt>
                <c:pt idx="199">
                  <c:v>270</c:v>
                </c:pt>
                <c:pt idx="200">
                  <c:v>270</c:v>
                </c:pt>
                <c:pt idx="201">
                  <c:v>270</c:v>
                </c:pt>
                <c:pt idx="202">
                  <c:v>270</c:v>
                </c:pt>
                <c:pt idx="203">
                  <c:v>270</c:v>
                </c:pt>
                <c:pt idx="204">
                  <c:v>270</c:v>
                </c:pt>
                <c:pt idx="205">
                  <c:v>270</c:v>
                </c:pt>
                <c:pt idx="206">
                  <c:v>270</c:v>
                </c:pt>
                <c:pt idx="207">
                  <c:v>270</c:v>
                </c:pt>
                <c:pt idx="208">
                  <c:v>270</c:v>
                </c:pt>
                <c:pt idx="209">
                  <c:v>270</c:v>
                </c:pt>
                <c:pt idx="210">
                  <c:v>270</c:v>
                </c:pt>
                <c:pt idx="211">
                  <c:v>270</c:v>
                </c:pt>
                <c:pt idx="212">
                  <c:v>270</c:v>
                </c:pt>
                <c:pt idx="213">
                  <c:v>270</c:v>
                </c:pt>
                <c:pt idx="214">
                  <c:v>270</c:v>
                </c:pt>
                <c:pt idx="215">
                  <c:v>270</c:v>
                </c:pt>
                <c:pt idx="216">
                  <c:v>270</c:v>
                </c:pt>
                <c:pt idx="217">
                  <c:v>270</c:v>
                </c:pt>
                <c:pt idx="218">
                  <c:v>270</c:v>
                </c:pt>
                <c:pt idx="219">
                  <c:v>270</c:v>
                </c:pt>
                <c:pt idx="220">
                  <c:v>270</c:v>
                </c:pt>
                <c:pt idx="221">
                  <c:v>270</c:v>
                </c:pt>
                <c:pt idx="222">
                  <c:v>270</c:v>
                </c:pt>
                <c:pt idx="223">
                  <c:v>270</c:v>
                </c:pt>
                <c:pt idx="224">
                  <c:v>270</c:v>
                </c:pt>
                <c:pt idx="225">
                  <c:v>270</c:v>
                </c:pt>
                <c:pt idx="226">
                  <c:v>270</c:v>
                </c:pt>
                <c:pt idx="227">
                  <c:v>270</c:v>
                </c:pt>
                <c:pt idx="228">
                  <c:v>270</c:v>
                </c:pt>
                <c:pt idx="229">
                  <c:v>270</c:v>
                </c:pt>
                <c:pt idx="230">
                  <c:v>270</c:v>
                </c:pt>
                <c:pt idx="231">
                  <c:v>270</c:v>
                </c:pt>
                <c:pt idx="232">
                  <c:v>270</c:v>
                </c:pt>
                <c:pt idx="233">
                  <c:v>270</c:v>
                </c:pt>
                <c:pt idx="234">
                  <c:v>270</c:v>
                </c:pt>
                <c:pt idx="235">
                  <c:v>270</c:v>
                </c:pt>
                <c:pt idx="236">
                  <c:v>270</c:v>
                </c:pt>
                <c:pt idx="237">
                  <c:v>270</c:v>
                </c:pt>
                <c:pt idx="238">
                  <c:v>270</c:v>
                </c:pt>
                <c:pt idx="239">
                  <c:v>270</c:v>
                </c:pt>
                <c:pt idx="240">
                  <c:v>270</c:v>
                </c:pt>
                <c:pt idx="241">
                  <c:v>270</c:v>
                </c:pt>
                <c:pt idx="242">
                  <c:v>270</c:v>
                </c:pt>
                <c:pt idx="243">
                  <c:v>270</c:v>
                </c:pt>
                <c:pt idx="244">
                  <c:v>270</c:v>
                </c:pt>
                <c:pt idx="245">
                  <c:v>270</c:v>
                </c:pt>
                <c:pt idx="246">
                  <c:v>270</c:v>
                </c:pt>
                <c:pt idx="247">
                  <c:v>270</c:v>
                </c:pt>
                <c:pt idx="248">
                  <c:v>270</c:v>
                </c:pt>
                <c:pt idx="249">
                  <c:v>270</c:v>
                </c:pt>
                <c:pt idx="250">
                  <c:v>270</c:v>
                </c:pt>
                <c:pt idx="251">
                  <c:v>270</c:v>
                </c:pt>
                <c:pt idx="252">
                  <c:v>270</c:v>
                </c:pt>
                <c:pt idx="253">
                  <c:v>270</c:v>
                </c:pt>
                <c:pt idx="254">
                  <c:v>270</c:v>
                </c:pt>
                <c:pt idx="255">
                  <c:v>270</c:v>
                </c:pt>
                <c:pt idx="256">
                  <c:v>270</c:v>
                </c:pt>
                <c:pt idx="257">
                  <c:v>270</c:v>
                </c:pt>
                <c:pt idx="258">
                  <c:v>270</c:v>
                </c:pt>
                <c:pt idx="259">
                  <c:v>270</c:v>
                </c:pt>
                <c:pt idx="260">
                  <c:v>270</c:v>
                </c:pt>
                <c:pt idx="261">
                  <c:v>270</c:v>
                </c:pt>
                <c:pt idx="262">
                  <c:v>270</c:v>
                </c:pt>
                <c:pt idx="263">
                  <c:v>270</c:v>
                </c:pt>
                <c:pt idx="264">
                  <c:v>270</c:v>
                </c:pt>
                <c:pt idx="265">
                  <c:v>270</c:v>
                </c:pt>
                <c:pt idx="266">
                  <c:v>270</c:v>
                </c:pt>
                <c:pt idx="267">
                  <c:v>270</c:v>
                </c:pt>
                <c:pt idx="268">
                  <c:v>270</c:v>
                </c:pt>
                <c:pt idx="269">
                  <c:v>270</c:v>
                </c:pt>
                <c:pt idx="270">
                  <c:v>270</c:v>
                </c:pt>
                <c:pt idx="271">
                  <c:v>270</c:v>
                </c:pt>
                <c:pt idx="272">
                  <c:v>270</c:v>
                </c:pt>
                <c:pt idx="273">
                  <c:v>270</c:v>
                </c:pt>
                <c:pt idx="274">
                  <c:v>270</c:v>
                </c:pt>
                <c:pt idx="275">
                  <c:v>270</c:v>
                </c:pt>
                <c:pt idx="276">
                  <c:v>270</c:v>
                </c:pt>
                <c:pt idx="277">
                  <c:v>270</c:v>
                </c:pt>
                <c:pt idx="278">
                  <c:v>270</c:v>
                </c:pt>
                <c:pt idx="279">
                  <c:v>270</c:v>
                </c:pt>
                <c:pt idx="280">
                  <c:v>270</c:v>
                </c:pt>
                <c:pt idx="281">
                  <c:v>270</c:v>
                </c:pt>
                <c:pt idx="282">
                  <c:v>270</c:v>
                </c:pt>
                <c:pt idx="283">
                  <c:v>270</c:v>
                </c:pt>
                <c:pt idx="284">
                  <c:v>270</c:v>
                </c:pt>
                <c:pt idx="285">
                  <c:v>270</c:v>
                </c:pt>
                <c:pt idx="286">
                  <c:v>270</c:v>
                </c:pt>
                <c:pt idx="287">
                  <c:v>270</c:v>
                </c:pt>
                <c:pt idx="288">
                  <c:v>270</c:v>
                </c:pt>
                <c:pt idx="289">
                  <c:v>270</c:v>
                </c:pt>
                <c:pt idx="290">
                  <c:v>270</c:v>
                </c:pt>
                <c:pt idx="291">
                  <c:v>270</c:v>
                </c:pt>
                <c:pt idx="292">
                  <c:v>270</c:v>
                </c:pt>
                <c:pt idx="293">
                  <c:v>270</c:v>
                </c:pt>
                <c:pt idx="294">
                  <c:v>270</c:v>
                </c:pt>
                <c:pt idx="295">
                  <c:v>270</c:v>
                </c:pt>
                <c:pt idx="296">
                  <c:v>270</c:v>
                </c:pt>
                <c:pt idx="297">
                  <c:v>270</c:v>
                </c:pt>
                <c:pt idx="298">
                  <c:v>270</c:v>
                </c:pt>
                <c:pt idx="299">
                  <c:v>270</c:v>
                </c:pt>
                <c:pt idx="300">
                  <c:v>270</c:v>
                </c:pt>
                <c:pt idx="301">
                  <c:v>270</c:v>
                </c:pt>
                <c:pt idx="302">
                  <c:v>270</c:v>
                </c:pt>
                <c:pt idx="303">
                  <c:v>270</c:v>
                </c:pt>
                <c:pt idx="304">
                  <c:v>270</c:v>
                </c:pt>
                <c:pt idx="305">
                  <c:v>270</c:v>
                </c:pt>
                <c:pt idx="306">
                  <c:v>270</c:v>
                </c:pt>
                <c:pt idx="307">
                  <c:v>270</c:v>
                </c:pt>
                <c:pt idx="308">
                  <c:v>270</c:v>
                </c:pt>
                <c:pt idx="309">
                  <c:v>270</c:v>
                </c:pt>
                <c:pt idx="310">
                  <c:v>270</c:v>
                </c:pt>
                <c:pt idx="311">
                  <c:v>270</c:v>
                </c:pt>
                <c:pt idx="312">
                  <c:v>270</c:v>
                </c:pt>
                <c:pt idx="313">
                  <c:v>270</c:v>
                </c:pt>
                <c:pt idx="314">
                  <c:v>270</c:v>
                </c:pt>
                <c:pt idx="315">
                  <c:v>270</c:v>
                </c:pt>
                <c:pt idx="316">
                  <c:v>270</c:v>
                </c:pt>
                <c:pt idx="317">
                  <c:v>270</c:v>
                </c:pt>
                <c:pt idx="318">
                  <c:v>270</c:v>
                </c:pt>
                <c:pt idx="319">
                  <c:v>#N/A</c:v>
                </c:pt>
                <c:pt idx="320">
                  <c:v>#N/A</c:v>
                </c:pt>
                <c:pt idx="321">
                  <c:v>270</c:v>
                </c:pt>
                <c:pt idx="322">
                  <c:v>270</c:v>
                </c:pt>
                <c:pt idx="323">
                  <c:v>270</c:v>
                </c:pt>
                <c:pt idx="324">
                  <c:v>270</c:v>
                </c:pt>
                <c:pt idx="325">
                  <c:v>270</c:v>
                </c:pt>
                <c:pt idx="326">
                  <c:v>270</c:v>
                </c:pt>
                <c:pt idx="327">
                  <c:v>270</c:v>
                </c:pt>
                <c:pt idx="328">
                  <c:v>270</c:v>
                </c:pt>
                <c:pt idx="329">
                  <c:v>270</c:v>
                </c:pt>
                <c:pt idx="330">
                  <c:v>270</c:v>
                </c:pt>
                <c:pt idx="331">
                  <c:v>270</c:v>
                </c:pt>
                <c:pt idx="332">
                  <c:v>270</c:v>
                </c:pt>
                <c:pt idx="333">
                  <c:v>270</c:v>
                </c:pt>
                <c:pt idx="334">
                  <c:v>270</c:v>
                </c:pt>
                <c:pt idx="335">
                  <c:v>270</c:v>
                </c:pt>
                <c:pt idx="336">
                  <c:v>270</c:v>
                </c:pt>
                <c:pt idx="337">
                  <c:v>270</c:v>
                </c:pt>
                <c:pt idx="338">
                  <c:v>270</c:v>
                </c:pt>
                <c:pt idx="339">
                  <c:v>270</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270</c:v>
                </c:pt>
                <c:pt idx="359">
                  <c:v>300</c:v>
                </c:pt>
                <c:pt idx="360">
                  <c:v>300</c:v>
                </c:pt>
                <c:pt idx="361">
                  <c:v>300</c:v>
                </c:pt>
                <c:pt idx="362">
                  <c:v>300</c:v>
                </c:pt>
                <c:pt idx="363">
                  <c:v>300</c:v>
                </c:pt>
                <c:pt idx="364">
                  <c:v>300</c:v>
                </c:pt>
                <c:pt idx="365">
                  <c:v>300</c:v>
                </c:pt>
                <c:pt idx="366">
                  <c:v>300</c:v>
                </c:pt>
                <c:pt idx="367">
                  <c:v>300</c:v>
                </c:pt>
                <c:pt idx="368">
                  <c:v>300</c:v>
                </c:pt>
                <c:pt idx="369">
                  <c:v>300</c:v>
                </c:pt>
                <c:pt idx="370">
                  <c:v>300</c:v>
                </c:pt>
                <c:pt idx="371">
                  <c:v>300</c:v>
                </c:pt>
                <c:pt idx="372">
                  <c:v>300</c:v>
                </c:pt>
                <c:pt idx="373">
                  <c:v>300</c:v>
                </c:pt>
                <c:pt idx="374">
                  <c:v>300</c:v>
                </c:pt>
                <c:pt idx="375">
                  <c:v>300</c:v>
                </c:pt>
                <c:pt idx="376">
                  <c:v>300</c:v>
                </c:pt>
                <c:pt idx="377">
                  <c:v>300</c:v>
                </c:pt>
                <c:pt idx="378">
                  <c:v>300</c:v>
                </c:pt>
                <c:pt idx="379">
                  <c:v>300</c:v>
                </c:pt>
                <c:pt idx="380">
                  <c:v>300</c:v>
                </c:pt>
                <c:pt idx="381">
                  <c:v>300</c:v>
                </c:pt>
                <c:pt idx="382">
                  <c:v>300</c:v>
                </c:pt>
                <c:pt idx="383">
                  <c:v>300</c:v>
                </c:pt>
                <c:pt idx="384">
                  <c:v>300</c:v>
                </c:pt>
                <c:pt idx="385">
                  <c:v>300</c:v>
                </c:pt>
                <c:pt idx="386">
                  <c:v>300</c:v>
                </c:pt>
                <c:pt idx="387">
                  <c:v>300</c:v>
                </c:pt>
                <c:pt idx="388">
                  <c:v>300</c:v>
                </c:pt>
                <c:pt idx="389">
                  <c:v>300</c:v>
                </c:pt>
                <c:pt idx="390">
                  <c:v>300</c:v>
                </c:pt>
                <c:pt idx="391">
                  <c:v>300</c:v>
                </c:pt>
                <c:pt idx="392">
                  <c:v>300</c:v>
                </c:pt>
                <c:pt idx="393">
                  <c:v>300</c:v>
                </c:pt>
                <c:pt idx="394">
                  <c:v>300</c:v>
                </c:pt>
                <c:pt idx="395">
                  <c:v>300</c:v>
                </c:pt>
                <c:pt idx="396">
                  <c:v>300</c:v>
                </c:pt>
                <c:pt idx="397">
                  <c:v>300</c:v>
                </c:pt>
                <c:pt idx="398">
                  <c:v>300</c:v>
                </c:pt>
                <c:pt idx="399">
                  <c:v>300</c:v>
                </c:pt>
                <c:pt idx="400">
                  <c:v>300</c:v>
                </c:pt>
                <c:pt idx="401">
                  <c:v>300</c:v>
                </c:pt>
                <c:pt idx="402">
                  <c:v>300</c:v>
                </c:pt>
                <c:pt idx="403">
                  <c:v>300</c:v>
                </c:pt>
                <c:pt idx="404">
                  <c:v>300</c:v>
                </c:pt>
                <c:pt idx="405">
                  <c:v>300</c:v>
                </c:pt>
                <c:pt idx="406">
                  <c:v>300</c:v>
                </c:pt>
                <c:pt idx="407">
                  <c:v>300</c:v>
                </c:pt>
                <c:pt idx="408">
                  <c:v>300</c:v>
                </c:pt>
                <c:pt idx="409">
                  <c:v>300</c:v>
                </c:pt>
                <c:pt idx="410">
                  <c:v>300</c:v>
                </c:pt>
                <c:pt idx="411">
                  <c:v>300</c:v>
                </c:pt>
                <c:pt idx="412">
                  <c:v>300</c:v>
                </c:pt>
                <c:pt idx="413">
                  <c:v>300</c:v>
                </c:pt>
                <c:pt idx="414">
                  <c:v>300</c:v>
                </c:pt>
                <c:pt idx="415">
                  <c:v>300</c:v>
                </c:pt>
                <c:pt idx="416">
                  <c:v>300</c:v>
                </c:pt>
                <c:pt idx="417">
                  <c:v>300</c:v>
                </c:pt>
                <c:pt idx="418">
                  <c:v>300</c:v>
                </c:pt>
                <c:pt idx="419">
                  <c:v>300</c:v>
                </c:pt>
                <c:pt idx="420">
                  <c:v>300</c:v>
                </c:pt>
                <c:pt idx="421">
                  <c:v>300</c:v>
                </c:pt>
                <c:pt idx="422">
                  <c:v>300</c:v>
                </c:pt>
                <c:pt idx="423">
                  <c:v>300</c:v>
                </c:pt>
                <c:pt idx="424">
                  <c:v>300</c:v>
                </c:pt>
                <c:pt idx="425">
                  <c:v>300</c:v>
                </c:pt>
                <c:pt idx="426">
                  <c:v>300</c:v>
                </c:pt>
                <c:pt idx="427">
                  <c:v>300</c:v>
                </c:pt>
                <c:pt idx="428">
                  <c:v>300</c:v>
                </c:pt>
                <c:pt idx="429">
                  <c:v>300</c:v>
                </c:pt>
                <c:pt idx="430">
                  <c:v>300</c:v>
                </c:pt>
                <c:pt idx="431">
                  <c:v>300</c:v>
                </c:pt>
                <c:pt idx="432">
                  <c:v>300</c:v>
                </c:pt>
                <c:pt idx="433">
                  <c:v>300</c:v>
                </c:pt>
                <c:pt idx="434">
                  <c:v>300</c:v>
                </c:pt>
                <c:pt idx="435">
                  <c:v>300</c:v>
                </c:pt>
                <c:pt idx="436">
                  <c:v>300</c:v>
                </c:pt>
                <c:pt idx="437">
                  <c:v>300</c:v>
                </c:pt>
                <c:pt idx="438">
                  <c:v>300</c:v>
                </c:pt>
                <c:pt idx="439">
                  <c:v>300</c:v>
                </c:pt>
                <c:pt idx="440">
                  <c:v>300</c:v>
                </c:pt>
                <c:pt idx="441">
                  <c:v>300</c:v>
                </c:pt>
                <c:pt idx="442">
                  <c:v>300</c:v>
                </c:pt>
                <c:pt idx="443">
                  <c:v>300</c:v>
                </c:pt>
                <c:pt idx="444">
                  <c:v>300</c:v>
                </c:pt>
                <c:pt idx="445">
                  <c:v>300</c:v>
                </c:pt>
                <c:pt idx="446">
                  <c:v>300</c:v>
                </c:pt>
                <c:pt idx="447">
                  <c:v>300</c:v>
                </c:pt>
                <c:pt idx="448">
                  <c:v>300</c:v>
                </c:pt>
                <c:pt idx="449">
                  <c:v>300</c:v>
                </c:pt>
                <c:pt idx="450">
                  <c:v>300</c:v>
                </c:pt>
                <c:pt idx="451">
                  <c:v>300</c:v>
                </c:pt>
                <c:pt idx="452">
                  <c:v>300</c:v>
                </c:pt>
                <c:pt idx="453">
                  <c:v>300</c:v>
                </c:pt>
                <c:pt idx="454">
                  <c:v>300</c:v>
                </c:pt>
                <c:pt idx="455">
                  <c:v>300</c:v>
                </c:pt>
                <c:pt idx="456">
                  <c:v>300</c:v>
                </c:pt>
                <c:pt idx="457">
                  <c:v>300</c:v>
                </c:pt>
                <c:pt idx="458">
                  <c:v>300</c:v>
                </c:pt>
                <c:pt idx="459">
                  <c:v>300</c:v>
                </c:pt>
                <c:pt idx="460">
                  <c:v>300</c:v>
                </c:pt>
                <c:pt idx="461">
                  <c:v>300</c:v>
                </c:pt>
                <c:pt idx="462">
                  <c:v>300</c:v>
                </c:pt>
                <c:pt idx="463">
                  <c:v>300</c:v>
                </c:pt>
                <c:pt idx="464">
                  <c:v>300</c:v>
                </c:pt>
                <c:pt idx="465">
                  <c:v>300</c:v>
                </c:pt>
                <c:pt idx="466">
                  <c:v>300</c:v>
                </c:pt>
                <c:pt idx="467">
                  <c:v>300</c:v>
                </c:pt>
                <c:pt idx="468">
                  <c:v>300</c:v>
                </c:pt>
                <c:pt idx="469">
                  <c:v>300</c:v>
                </c:pt>
                <c:pt idx="470">
                  <c:v>300</c:v>
                </c:pt>
                <c:pt idx="471">
                  <c:v>300</c:v>
                </c:pt>
                <c:pt idx="472">
                  <c:v>300</c:v>
                </c:pt>
                <c:pt idx="473">
                  <c:v>300</c:v>
                </c:pt>
                <c:pt idx="474">
                  <c:v>300</c:v>
                </c:pt>
                <c:pt idx="475">
                  <c:v>300</c:v>
                </c:pt>
                <c:pt idx="476">
                  <c:v>300</c:v>
                </c:pt>
                <c:pt idx="477">
                  <c:v>300</c:v>
                </c:pt>
                <c:pt idx="478">
                  <c:v>300</c:v>
                </c:pt>
                <c:pt idx="479">
                  <c:v>300</c:v>
                </c:pt>
                <c:pt idx="480">
                  <c:v>300</c:v>
                </c:pt>
                <c:pt idx="481">
                  <c:v>300</c:v>
                </c:pt>
                <c:pt idx="482">
                  <c:v>300</c:v>
                </c:pt>
                <c:pt idx="483">
                  <c:v>300</c:v>
                </c:pt>
                <c:pt idx="484">
                  <c:v>300</c:v>
                </c:pt>
                <c:pt idx="485">
                  <c:v>300</c:v>
                </c:pt>
                <c:pt idx="486">
                  <c:v>300</c:v>
                </c:pt>
                <c:pt idx="487">
                  <c:v>300</c:v>
                </c:pt>
                <c:pt idx="488">
                  <c:v>300</c:v>
                </c:pt>
                <c:pt idx="489">
                  <c:v>300</c:v>
                </c:pt>
                <c:pt idx="490">
                  <c:v>300</c:v>
                </c:pt>
                <c:pt idx="491">
                  <c:v>300</c:v>
                </c:pt>
                <c:pt idx="492">
                  <c:v>300</c:v>
                </c:pt>
                <c:pt idx="493">
                  <c:v>300</c:v>
                </c:pt>
                <c:pt idx="494">
                  <c:v>300</c:v>
                </c:pt>
                <c:pt idx="495">
                  <c:v>300</c:v>
                </c:pt>
                <c:pt idx="496">
                  <c:v>300</c:v>
                </c:pt>
                <c:pt idx="497">
                  <c:v>300</c:v>
                </c:pt>
                <c:pt idx="498">
                  <c:v>300</c:v>
                </c:pt>
                <c:pt idx="499">
                  <c:v>300</c:v>
                </c:pt>
                <c:pt idx="500">
                  <c:v>300</c:v>
                </c:pt>
                <c:pt idx="501">
                  <c:v>300</c:v>
                </c:pt>
                <c:pt idx="502">
                  <c:v>300</c:v>
                </c:pt>
                <c:pt idx="503">
                  <c:v>300</c:v>
                </c:pt>
                <c:pt idx="504">
                  <c:v>300</c:v>
                </c:pt>
                <c:pt idx="505">
                  <c:v>300</c:v>
                </c:pt>
                <c:pt idx="506">
                  <c:v>300</c:v>
                </c:pt>
                <c:pt idx="507">
                  <c:v>300</c:v>
                </c:pt>
                <c:pt idx="508">
                  <c:v>300</c:v>
                </c:pt>
                <c:pt idx="509">
                  <c:v>300</c:v>
                </c:pt>
                <c:pt idx="510">
                  <c:v>300</c:v>
                </c:pt>
                <c:pt idx="511">
                  <c:v>300</c:v>
                </c:pt>
                <c:pt idx="512">
                  <c:v>300</c:v>
                </c:pt>
                <c:pt idx="513">
                  <c:v>300</c:v>
                </c:pt>
                <c:pt idx="514">
                  <c:v>300</c:v>
                </c:pt>
                <c:pt idx="515">
                  <c:v>300</c:v>
                </c:pt>
                <c:pt idx="516">
                  <c:v>300</c:v>
                </c:pt>
                <c:pt idx="517">
                  <c:v>300</c:v>
                </c:pt>
                <c:pt idx="518">
                  <c:v>300</c:v>
                </c:pt>
                <c:pt idx="519">
                  <c:v>300</c:v>
                </c:pt>
                <c:pt idx="520">
                  <c:v>300</c:v>
                </c:pt>
                <c:pt idx="521">
                  <c:v>300</c:v>
                </c:pt>
                <c:pt idx="522">
                  <c:v>300</c:v>
                </c:pt>
                <c:pt idx="523">
                  <c:v>300</c:v>
                </c:pt>
                <c:pt idx="524">
                  <c:v>300</c:v>
                </c:pt>
                <c:pt idx="525">
                  <c:v>300</c:v>
                </c:pt>
                <c:pt idx="526">
                  <c:v>300</c:v>
                </c:pt>
                <c:pt idx="527">
                  <c:v>300</c:v>
                </c:pt>
                <c:pt idx="528">
                  <c:v>300</c:v>
                </c:pt>
                <c:pt idx="529">
                  <c:v>300</c:v>
                </c:pt>
                <c:pt idx="530">
                  <c:v>300</c:v>
                </c:pt>
                <c:pt idx="531">
                  <c:v>300</c:v>
                </c:pt>
                <c:pt idx="532">
                  <c:v>300</c:v>
                </c:pt>
                <c:pt idx="533">
                  <c:v>300</c:v>
                </c:pt>
                <c:pt idx="534">
                  <c:v>300</c:v>
                </c:pt>
                <c:pt idx="535">
                  <c:v>300</c:v>
                </c:pt>
                <c:pt idx="536">
                  <c:v>300</c:v>
                </c:pt>
                <c:pt idx="537">
                  <c:v>300</c:v>
                </c:pt>
                <c:pt idx="538">
                  <c:v>300</c:v>
                </c:pt>
                <c:pt idx="539">
                  <c:v>300</c:v>
                </c:pt>
                <c:pt idx="540">
                  <c:v>300</c:v>
                </c:pt>
                <c:pt idx="541">
                  <c:v>300</c:v>
                </c:pt>
                <c:pt idx="542">
                  <c:v>300</c:v>
                </c:pt>
                <c:pt idx="543">
                  <c:v>300</c:v>
                </c:pt>
                <c:pt idx="544">
                  <c:v>300</c:v>
                </c:pt>
                <c:pt idx="545">
                  <c:v>300</c:v>
                </c:pt>
                <c:pt idx="546">
                  <c:v>300</c:v>
                </c:pt>
                <c:pt idx="547">
                  <c:v>300</c:v>
                </c:pt>
                <c:pt idx="548">
                  <c:v>300</c:v>
                </c:pt>
                <c:pt idx="549">
                  <c:v>300</c:v>
                </c:pt>
                <c:pt idx="550">
                  <c:v>300</c:v>
                </c:pt>
                <c:pt idx="551">
                  <c:v>300</c:v>
                </c:pt>
                <c:pt idx="552">
                  <c:v>300</c:v>
                </c:pt>
                <c:pt idx="553">
                  <c:v>300</c:v>
                </c:pt>
                <c:pt idx="554">
                  <c:v>300</c:v>
                </c:pt>
                <c:pt idx="555">
                  <c:v>300</c:v>
                </c:pt>
                <c:pt idx="556">
                  <c:v>300</c:v>
                </c:pt>
                <c:pt idx="557">
                  <c:v>300</c:v>
                </c:pt>
                <c:pt idx="558">
                  <c:v>300</c:v>
                </c:pt>
                <c:pt idx="559">
                  <c:v>300</c:v>
                </c:pt>
                <c:pt idx="560">
                  <c:v>300</c:v>
                </c:pt>
                <c:pt idx="561">
                  <c:v>300</c:v>
                </c:pt>
                <c:pt idx="562">
                  <c:v>300</c:v>
                </c:pt>
                <c:pt idx="563">
                  <c:v>300</c:v>
                </c:pt>
                <c:pt idx="564">
                  <c:v>300</c:v>
                </c:pt>
                <c:pt idx="565">
                  <c:v>300</c:v>
                </c:pt>
                <c:pt idx="566">
                  <c:v>300</c:v>
                </c:pt>
                <c:pt idx="567">
                  <c:v>300</c:v>
                </c:pt>
                <c:pt idx="568">
                  <c:v>300</c:v>
                </c:pt>
                <c:pt idx="569">
                  <c:v>300</c:v>
                </c:pt>
                <c:pt idx="570">
                  <c:v>300</c:v>
                </c:pt>
                <c:pt idx="571">
                  <c:v>300</c:v>
                </c:pt>
                <c:pt idx="572">
                  <c:v>300</c:v>
                </c:pt>
                <c:pt idx="573">
                  <c:v>300</c:v>
                </c:pt>
                <c:pt idx="574">
                  <c:v>300</c:v>
                </c:pt>
                <c:pt idx="575">
                  <c:v>300</c:v>
                </c:pt>
                <c:pt idx="576">
                  <c:v>300</c:v>
                </c:pt>
                <c:pt idx="577">
                  <c:v>300</c:v>
                </c:pt>
                <c:pt idx="578">
                  <c:v>300</c:v>
                </c:pt>
                <c:pt idx="579">
                  <c:v>300</c:v>
                </c:pt>
                <c:pt idx="580">
                  <c:v>300</c:v>
                </c:pt>
                <c:pt idx="581">
                  <c:v>300</c:v>
                </c:pt>
                <c:pt idx="582">
                  <c:v>300</c:v>
                </c:pt>
                <c:pt idx="583">
                  <c:v>300</c:v>
                </c:pt>
                <c:pt idx="584">
                  <c:v>300</c:v>
                </c:pt>
                <c:pt idx="585">
                  <c:v>300</c:v>
                </c:pt>
                <c:pt idx="586">
                  <c:v>300</c:v>
                </c:pt>
                <c:pt idx="587">
                  <c:v>300</c:v>
                </c:pt>
                <c:pt idx="588">
                  <c:v>300</c:v>
                </c:pt>
                <c:pt idx="589">
                  <c:v>300</c:v>
                </c:pt>
                <c:pt idx="590">
                  <c:v>300</c:v>
                </c:pt>
                <c:pt idx="591">
                  <c:v>300</c:v>
                </c:pt>
                <c:pt idx="592">
                  <c:v>300</c:v>
                </c:pt>
                <c:pt idx="593">
                  <c:v>300</c:v>
                </c:pt>
                <c:pt idx="594">
                  <c:v>300</c:v>
                </c:pt>
                <c:pt idx="595">
                  <c:v>300</c:v>
                </c:pt>
                <c:pt idx="596">
                  <c:v>300</c:v>
                </c:pt>
                <c:pt idx="597">
                  <c:v>300</c:v>
                </c:pt>
                <c:pt idx="598">
                  <c:v>300</c:v>
                </c:pt>
                <c:pt idx="599">
                  <c:v>300</c:v>
                </c:pt>
                <c:pt idx="600">
                  <c:v>300</c:v>
                </c:pt>
                <c:pt idx="601">
                  <c:v>300</c:v>
                </c:pt>
                <c:pt idx="602">
                  <c:v>300</c:v>
                </c:pt>
                <c:pt idx="603">
                  <c:v>300</c:v>
                </c:pt>
                <c:pt idx="604">
                  <c:v>300</c:v>
                </c:pt>
                <c:pt idx="605">
                  <c:v>300</c:v>
                </c:pt>
                <c:pt idx="606">
                  <c:v>300</c:v>
                </c:pt>
                <c:pt idx="607">
                  <c:v>300</c:v>
                </c:pt>
                <c:pt idx="608">
                  <c:v>300</c:v>
                </c:pt>
                <c:pt idx="609">
                  <c:v>300</c:v>
                </c:pt>
                <c:pt idx="610">
                  <c:v>300</c:v>
                </c:pt>
                <c:pt idx="611">
                  <c:v>300</c:v>
                </c:pt>
                <c:pt idx="612">
                  <c:v>300</c:v>
                </c:pt>
                <c:pt idx="613">
                  <c:v>300</c:v>
                </c:pt>
                <c:pt idx="614">
                  <c:v>300</c:v>
                </c:pt>
                <c:pt idx="615">
                  <c:v>300</c:v>
                </c:pt>
                <c:pt idx="616">
                  <c:v>300</c:v>
                </c:pt>
                <c:pt idx="617">
                  <c:v>300</c:v>
                </c:pt>
                <c:pt idx="618">
                  <c:v>300</c:v>
                </c:pt>
                <c:pt idx="619">
                  <c:v>300</c:v>
                </c:pt>
                <c:pt idx="620">
                  <c:v>300</c:v>
                </c:pt>
                <c:pt idx="621">
                  <c:v>300</c:v>
                </c:pt>
                <c:pt idx="622">
                  <c:v>300</c:v>
                </c:pt>
                <c:pt idx="623">
                  <c:v>300</c:v>
                </c:pt>
                <c:pt idx="624">
                  <c:v>300</c:v>
                </c:pt>
                <c:pt idx="625">
                  <c:v>300</c:v>
                </c:pt>
                <c:pt idx="626">
                  <c:v>300</c:v>
                </c:pt>
                <c:pt idx="627">
                  <c:v>300</c:v>
                </c:pt>
                <c:pt idx="628">
                  <c:v>300</c:v>
                </c:pt>
                <c:pt idx="629">
                  <c:v>300</c:v>
                </c:pt>
                <c:pt idx="630">
                  <c:v>300</c:v>
                </c:pt>
                <c:pt idx="631">
                  <c:v>300</c:v>
                </c:pt>
                <c:pt idx="632">
                  <c:v>300</c:v>
                </c:pt>
                <c:pt idx="633">
                  <c:v>300</c:v>
                </c:pt>
                <c:pt idx="634">
                  <c:v>300</c:v>
                </c:pt>
                <c:pt idx="635">
                  <c:v>300</c:v>
                </c:pt>
                <c:pt idx="636">
                  <c:v>300</c:v>
                </c:pt>
                <c:pt idx="637">
                  <c:v>300</c:v>
                </c:pt>
                <c:pt idx="638">
                  <c:v>300</c:v>
                </c:pt>
                <c:pt idx="639">
                  <c:v>300</c:v>
                </c:pt>
                <c:pt idx="640">
                  <c:v>300</c:v>
                </c:pt>
                <c:pt idx="641">
                  <c:v>300</c:v>
                </c:pt>
                <c:pt idx="642">
                  <c:v>300</c:v>
                </c:pt>
                <c:pt idx="643">
                  <c:v>300</c:v>
                </c:pt>
                <c:pt idx="644">
                  <c:v>300</c:v>
                </c:pt>
                <c:pt idx="645">
                  <c:v>300</c:v>
                </c:pt>
                <c:pt idx="646">
                  <c:v>300</c:v>
                </c:pt>
                <c:pt idx="647">
                  <c:v>300</c:v>
                </c:pt>
                <c:pt idx="648">
                  <c:v>300</c:v>
                </c:pt>
                <c:pt idx="649">
                  <c:v>300</c:v>
                </c:pt>
                <c:pt idx="650">
                  <c:v>300</c:v>
                </c:pt>
                <c:pt idx="651">
                  <c:v>300</c:v>
                </c:pt>
                <c:pt idx="652">
                  <c:v>300</c:v>
                </c:pt>
                <c:pt idx="653">
                  <c:v>300</c:v>
                </c:pt>
                <c:pt idx="654">
                  <c:v>300</c:v>
                </c:pt>
                <c:pt idx="655">
                  <c:v>300</c:v>
                </c:pt>
                <c:pt idx="656">
                  <c:v>300</c:v>
                </c:pt>
                <c:pt idx="657">
                  <c:v>300</c:v>
                </c:pt>
                <c:pt idx="658">
                  <c:v>300</c:v>
                </c:pt>
                <c:pt idx="659">
                  <c:v>300</c:v>
                </c:pt>
                <c:pt idx="660">
                  <c:v>300</c:v>
                </c:pt>
                <c:pt idx="661">
                  <c:v>300</c:v>
                </c:pt>
                <c:pt idx="662">
                  <c:v>300</c:v>
                </c:pt>
                <c:pt idx="663">
                  <c:v>300</c:v>
                </c:pt>
                <c:pt idx="664">
                  <c:v>300</c:v>
                </c:pt>
                <c:pt idx="665">
                  <c:v>300</c:v>
                </c:pt>
                <c:pt idx="666">
                  <c:v>300</c:v>
                </c:pt>
                <c:pt idx="667">
                  <c:v>300</c:v>
                </c:pt>
                <c:pt idx="668">
                  <c:v>300</c:v>
                </c:pt>
                <c:pt idx="669">
                  <c:v>300</c:v>
                </c:pt>
                <c:pt idx="670">
                  <c:v>300</c:v>
                </c:pt>
                <c:pt idx="671">
                  <c:v>300</c:v>
                </c:pt>
                <c:pt idx="672">
                  <c:v>300</c:v>
                </c:pt>
                <c:pt idx="673">
                  <c:v>300</c:v>
                </c:pt>
                <c:pt idx="674">
                  <c:v>440</c:v>
                </c:pt>
                <c:pt idx="675">
                  <c:v>440</c:v>
                </c:pt>
                <c:pt idx="676">
                  <c:v>440</c:v>
                </c:pt>
                <c:pt idx="677">
                  <c:v>440</c:v>
                </c:pt>
                <c:pt idx="678">
                  <c:v>440</c:v>
                </c:pt>
                <c:pt idx="679">
                  <c:v>440</c:v>
                </c:pt>
                <c:pt idx="680">
                  <c:v>440</c:v>
                </c:pt>
                <c:pt idx="681">
                  <c:v>440</c:v>
                </c:pt>
                <c:pt idx="682">
                  <c:v>440</c:v>
                </c:pt>
                <c:pt idx="683">
                  <c:v>440</c:v>
                </c:pt>
                <c:pt idx="684">
                  <c:v>440</c:v>
                </c:pt>
                <c:pt idx="685">
                  <c:v>440</c:v>
                </c:pt>
                <c:pt idx="686">
                  <c:v>440</c:v>
                </c:pt>
                <c:pt idx="687">
                  <c:v>440</c:v>
                </c:pt>
                <c:pt idx="688">
                  <c:v>440</c:v>
                </c:pt>
                <c:pt idx="689">
                  <c:v>440</c:v>
                </c:pt>
                <c:pt idx="690">
                  <c:v>440</c:v>
                </c:pt>
                <c:pt idx="691">
                  <c:v>440</c:v>
                </c:pt>
                <c:pt idx="692">
                  <c:v>440</c:v>
                </c:pt>
                <c:pt idx="693">
                  <c:v>440</c:v>
                </c:pt>
                <c:pt idx="694">
                  <c:v>440</c:v>
                </c:pt>
                <c:pt idx="695">
                  <c:v>440</c:v>
                </c:pt>
                <c:pt idx="696">
                  <c:v>440</c:v>
                </c:pt>
                <c:pt idx="697">
                  <c:v>440</c:v>
                </c:pt>
                <c:pt idx="698">
                  <c:v>440</c:v>
                </c:pt>
                <c:pt idx="699">
                  <c:v>440</c:v>
                </c:pt>
                <c:pt idx="700">
                  <c:v>440</c:v>
                </c:pt>
                <c:pt idx="701">
                  <c:v>440</c:v>
                </c:pt>
                <c:pt idx="702">
                  <c:v>440</c:v>
                </c:pt>
                <c:pt idx="703">
                  <c:v>440</c:v>
                </c:pt>
                <c:pt idx="704">
                  <c:v>390</c:v>
                </c:pt>
                <c:pt idx="705">
                  <c:v>390</c:v>
                </c:pt>
                <c:pt idx="706">
                  <c:v>390</c:v>
                </c:pt>
                <c:pt idx="707">
                  <c:v>390</c:v>
                </c:pt>
                <c:pt idx="708">
                  <c:v>390</c:v>
                </c:pt>
                <c:pt idx="709">
                  <c:v>390</c:v>
                </c:pt>
                <c:pt idx="710">
                  <c:v>390</c:v>
                </c:pt>
                <c:pt idx="711">
                  <c:v>390</c:v>
                </c:pt>
                <c:pt idx="712">
                  <c:v>390</c:v>
                </c:pt>
                <c:pt idx="713">
                  <c:v>390</c:v>
                </c:pt>
                <c:pt idx="714">
                  <c:v>390</c:v>
                </c:pt>
                <c:pt idx="715">
                  <c:v>390</c:v>
                </c:pt>
                <c:pt idx="716">
                  <c:v>390</c:v>
                </c:pt>
                <c:pt idx="717">
                  <c:v>390</c:v>
                </c:pt>
                <c:pt idx="718">
                  <c:v>390</c:v>
                </c:pt>
                <c:pt idx="719">
                  <c:v>390</c:v>
                </c:pt>
                <c:pt idx="720">
                  <c:v>390</c:v>
                </c:pt>
                <c:pt idx="721">
                  <c:v>390</c:v>
                </c:pt>
                <c:pt idx="722">
                  <c:v>390</c:v>
                </c:pt>
                <c:pt idx="723">
                  <c:v>390</c:v>
                </c:pt>
                <c:pt idx="724">
                  <c:v>390</c:v>
                </c:pt>
                <c:pt idx="725">
                  <c:v>390</c:v>
                </c:pt>
                <c:pt idx="726">
                  <c:v>390</c:v>
                </c:pt>
                <c:pt idx="727">
                  <c:v>390</c:v>
                </c:pt>
                <c:pt idx="728">
                  <c:v>390</c:v>
                </c:pt>
                <c:pt idx="729">
                  <c:v>390</c:v>
                </c:pt>
                <c:pt idx="730">
                  <c:v>390</c:v>
                </c:pt>
                <c:pt idx="731">
                  <c:v>390</c:v>
                </c:pt>
                <c:pt idx="732">
                  <c:v>390</c:v>
                </c:pt>
                <c:pt idx="733">
                  <c:v>390</c:v>
                </c:pt>
                <c:pt idx="734">
                  <c:v>390</c:v>
                </c:pt>
                <c:pt idx="735">
                  <c:v>390</c:v>
                </c:pt>
                <c:pt idx="736">
                  <c:v>390</c:v>
                </c:pt>
                <c:pt idx="737">
                  <c:v>390</c:v>
                </c:pt>
                <c:pt idx="738">
                  <c:v>390</c:v>
                </c:pt>
                <c:pt idx="739">
                  <c:v>390</c:v>
                </c:pt>
                <c:pt idx="740">
                  <c:v>390</c:v>
                </c:pt>
                <c:pt idx="741">
                  <c:v>390</c:v>
                </c:pt>
              </c:numCache>
            </c:numRef>
          </c:val>
          <c:smooth val="0"/>
          <c:extLst>
            <c:ext xmlns:c16="http://schemas.microsoft.com/office/drawing/2014/chart" uri="{C3380CC4-5D6E-409C-BE32-E72D297353CC}">
              <c16:uniqueId val="{00000004-BD69-4FD6-A7D6-508AE9A3F891}"/>
            </c:ext>
          </c:extLst>
        </c:ser>
        <c:ser>
          <c:idx val="5"/>
          <c:order val="5"/>
          <c:tx>
            <c:strRef>
              <c:f>硅石价格图表!$AO$2</c:f>
              <c:strCache>
                <c:ptCount val="1"/>
                <c:pt idx="0">
                  <c:v>河南</c:v>
                </c:pt>
              </c:strCache>
            </c:strRef>
          </c:tx>
          <c:spPr>
            <a:ln w="19050" cap="rnd">
              <a:solidFill>
                <a:schemeClr val="bg1">
                  <a:lumMod val="75000"/>
                </a:schemeClr>
              </a:solidFill>
              <a:round/>
            </a:ln>
            <a:effectLst/>
          </c:spPr>
          <c:marker>
            <c:symbol val="none"/>
          </c:marker>
          <c:cat>
            <c:numRef>
              <c:f>硅石价格图表!$AI$3:$AI$744</c:f>
              <c:numCache>
                <c:formatCode>m/d/yyyy</c:formatCode>
                <c:ptCount val="742"/>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pt idx="738">
                  <c:v>44739</c:v>
                </c:pt>
                <c:pt idx="739">
                  <c:v>44738</c:v>
                </c:pt>
                <c:pt idx="740">
                  <c:v>44737</c:v>
                </c:pt>
                <c:pt idx="741">
                  <c:v>44736</c:v>
                </c:pt>
              </c:numCache>
            </c:numRef>
          </c:cat>
          <c:val>
            <c:numRef>
              <c:f>硅石价格图表!$AO$3:$AO$744</c:f>
              <c:numCache>
                <c:formatCode>General</c:formatCode>
                <c:ptCount val="742"/>
                <c:pt idx="0">
                  <c:v>350</c:v>
                </c:pt>
                <c:pt idx="1">
                  <c:v>350</c:v>
                </c:pt>
                <c:pt idx="2">
                  <c:v>350</c:v>
                </c:pt>
                <c:pt idx="3">
                  <c:v>350</c:v>
                </c:pt>
                <c:pt idx="4">
                  <c:v>350</c:v>
                </c:pt>
                <c:pt idx="5">
                  <c:v>350</c:v>
                </c:pt>
                <c:pt idx="6">
                  <c:v>350</c:v>
                </c:pt>
                <c:pt idx="7">
                  <c:v>350</c:v>
                </c:pt>
                <c:pt idx="8">
                  <c:v>350</c:v>
                </c:pt>
                <c:pt idx="9">
                  <c:v>350</c:v>
                </c:pt>
                <c:pt idx="10">
                  <c:v>350</c:v>
                </c:pt>
                <c:pt idx="11">
                  <c:v>350</c:v>
                </c:pt>
                <c:pt idx="12">
                  <c:v>350</c:v>
                </c:pt>
                <c:pt idx="13">
                  <c:v>350</c:v>
                </c:pt>
                <c:pt idx="14">
                  <c:v>350</c:v>
                </c:pt>
                <c:pt idx="15">
                  <c:v>350</c:v>
                </c:pt>
                <c:pt idx="16">
                  <c:v>350</c:v>
                </c:pt>
                <c:pt idx="17">
                  <c:v>350</c:v>
                </c:pt>
                <c:pt idx="18">
                  <c:v>350</c:v>
                </c:pt>
                <c:pt idx="19">
                  <c:v>350</c:v>
                </c:pt>
                <c:pt idx="20">
                  <c:v>350</c:v>
                </c:pt>
                <c:pt idx="21">
                  <c:v>350</c:v>
                </c:pt>
                <c:pt idx="22">
                  <c:v>350</c:v>
                </c:pt>
                <c:pt idx="23">
                  <c:v>350</c:v>
                </c:pt>
                <c:pt idx="24">
                  <c:v>350</c:v>
                </c:pt>
                <c:pt idx="25">
                  <c:v>350</c:v>
                </c:pt>
                <c:pt idx="26">
                  <c:v>350</c:v>
                </c:pt>
                <c:pt idx="27">
                  <c:v>350</c:v>
                </c:pt>
                <c:pt idx="28">
                  <c:v>350</c:v>
                </c:pt>
                <c:pt idx="29">
                  <c:v>350</c:v>
                </c:pt>
                <c:pt idx="30">
                  <c:v>350</c:v>
                </c:pt>
                <c:pt idx="31">
                  <c:v>350</c:v>
                </c:pt>
                <c:pt idx="32">
                  <c:v>350</c:v>
                </c:pt>
                <c:pt idx="33">
                  <c:v>350</c:v>
                </c:pt>
                <c:pt idx="34">
                  <c:v>350</c:v>
                </c:pt>
                <c:pt idx="35">
                  <c:v>350</c:v>
                </c:pt>
                <c:pt idx="36">
                  <c:v>350</c:v>
                </c:pt>
                <c:pt idx="37">
                  <c:v>350</c:v>
                </c:pt>
                <c:pt idx="38">
                  <c:v>350</c:v>
                </c:pt>
                <c:pt idx="39">
                  <c:v>350</c:v>
                </c:pt>
                <c:pt idx="40">
                  <c:v>350</c:v>
                </c:pt>
                <c:pt idx="41">
                  <c:v>350</c:v>
                </c:pt>
                <c:pt idx="42">
                  <c:v>350</c:v>
                </c:pt>
                <c:pt idx="43">
                  <c:v>350</c:v>
                </c:pt>
                <c:pt idx="44">
                  <c:v>350</c:v>
                </c:pt>
                <c:pt idx="45">
                  <c:v>350</c:v>
                </c:pt>
                <c:pt idx="46">
                  <c:v>350</c:v>
                </c:pt>
                <c:pt idx="47">
                  <c:v>350</c:v>
                </c:pt>
                <c:pt idx="48">
                  <c:v>350</c:v>
                </c:pt>
                <c:pt idx="49">
                  <c:v>350</c:v>
                </c:pt>
                <c:pt idx="50">
                  <c:v>350</c:v>
                </c:pt>
                <c:pt idx="51">
                  <c:v>350</c:v>
                </c:pt>
                <c:pt idx="52">
                  <c:v>350</c:v>
                </c:pt>
                <c:pt idx="53">
                  <c:v>350</c:v>
                </c:pt>
                <c:pt idx="54">
                  <c:v>350</c:v>
                </c:pt>
                <c:pt idx="55">
                  <c:v>350</c:v>
                </c:pt>
                <c:pt idx="56">
                  <c:v>350</c:v>
                </c:pt>
                <c:pt idx="57">
                  <c:v>350</c:v>
                </c:pt>
                <c:pt idx="58">
                  <c:v>350</c:v>
                </c:pt>
                <c:pt idx="59">
                  <c:v>350</c:v>
                </c:pt>
                <c:pt idx="60">
                  <c:v>350</c:v>
                </c:pt>
                <c:pt idx="61">
                  <c:v>350</c:v>
                </c:pt>
                <c:pt idx="62">
                  <c:v>350</c:v>
                </c:pt>
                <c:pt idx="63">
                  <c:v>350</c:v>
                </c:pt>
                <c:pt idx="64">
                  <c:v>350</c:v>
                </c:pt>
                <c:pt idx="65">
                  <c:v>350</c:v>
                </c:pt>
                <c:pt idx="66">
                  <c:v>350</c:v>
                </c:pt>
                <c:pt idx="67">
                  <c:v>350</c:v>
                </c:pt>
                <c:pt idx="68">
                  <c:v>350</c:v>
                </c:pt>
                <c:pt idx="69">
                  <c:v>350</c:v>
                </c:pt>
                <c:pt idx="70">
                  <c:v>350</c:v>
                </c:pt>
                <c:pt idx="71">
                  <c:v>350</c:v>
                </c:pt>
                <c:pt idx="72">
                  <c:v>350</c:v>
                </c:pt>
                <c:pt idx="73">
                  <c:v>350</c:v>
                </c:pt>
                <c:pt idx="74">
                  <c:v>350</c:v>
                </c:pt>
                <c:pt idx="75">
                  <c:v>350</c:v>
                </c:pt>
                <c:pt idx="76">
                  <c:v>350</c:v>
                </c:pt>
                <c:pt idx="77">
                  <c:v>350</c:v>
                </c:pt>
                <c:pt idx="78">
                  <c:v>350</c:v>
                </c:pt>
                <c:pt idx="79">
                  <c:v>350</c:v>
                </c:pt>
                <c:pt idx="80">
                  <c:v>350</c:v>
                </c:pt>
                <c:pt idx="81">
                  <c:v>350</c:v>
                </c:pt>
                <c:pt idx="82">
                  <c:v>350</c:v>
                </c:pt>
                <c:pt idx="83">
                  <c:v>350</c:v>
                </c:pt>
                <c:pt idx="84">
                  <c:v>350</c:v>
                </c:pt>
                <c:pt idx="85">
                  <c:v>350</c:v>
                </c:pt>
                <c:pt idx="86">
                  <c:v>350</c:v>
                </c:pt>
                <c:pt idx="87">
                  <c:v>350</c:v>
                </c:pt>
                <c:pt idx="88">
                  <c:v>350</c:v>
                </c:pt>
                <c:pt idx="89">
                  <c:v>350</c:v>
                </c:pt>
                <c:pt idx="90">
                  <c:v>350</c:v>
                </c:pt>
                <c:pt idx="91">
                  <c:v>350</c:v>
                </c:pt>
                <c:pt idx="92">
                  <c:v>350</c:v>
                </c:pt>
                <c:pt idx="93">
                  <c:v>350</c:v>
                </c:pt>
                <c:pt idx="94">
                  <c:v>350</c:v>
                </c:pt>
                <c:pt idx="95">
                  <c:v>350</c:v>
                </c:pt>
                <c:pt idx="96">
                  <c:v>350</c:v>
                </c:pt>
                <c:pt idx="97">
                  <c:v>350</c:v>
                </c:pt>
                <c:pt idx="98">
                  <c:v>350</c:v>
                </c:pt>
                <c:pt idx="99">
                  <c:v>350</c:v>
                </c:pt>
                <c:pt idx="100">
                  <c:v>350</c:v>
                </c:pt>
                <c:pt idx="101">
                  <c:v>350</c:v>
                </c:pt>
                <c:pt idx="102">
                  <c:v>350</c:v>
                </c:pt>
                <c:pt idx="103">
                  <c:v>350</c:v>
                </c:pt>
                <c:pt idx="104">
                  <c:v>350</c:v>
                </c:pt>
                <c:pt idx="105">
                  <c:v>350</c:v>
                </c:pt>
                <c:pt idx="106">
                  <c:v>350</c:v>
                </c:pt>
                <c:pt idx="107">
                  <c:v>350</c:v>
                </c:pt>
                <c:pt idx="108">
                  <c:v>350</c:v>
                </c:pt>
                <c:pt idx="109">
                  <c:v>350</c:v>
                </c:pt>
                <c:pt idx="110">
                  <c:v>350</c:v>
                </c:pt>
                <c:pt idx="111">
                  <c:v>350</c:v>
                </c:pt>
                <c:pt idx="112">
                  <c:v>350</c:v>
                </c:pt>
                <c:pt idx="113">
                  <c:v>350</c:v>
                </c:pt>
                <c:pt idx="114">
                  <c:v>350</c:v>
                </c:pt>
                <c:pt idx="115">
                  <c:v>350</c:v>
                </c:pt>
                <c:pt idx="116">
                  <c:v>350</c:v>
                </c:pt>
                <c:pt idx="117">
                  <c:v>350</c:v>
                </c:pt>
                <c:pt idx="118">
                  <c:v>350</c:v>
                </c:pt>
                <c:pt idx="119">
                  <c:v>350</c:v>
                </c:pt>
                <c:pt idx="120">
                  <c:v>350</c:v>
                </c:pt>
                <c:pt idx="121">
                  <c:v>350</c:v>
                </c:pt>
                <c:pt idx="122">
                  <c:v>350</c:v>
                </c:pt>
                <c:pt idx="123">
                  <c:v>350</c:v>
                </c:pt>
                <c:pt idx="124">
                  <c:v>350</c:v>
                </c:pt>
                <c:pt idx="125">
                  <c:v>350</c:v>
                </c:pt>
                <c:pt idx="126">
                  <c:v>350</c:v>
                </c:pt>
                <c:pt idx="127">
                  <c:v>350</c:v>
                </c:pt>
                <c:pt idx="128">
                  <c:v>350</c:v>
                </c:pt>
                <c:pt idx="129">
                  <c:v>350</c:v>
                </c:pt>
                <c:pt idx="130">
                  <c:v>350</c:v>
                </c:pt>
                <c:pt idx="131">
                  <c:v>350</c:v>
                </c:pt>
                <c:pt idx="132">
                  <c:v>350</c:v>
                </c:pt>
                <c:pt idx="133">
                  <c:v>350</c:v>
                </c:pt>
                <c:pt idx="134">
                  <c:v>350</c:v>
                </c:pt>
                <c:pt idx="135">
                  <c:v>350</c:v>
                </c:pt>
                <c:pt idx="136">
                  <c:v>350</c:v>
                </c:pt>
                <c:pt idx="137">
                  <c:v>350</c:v>
                </c:pt>
                <c:pt idx="138">
                  <c:v>350</c:v>
                </c:pt>
                <c:pt idx="139">
                  <c:v>350</c:v>
                </c:pt>
                <c:pt idx="140">
                  <c:v>350</c:v>
                </c:pt>
                <c:pt idx="141">
                  <c:v>350</c:v>
                </c:pt>
                <c:pt idx="142">
                  <c:v>350</c:v>
                </c:pt>
                <c:pt idx="143">
                  <c:v>350</c:v>
                </c:pt>
                <c:pt idx="144">
                  <c:v>350</c:v>
                </c:pt>
                <c:pt idx="145">
                  <c:v>350</c:v>
                </c:pt>
                <c:pt idx="146">
                  <c:v>350</c:v>
                </c:pt>
                <c:pt idx="147">
                  <c:v>350</c:v>
                </c:pt>
                <c:pt idx="148">
                  <c:v>350</c:v>
                </c:pt>
                <c:pt idx="149">
                  <c:v>350</c:v>
                </c:pt>
                <c:pt idx="150">
                  <c:v>350</c:v>
                </c:pt>
                <c:pt idx="151">
                  <c:v>350</c:v>
                </c:pt>
                <c:pt idx="152">
                  <c:v>350</c:v>
                </c:pt>
                <c:pt idx="153">
                  <c:v>350</c:v>
                </c:pt>
                <c:pt idx="154">
                  <c:v>350</c:v>
                </c:pt>
                <c:pt idx="155">
                  <c:v>350</c:v>
                </c:pt>
                <c:pt idx="156">
                  <c:v>350</c:v>
                </c:pt>
                <c:pt idx="157">
                  <c:v>350</c:v>
                </c:pt>
                <c:pt idx="158">
                  <c:v>350</c:v>
                </c:pt>
                <c:pt idx="159">
                  <c:v>350</c:v>
                </c:pt>
                <c:pt idx="160">
                  <c:v>350</c:v>
                </c:pt>
                <c:pt idx="161">
                  <c:v>350</c:v>
                </c:pt>
                <c:pt idx="162">
                  <c:v>350</c:v>
                </c:pt>
                <c:pt idx="163">
                  <c:v>350</c:v>
                </c:pt>
                <c:pt idx="164">
                  <c:v>350</c:v>
                </c:pt>
                <c:pt idx="165">
                  <c:v>350</c:v>
                </c:pt>
                <c:pt idx="166">
                  <c:v>350</c:v>
                </c:pt>
                <c:pt idx="167">
                  <c:v>350</c:v>
                </c:pt>
                <c:pt idx="168">
                  <c:v>350</c:v>
                </c:pt>
                <c:pt idx="169">
                  <c:v>350</c:v>
                </c:pt>
                <c:pt idx="170">
                  <c:v>350</c:v>
                </c:pt>
                <c:pt idx="171">
                  <c:v>350</c:v>
                </c:pt>
                <c:pt idx="172">
                  <c:v>350</c:v>
                </c:pt>
                <c:pt idx="173">
                  <c:v>350</c:v>
                </c:pt>
                <c:pt idx="174">
                  <c:v>350</c:v>
                </c:pt>
                <c:pt idx="175">
                  <c:v>350</c:v>
                </c:pt>
                <c:pt idx="176">
                  <c:v>350</c:v>
                </c:pt>
                <c:pt idx="177">
                  <c:v>350</c:v>
                </c:pt>
                <c:pt idx="178">
                  <c:v>350</c:v>
                </c:pt>
                <c:pt idx="179">
                  <c:v>350</c:v>
                </c:pt>
                <c:pt idx="180">
                  <c:v>350</c:v>
                </c:pt>
                <c:pt idx="181">
                  <c:v>350</c:v>
                </c:pt>
                <c:pt idx="182">
                  <c:v>350</c:v>
                </c:pt>
                <c:pt idx="183">
                  <c:v>350</c:v>
                </c:pt>
                <c:pt idx="184">
                  <c:v>350</c:v>
                </c:pt>
                <c:pt idx="185">
                  <c:v>350</c:v>
                </c:pt>
                <c:pt idx="186">
                  <c:v>350</c:v>
                </c:pt>
                <c:pt idx="187">
                  <c:v>350</c:v>
                </c:pt>
                <c:pt idx="188">
                  <c:v>350</c:v>
                </c:pt>
                <c:pt idx="189">
                  <c:v>350</c:v>
                </c:pt>
                <c:pt idx="190">
                  <c:v>350</c:v>
                </c:pt>
                <c:pt idx="191">
                  <c:v>350</c:v>
                </c:pt>
                <c:pt idx="192">
                  <c:v>350</c:v>
                </c:pt>
                <c:pt idx="193">
                  <c:v>350</c:v>
                </c:pt>
                <c:pt idx="194">
                  <c:v>350</c:v>
                </c:pt>
                <c:pt idx="195">
                  <c:v>350</c:v>
                </c:pt>
                <c:pt idx="196">
                  <c:v>350</c:v>
                </c:pt>
                <c:pt idx="197">
                  <c:v>350</c:v>
                </c:pt>
                <c:pt idx="198">
                  <c:v>350</c:v>
                </c:pt>
                <c:pt idx="199">
                  <c:v>350</c:v>
                </c:pt>
                <c:pt idx="200">
                  <c:v>350</c:v>
                </c:pt>
                <c:pt idx="201">
                  <c:v>350</c:v>
                </c:pt>
                <c:pt idx="202">
                  <c:v>350</c:v>
                </c:pt>
                <c:pt idx="203">
                  <c:v>350</c:v>
                </c:pt>
                <c:pt idx="204">
                  <c:v>350</c:v>
                </c:pt>
                <c:pt idx="205">
                  <c:v>350</c:v>
                </c:pt>
                <c:pt idx="206">
                  <c:v>350</c:v>
                </c:pt>
                <c:pt idx="207">
                  <c:v>350</c:v>
                </c:pt>
                <c:pt idx="208">
                  <c:v>350</c:v>
                </c:pt>
                <c:pt idx="209">
                  <c:v>350</c:v>
                </c:pt>
                <c:pt idx="210">
                  <c:v>350</c:v>
                </c:pt>
                <c:pt idx="211">
                  <c:v>350</c:v>
                </c:pt>
                <c:pt idx="212">
                  <c:v>350</c:v>
                </c:pt>
                <c:pt idx="213">
                  <c:v>350</c:v>
                </c:pt>
                <c:pt idx="214">
                  <c:v>350</c:v>
                </c:pt>
                <c:pt idx="215">
                  <c:v>350</c:v>
                </c:pt>
                <c:pt idx="216">
                  <c:v>350</c:v>
                </c:pt>
                <c:pt idx="217">
                  <c:v>350</c:v>
                </c:pt>
                <c:pt idx="218">
                  <c:v>350</c:v>
                </c:pt>
                <c:pt idx="219">
                  <c:v>350</c:v>
                </c:pt>
                <c:pt idx="220">
                  <c:v>350</c:v>
                </c:pt>
                <c:pt idx="221">
                  <c:v>350</c:v>
                </c:pt>
                <c:pt idx="222">
                  <c:v>350</c:v>
                </c:pt>
                <c:pt idx="223">
                  <c:v>350</c:v>
                </c:pt>
                <c:pt idx="224">
                  <c:v>350</c:v>
                </c:pt>
                <c:pt idx="225">
                  <c:v>350</c:v>
                </c:pt>
                <c:pt idx="226">
                  <c:v>350</c:v>
                </c:pt>
                <c:pt idx="227">
                  <c:v>350</c:v>
                </c:pt>
                <c:pt idx="228">
                  <c:v>350</c:v>
                </c:pt>
                <c:pt idx="229">
                  <c:v>350</c:v>
                </c:pt>
                <c:pt idx="230">
                  <c:v>350</c:v>
                </c:pt>
                <c:pt idx="231">
                  <c:v>350</c:v>
                </c:pt>
                <c:pt idx="232">
                  <c:v>350</c:v>
                </c:pt>
                <c:pt idx="233">
                  <c:v>350</c:v>
                </c:pt>
                <c:pt idx="234">
                  <c:v>350</c:v>
                </c:pt>
                <c:pt idx="235">
                  <c:v>350</c:v>
                </c:pt>
                <c:pt idx="236">
                  <c:v>350</c:v>
                </c:pt>
                <c:pt idx="237">
                  <c:v>350</c:v>
                </c:pt>
                <c:pt idx="238">
                  <c:v>350</c:v>
                </c:pt>
                <c:pt idx="239">
                  <c:v>350</c:v>
                </c:pt>
                <c:pt idx="240">
                  <c:v>350</c:v>
                </c:pt>
                <c:pt idx="241">
                  <c:v>350</c:v>
                </c:pt>
                <c:pt idx="242">
                  <c:v>350</c:v>
                </c:pt>
                <c:pt idx="243">
                  <c:v>350</c:v>
                </c:pt>
                <c:pt idx="244">
                  <c:v>350</c:v>
                </c:pt>
                <c:pt idx="245">
                  <c:v>350</c:v>
                </c:pt>
                <c:pt idx="246">
                  <c:v>350</c:v>
                </c:pt>
                <c:pt idx="247">
                  <c:v>350</c:v>
                </c:pt>
                <c:pt idx="248">
                  <c:v>350</c:v>
                </c:pt>
                <c:pt idx="249">
                  <c:v>350</c:v>
                </c:pt>
                <c:pt idx="250">
                  <c:v>350</c:v>
                </c:pt>
                <c:pt idx="251">
                  <c:v>350</c:v>
                </c:pt>
                <c:pt idx="252">
                  <c:v>350</c:v>
                </c:pt>
                <c:pt idx="253">
                  <c:v>350</c:v>
                </c:pt>
                <c:pt idx="254">
                  <c:v>350</c:v>
                </c:pt>
                <c:pt idx="255">
                  <c:v>350</c:v>
                </c:pt>
                <c:pt idx="256">
                  <c:v>350</c:v>
                </c:pt>
                <c:pt idx="257">
                  <c:v>350</c:v>
                </c:pt>
                <c:pt idx="258">
                  <c:v>350</c:v>
                </c:pt>
                <c:pt idx="259">
                  <c:v>350</c:v>
                </c:pt>
                <c:pt idx="260">
                  <c:v>350</c:v>
                </c:pt>
                <c:pt idx="261">
                  <c:v>350</c:v>
                </c:pt>
                <c:pt idx="262">
                  <c:v>350</c:v>
                </c:pt>
                <c:pt idx="263">
                  <c:v>350</c:v>
                </c:pt>
                <c:pt idx="264">
                  <c:v>350</c:v>
                </c:pt>
                <c:pt idx="265">
                  <c:v>350</c:v>
                </c:pt>
                <c:pt idx="266">
                  <c:v>350</c:v>
                </c:pt>
                <c:pt idx="267">
                  <c:v>350</c:v>
                </c:pt>
                <c:pt idx="268">
                  <c:v>350</c:v>
                </c:pt>
                <c:pt idx="269">
                  <c:v>350</c:v>
                </c:pt>
                <c:pt idx="270">
                  <c:v>350</c:v>
                </c:pt>
                <c:pt idx="271">
                  <c:v>350</c:v>
                </c:pt>
                <c:pt idx="272">
                  <c:v>350</c:v>
                </c:pt>
                <c:pt idx="273">
                  <c:v>350</c:v>
                </c:pt>
                <c:pt idx="274">
                  <c:v>350</c:v>
                </c:pt>
                <c:pt idx="275">
                  <c:v>350</c:v>
                </c:pt>
                <c:pt idx="276">
                  <c:v>350</c:v>
                </c:pt>
                <c:pt idx="277">
                  <c:v>350</c:v>
                </c:pt>
                <c:pt idx="278">
                  <c:v>350</c:v>
                </c:pt>
                <c:pt idx="279">
                  <c:v>350</c:v>
                </c:pt>
                <c:pt idx="280">
                  <c:v>350</c:v>
                </c:pt>
                <c:pt idx="281">
                  <c:v>350</c:v>
                </c:pt>
                <c:pt idx="282">
                  <c:v>350</c:v>
                </c:pt>
                <c:pt idx="283">
                  <c:v>350</c:v>
                </c:pt>
                <c:pt idx="284">
                  <c:v>350</c:v>
                </c:pt>
                <c:pt idx="285">
                  <c:v>350</c:v>
                </c:pt>
                <c:pt idx="286">
                  <c:v>350</c:v>
                </c:pt>
                <c:pt idx="287">
                  <c:v>350</c:v>
                </c:pt>
                <c:pt idx="288">
                  <c:v>350</c:v>
                </c:pt>
                <c:pt idx="289">
                  <c:v>350</c:v>
                </c:pt>
                <c:pt idx="290">
                  <c:v>350</c:v>
                </c:pt>
                <c:pt idx="291">
                  <c:v>350</c:v>
                </c:pt>
                <c:pt idx="292">
                  <c:v>350</c:v>
                </c:pt>
                <c:pt idx="293">
                  <c:v>350</c:v>
                </c:pt>
                <c:pt idx="294">
                  <c:v>350</c:v>
                </c:pt>
                <c:pt idx="295">
                  <c:v>350</c:v>
                </c:pt>
                <c:pt idx="296">
                  <c:v>350</c:v>
                </c:pt>
                <c:pt idx="297">
                  <c:v>350</c:v>
                </c:pt>
                <c:pt idx="298">
                  <c:v>350</c:v>
                </c:pt>
                <c:pt idx="299">
                  <c:v>350</c:v>
                </c:pt>
                <c:pt idx="300">
                  <c:v>350</c:v>
                </c:pt>
                <c:pt idx="301">
                  <c:v>350</c:v>
                </c:pt>
                <c:pt idx="302">
                  <c:v>350</c:v>
                </c:pt>
                <c:pt idx="303">
                  <c:v>350</c:v>
                </c:pt>
                <c:pt idx="304">
                  <c:v>350</c:v>
                </c:pt>
                <c:pt idx="305">
                  <c:v>350</c:v>
                </c:pt>
                <c:pt idx="306">
                  <c:v>350</c:v>
                </c:pt>
                <c:pt idx="307">
                  <c:v>350</c:v>
                </c:pt>
                <c:pt idx="308">
                  <c:v>350</c:v>
                </c:pt>
                <c:pt idx="309">
                  <c:v>350</c:v>
                </c:pt>
                <c:pt idx="310">
                  <c:v>350</c:v>
                </c:pt>
                <c:pt idx="311">
                  <c:v>350</c:v>
                </c:pt>
                <c:pt idx="312">
                  <c:v>350</c:v>
                </c:pt>
                <c:pt idx="313">
                  <c:v>350</c:v>
                </c:pt>
                <c:pt idx="314">
                  <c:v>350</c:v>
                </c:pt>
                <c:pt idx="315">
                  <c:v>350</c:v>
                </c:pt>
                <c:pt idx="316">
                  <c:v>350</c:v>
                </c:pt>
                <c:pt idx="317">
                  <c:v>350</c:v>
                </c:pt>
                <c:pt idx="318">
                  <c:v>350</c:v>
                </c:pt>
                <c:pt idx="319">
                  <c:v>#N/A</c:v>
                </c:pt>
                <c:pt idx="320">
                  <c:v>#N/A</c:v>
                </c:pt>
                <c:pt idx="321">
                  <c:v>350</c:v>
                </c:pt>
                <c:pt idx="322">
                  <c:v>350</c:v>
                </c:pt>
                <c:pt idx="323">
                  <c:v>350</c:v>
                </c:pt>
                <c:pt idx="324">
                  <c:v>350</c:v>
                </c:pt>
                <c:pt idx="325">
                  <c:v>350</c:v>
                </c:pt>
                <c:pt idx="326">
                  <c:v>350</c:v>
                </c:pt>
                <c:pt idx="327">
                  <c:v>350</c:v>
                </c:pt>
                <c:pt idx="328">
                  <c:v>350</c:v>
                </c:pt>
                <c:pt idx="329">
                  <c:v>350</c:v>
                </c:pt>
                <c:pt idx="330">
                  <c:v>350</c:v>
                </c:pt>
                <c:pt idx="331">
                  <c:v>350</c:v>
                </c:pt>
                <c:pt idx="332">
                  <c:v>350</c:v>
                </c:pt>
                <c:pt idx="333">
                  <c:v>350</c:v>
                </c:pt>
                <c:pt idx="334">
                  <c:v>350</c:v>
                </c:pt>
                <c:pt idx="335">
                  <c:v>350</c:v>
                </c:pt>
                <c:pt idx="336">
                  <c:v>350</c:v>
                </c:pt>
                <c:pt idx="337">
                  <c:v>350</c:v>
                </c:pt>
                <c:pt idx="338">
                  <c:v>350</c:v>
                </c:pt>
                <c:pt idx="339">
                  <c:v>350</c:v>
                </c:pt>
                <c:pt idx="340">
                  <c:v>350</c:v>
                </c:pt>
                <c:pt idx="341">
                  <c:v>350</c:v>
                </c:pt>
                <c:pt idx="342">
                  <c:v>350</c:v>
                </c:pt>
                <c:pt idx="343">
                  <c:v>350</c:v>
                </c:pt>
                <c:pt idx="344">
                  <c:v>350</c:v>
                </c:pt>
                <c:pt idx="345">
                  <c:v>350</c:v>
                </c:pt>
                <c:pt idx="346">
                  <c:v>350</c:v>
                </c:pt>
                <c:pt idx="347">
                  <c:v>350</c:v>
                </c:pt>
                <c:pt idx="348">
                  <c:v>350</c:v>
                </c:pt>
                <c:pt idx="349">
                  <c:v>350</c:v>
                </c:pt>
                <c:pt idx="350">
                  <c:v>350</c:v>
                </c:pt>
                <c:pt idx="351">
                  <c:v>350</c:v>
                </c:pt>
                <c:pt idx="352">
                  <c:v>350</c:v>
                </c:pt>
                <c:pt idx="353">
                  <c:v>350</c:v>
                </c:pt>
                <c:pt idx="354">
                  <c:v>350</c:v>
                </c:pt>
                <c:pt idx="355">
                  <c:v>350</c:v>
                </c:pt>
                <c:pt idx="356">
                  <c:v>350</c:v>
                </c:pt>
                <c:pt idx="357">
                  <c:v>350</c:v>
                </c:pt>
                <c:pt idx="358">
                  <c:v>350</c:v>
                </c:pt>
                <c:pt idx="359">
                  <c:v>350</c:v>
                </c:pt>
                <c:pt idx="360">
                  <c:v>350</c:v>
                </c:pt>
                <c:pt idx="361">
                  <c:v>350</c:v>
                </c:pt>
                <c:pt idx="362">
                  <c:v>350</c:v>
                </c:pt>
                <c:pt idx="363">
                  <c:v>350</c:v>
                </c:pt>
                <c:pt idx="364">
                  <c:v>350</c:v>
                </c:pt>
                <c:pt idx="365">
                  <c:v>350</c:v>
                </c:pt>
                <c:pt idx="366">
                  <c:v>350</c:v>
                </c:pt>
                <c:pt idx="367">
                  <c:v>350</c:v>
                </c:pt>
                <c:pt idx="368">
                  <c:v>350</c:v>
                </c:pt>
                <c:pt idx="369">
                  <c:v>350</c:v>
                </c:pt>
                <c:pt idx="370">
                  <c:v>350</c:v>
                </c:pt>
                <c:pt idx="371">
                  <c:v>350</c:v>
                </c:pt>
                <c:pt idx="372">
                  <c:v>350</c:v>
                </c:pt>
                <c:pt idx="373">
                  <c:v>350</c:v>
                </c:pt>
                <c:pt idx="374">
                  <c:v>350</c:v>
                </c:pt>
                <c:pt idx="375">
                  <c:v>350</c:v>
                </c:pt>
                <c:pt idx="376">
                  <c:v>350</c:v>
                </c:pt>
                <c:pt idx="377">
                  <c:v>350</c:v>
                </c:pt>
                <c:pt idx="378">
                  <c:v>350</c:v>
                </c:pt>
                <c:pt idx="379">
                  <c:v>350</c:v>
                </c:pt>
                <c:pt idx="380">
                  <c:v>350</c:v>
                </c:pt>
                <c:pt idx="381">
                  <c:v>350</c:v>
                </c:pt>
                <c:pt idx="382">
                  <c:v>350</c:v>
                </c:pt>
                <c:pt idx="383">
                  <c:v>350</c:v>
                </c:pt>
                <c:pt idx="384">
                  <c:v>350</c:v>
                </c:pt>
                <c:pt idx="385">
                  <c:v>350</c:v>
                </c:pt>
                <c:pt idx="386">
                  <c:v>350</c:v>
                </c:pt>
                <c:pt idx="387">
                  <c:v>350</c:v>
                </c:pt>
                <c:pt idx="388">
                  <c:v>350</c:v>
                </c:pt>
                <c:pt idx="389">
                  <c:v>350</c:v>
                </c:pt>
                <c:pt idx="390">
                  <c:v>350</c:v>
                </c:pt>
                <c:pt idx="391">
                  <c:v>350</c:v>
                </c:pt>
                <c:pt idx="392">
                  <c:v>350</c:v>
                </c:pt>
                <c:pt idx="393">
                  <c:v>350</c:v>
                </c:pt>
                <c:pt idx="394">
                  <c:v>350</c:v>
                </c:pt>
                <c:pt idx="395">
                  <c:v>350</c:v>
                </c:pt>
                <c:pt idx="396">
                  <c:v>350</c:v>
                </c:pt>
                <c:pt idx="397">
                  <c:v>350</c:v>
                </c:pt>
                <c:pt idx="398">
                  <c:v>350</c:v>
                </c:pt>
                <c:pt idx="399">
                  <c:v>350</c:v>
                </c:pt>
                <c:pt idx="400">
                  <c:v>350</c:v>
                </c:pt>
                <c:pt idx="401">
                  <c:v>350</c:v>
                </c:pt>
                <c:pt idx="402">
                  <c:v>350</c:v>
                </c:pt>
                <c:pt idx="403">
                  <c:v>350</c:v>
                </c:pt>
                <c:pt idx="404">
                  <c:v>350</c:v>
                </c:pt>
                <c:pt idx="405">
                  <c:v>350</c:v>
                </c:pt>
                <c:pt idx="406">
                  <c:v>350</c:v>
                </c:pt>
                <c:pt idx="407">
                  <c:v>350</c:v>
                </c:pt>
                <c:pt idx="408">
                  <c:v>350</c:v>
                </c:pt>
                <c:pt idx="409">
                  <c:v>350</c:v>
                </c:pt>
                <c:pt idx="410">
                  <c:v>350</c:v>
                </c:pt>
                <c:pt idx="411">
                  <c:v>350</c:v>
                </c:pt>
                <c:pt idx="412">
                  <c:v>350</c:v>
                </c:pt>
                <c:pt idx="413">
                  <c:v>350</c:v>
                </c:pt>
                <c:pt idx="414">
                  <c:v>350</c:v>
                </c:pt>
                <c:pt idx="415">
                  <c:v>350</c:v>
                </c:pt>
                <c:pt idx="416">
                  <c:v>350</c:v>
                </c:pt>
                <c:pt idx="417">
                  <c:v>350</c:v>
                </c:pt>
                <c:pt idx="418">
                  <c:v>350</c:v>
                </c:pt>
                <c:pt idx="419">
                  <c:v>350</c:v>
                </c:pt>
                <c:pt idx="420">
                  <c:v>350</c:v>
                </c:pt>
                <c:pt idx="421">
                  <c:v>350</c:v>
                </c:pt>
                <c:pt idx="422">
                  <c:v>350</c:v>
                </c:pt>
                <c:pt idx="423">
                  <c:v>350</c:v>
                </c:pt>
                <c:pt idx="424">
                  <c:v>350</c:v>
                </c:pt>
                <c:pt idx="425">
                  <c:v>350</c:v>
                </c:pt>
                <c:pt idx="426">
                  <c:v>350</c:v>
                </c:pt>
                <c:pt idx="427">
                  <c:v>350</c:v>
                </c:pt>
                <c:pt idx="428">
                  <c:v>350</c:v>
                </c:pt>
                <c:pt idx="429">
                  <c:v>350</c:v>
                </c:pt>
                <c:pt idx="430">
                  <c:v>350</c:v>
                </c:pt>
                <c:pt idx="431">
                  <c:v>350</c:v>
                </c:pt>
                <c:pt idx="432">
                  <c:v>350</c:v>
                </c:pt>
                <c:pt idx="433">
                  <c:v>350</c:v>
                </c:pt>
                <c:pt idx="434">
                  <c:v>350</c:v>
                </c:pt>
                <c:pt idx="435">
                  <c:v>350</c:v>
                </c:pt>
                <c:pt idx="436">
                  <c:v>350</c:v>
                </c:pt>
                <c:pt idx="437">
                  <c:v>350</c:v>
                </c:pt>
                <c:pt idx="438">
                  <c:v>350</c:v>
                </c:pt>
                <c:pt idx="439">
                  <c:v>350</c:v>
                </c:pt>
                <c:pt idx="440">
                  <c:v>350</c:v>
                </c:pt>
                <c:pt idx="441">
                  <c:v>350</c:v>
                </c:pt>
                <c:pt idx="442">
                  <c:v>350</c:v>
                </c:pt>
                <c:pt idx="443">
                  <c:v>350</c:v>
                </c:pt>
                <c:pt idx="444">
                  <c:v>350</c:v>
                </c:pt>
                <c:pt idx="445">
                  <c:v>350</c:v>
                </c:pt>
                <c:pt idx="446">
                  <c:v>350</c:v>
                </c:pt>
                <c:pt idx="447">
                  <c:v>350</c:v>
                </c:pt>
                <c:pt idx="448">
                  <c:v>350</c:v>
                </c:pt>
                <c:pt idx="449">
                  <c:v>350</c:v>
                </c:pt>
                <c:pt idx="450">
                  <c:v>350</c:v>
                </c:pt>
                <c:pt idx="451">
                  <c:v>350</c:v>
                </c:pt>
                <c:pt idx="452">
                  <c:v>350</c:v>
                </c:pt>
                <c:pt idx="453">
                  <c:v>350</c:v>
                </c:pt>
                <c:pt idx="454">
                  <c:v>350</c:v>
                </c:pt>
                <c:pt idx="455">
                  <c:v>350</c:v>
                </c:pt>
                <c:pt idx="456">
                  <c:v>350</c:v>
                </c:pt>
                <c:pt idx="457">
                  <c:v>350</c:v>
                </c:pt>
                <c:pt idx="458">
                  <c:v>350</c:v>
                </c:pt>
                <c:pt idx="459">
                  <c:v>350</c:v>
                </c:pt>
                <c:pt idx="460">
                  <c:v>350</c:v>
                </c:pt>
                <c:pt idx="461">
                  <c:v>350</c:v>
                </c:pt>
                <c:pt idx="462">
                  <c:v>350</c:v>
                </c:pt>
                <c:pt idx="463">
                  <c:v>350</c:v>
                </c:pt>
                <c:pt idx="464">
                  <c:v>350</c:v>
                </c:pt>
                <c:pt idx="465">
                  <c:v>350</c:v>
                </c:pt>
                <c:pt idx="466">
                  <c:v>350</c:v>
                </c:pt>
                <c:pt idx="467">
                  <c:v>350</c:v>
                </c:pt>
                <c:pt idx="468">
                  <c:v>350</c:v>
                </c:pt>
                <c:pt idx="469">
                  <c:v>350</c:v>
                </c:pt>
                <c:pt idx="470">
                  <c:v>350</c:v>
                </c:pt>
                <c:pt idx="471">
                  <c:v>350</c:v>
                </c:pt>
                <c:pt idx="472">
                  <c:v>350</c:v>
                </c:pt>
                <c:pt idx="473">
                  <c:v>350</c:v>
                </c:pt>
                <c:pt idx="474">
                  <c:v>350</c:v>
                </c:pt>
                <c:pt idx="475">
                  <c:v>350</c:v>
                </c:pt>
                <c:pt idx="476">
                  <c:v>350</c:v>
                </c:pt>
                <c:pt idx="477">
                  <c:v>350</c:v>
                </c:pt>
                <c:pt idx="478">
                  <c:v>350</c:v>
                </c:pt>
                <c:pt idx="479">
                  <c:v>350</c:v>
                </c:pt>
                <c:pt idx="480">
                  <c:v>350</c:v>
                </c:pt>
                <c:pt idx="481">
                  <c:v>350</c:v>
                </c:pt>
                <c:pt idx="482">
                  <c:v>350</c:v>
                </c:pt>
                <c:pt idx="483">
                  <c:v>350</c:v>
                </c:pt>
                <c:pt idx="484">
                  <c:v>350</c:v>
                </c:pt>
                <c:pt idx="485">
                  <c:v>350</c:v>
                </c:pt>
                <c:pt idx="486">
                  <c:v>350</c:v>
                </c:pt>
                <c:pt idx="487">
                  <c:v>350</c:v>
                </c:pt>
                <c:pt idx="488">
                  <c:v>350</c:v>
                </c:pt>
                <c:pt idx="489">
                  <c:v>350</c:v>
                </c:pt>
                <c:pt idx="490">
                  <c:v>350</c:v>
                </c:pt>
                <c:pt idx="491">
                  <c:v>350</c:v>
                </c:pt>
                <c:pt idx="492">
                  <c:v>350</c:v>
                </c:pt>
                <c:pt idx="493">
                  <c:v>350</c:v>
                </c:pt>
                <c:pt idx="494">
                  <c:v>350</c:v>
                </c:pt>
                <c:pt idx="495">
                  <c:v>350</c:v>
                </c:pt>
                <c:pt idx="496">
                  <c:v>350</c:v>
                </c:pt>
                <c:pt idx="497">
                  <c:v>350</c:v>
                </c:pt>
                <c:pt idx="498">
                  <c:v>350</c:v>
                </c:pt>
                <c:pt idx="499">
                  <c:v>350</c:v>
                </c:pt>
                <c:pt idx="500">
                  <c:v>350</c:v>
                </c:pt>
                <c:pt idx="501">
                  <c:v>350</c:v>
                </c:pt>
                <c:pt idx="502">
                  <c:v>350</c:v>
                </c:pt>
                <c:pt idx="503">
                  <c:v>350</c:v>
                </c:pt>
                <c:pt idx="504">
                  <c:v>350</c:v>
                </c:pt>
                <c:pt idx="505">
                  <c:v>350</c:v>
                </c:pt>
                <c:pt idx="506">
                  <c:v>350</c:v>
                </c:pt>
                <c:pt idx="507">
                  <c:v>350</c:v>
                </c:pt>
                <c:pt idx="508">
                  <c:v>350</c:v>
                </c:pt>
                <c:pt idx="509">
                  <c:v>350</c:v>
                </c:pt>
                <c:pt idx="510">
                  <c:v>350</c:v>
                </c:pt>
                <c:pt idx="511">
                  <c:v>350</c:v>
                </c:pt>
                <c:pt idx="512">
                  <c:v>350</c:v>
                </c:pt>
                <c:pt idx="513">
                  <c:v>350</c:v>
                </c:pt>
                <c:pt idx="514">
                  <c:v>350</c:v>
                </c:pt>
                <c:pt idx="515">
                  <c:v>350</c:v>
                </c:pt>
                <c:pt idx="516">
                  <c:v>350</c:v>
                </c:pt>
                <c:pt idx="517">
                  <c:v>350</c:v>
                </c:pt>
                <c:pt idx="518">
                  <c:v>350</c:v>
                </c:pt>
                <c:pt idx="519">
                  <c:v>350</c:v>
                </c:pt>
                <c:pt idx="520">
                  <c:v>350</c:v>
                </c:pt>
                <c:pt idx="521">
                  <c:v>350</c:v>
                </c:pt>
                <c:pt idx="522">
                  <c:v>350</c:v>
                </c:pt>
                <c:pt idx="523">
                  <c:v>350</c:v>
                </c:pt>
                <c:pt idx="524">
                  <c:v>350</c:v>
                </c:pt>
                <c:pt idx="525">
                  <c:v>350</c:v>
                </c:pt>
                <c:pt idx="526">
                  <c:v>350</c:v>
                </c:pt>
                <c:pt idx="527">
                  <c:v>350</c:v>
                </c:pt>
                <c:pt idx="528">
                  <c:v>350</c:v>
                </c:pt>
                <c:pt idx="529">
                  <c:v>350</c:v>
                </c:pt>
                <c:pt idx="530">
                  <c:v>350</c:v>
                </c:pt>
                <c:pt idx="531">
                  <c:v>350</c:v>
                </c:pt>
                <c:pt idx="532">
                  <c:v>350</c:v>
                </c:pt>
                <c:pt idx="533">
                  <c:v>350</c:v>
                </c:pt>
                <c:pt idx="534">
                  <c:v>350</c:v>
                </c:pt>
                <c:pt idx="535">
                  <c:v>350</c:v>
                </c:pt>
                <c:pt idx="536">
                  <c:v>350</c:v>
                </c:pt>
                <c:pt idx="537">
                  <c:v>350</c:v>
                </c:pt>
                <c:pt idx="538">
                  <c:v>350</c:v>
                </c:pt>
                <c:pt idx="539">
                  <c:v>350</c:v>
                </c:pt>
                <c:pt idx="540">
                  <c:v>350</c:v>
                </c:pt>
                <c:pt idx="541">
                  <c:v>350</c:v>
                </c:pt>
                <c:pt idx="542">
                  <c:v>350</c:v>
                </c:pt>
                <c:pt idx="543">
                  <c:v>350</c:v>
                </c:pt>
                <c:pt idx="544">
                  <c:v>350</c:v>
                </c:pt>
                <c:pt idx="545">
                  <c:v>350</c:v>
                </c:pt>
                <c:pt idx="546">
                  <c:v>350</c:v>
                </c:pt>
                <c:pt idx="547">
                  <c:v>350</c:v>
                </c:pt>
                <c:pt idx="548">
                  <c:v>350</c:v>
                </c:pt>
                <c:pt idx="549">
                  <c:v>350</c:v>
                </c:pt>
                <c:pt idx="550">
                  <c:v>350</c:v>
                </c:pt>
                <c:pt idx="551">
                  <c:v>350</c:v>
                </c:pt>
                <c:pt idx="552">
                  <c:v>350</c:v>
                </c:pt>
                <c:pt idx="553">
                  <c:v>350</c:v>
                </c:pt>
                <c:pt idx="554">
                  <c:v>350</c:v>
                </c:pt>
                <c:pt idx="555">
                  <c:v>350</c:v>
                </c:pt>
                <c:pt idx="556">
                  <c:v>350</c:v>
                </c:pt>
                <c:pt idx="557">
                  <c:v>350</c:v>
                </c:pt>
                <c:pt idx="558">
                  <c:v>350</c:v>
                </c:pt>
                <c:pt idx="559">
                  <c:v>350</c:v>
                </c:pt>
                <c:pt idx="560">
                  <c:v>350</c:v>
                </c:pt>
                <c:pt idx="561">
                  <c:v>350</c:v>
                </c:pt>
                <c:pt idx="562">
                  <c:v>350</c:v>
                </c:pt>
                <c:pt idx="563">
                  <c:v>350</c:v>
                </c:pt>
                <c:pt idx="564">
                  <c:v>350</c:v>
                </c:pt>
                <c:pt idx="565">
                  <c:v>350</c:v>
                </c:pt>
                <c:pt idx="566">
                  <c:v>350</c:v>
                </c:pt>
                <c:pt idx="567">
                  <c:v>350</c:v>
                </c:pt>
                <c:pt idx="568">
                  <c:v>350</c:v>
                </c:pt>
                <c:pt idx="569">
                  <c:v>350</c:v>
                </c:pt>
                <c:pt idx="570">
                  <c:v>350</c:v>
                </c:pt>
                <c:pt idx="571">
                  <c:v>350</c:v>
                </c:pt>
                <c:pt idx="572">
                  <c:v>350</c:v>
                </c:pt>
                <c:pt idx="573">
                  <c:v>350</c:v>
                </c:pt>
                <c:pt idx="574">
                  <c:v>350</c:v>
                </c:pt>
                <c:pt idx="575">
                  <c:v>350</c:v>
                </c:pt>
                <c:pt idx="576">
                  <c:v>350</c:v>
                </c:pt>
                <c:pt idx="577">
                  <c:v>350</c:v>
                </c:pt>
                <c:pt idx="578">
                  <c:v>350</c:v>
                </c:pt>
                <c:pt idx="579">
                  <c:v>350</c:v>
                </c:pt>
                <c:pt idx="580">
                  <c:v>350</c:v>
                </c:pt>
                <c:pt idx="581">
                  <c:v>350</c:v>
                </c:pt>
                <c:pt idx="582">
                  <c:v>350</c:v>
                </c:pt>
                <c:pt idx="583">
                  <c:v>350</c:v>
                </c:pt>
                <c:pt idx="584">
                  <c:v>350</c:v>
                </c:pt>
                <c:pt idx="585">
                  <c:v>350</c:v>
                </c:pt>
                <c:pt idx="586">
                  <c:v>350</c:v>
                </c:pt>
                <c:pt idx="587">
                  <c:v>350</c:v>
                </c:pt>
                <c:pt idx="588">
                  <c:v>350</c:v>
                </c:pt>
                <c:pt idx="589">
                  <c:v>350</c:v>
                </c:pt>
                <c:pt idx="590">
                  <c:v>350</c:v>
                </c:pt>
                <c:pt idx="591">
                  <c:v>350</c:v>
                </c:pt>
                <c:pt idx="592">
                  <c:v>350</c:v>
                </c:pt>
                <c:pt idx="593">
                  <c:v>350</c:v>
                </c:pt>
                <c:pt idx="594">
                  <c:v>350</c:v>
                </c:pt>
                <c:pt idx="595">
                  <c:v>350</c:v>
                </c:pt>
                <c:pt idx="596">
                  <c:v>350</c:v>
                </c:pt>
                <c:pt idx="597">
                  <c:v>350</c:v>
                </c:pt>
                <c:pt idx="598">
                  <c:v>350</c:v>
                </c:pt>
                <c:pt idx="599">
                  <c:v>350</c:v>
                </c:pt>
                <c:pt idx="600">
                  <c:v>350</c:v>
                </c:pt>
                <c:pt idx="601">
                  <c:v>350</c:v>
                </c:pt>
                <c:pt idx="602">
                  <c:v>350</c:v>
                </c:pt>
                <c:pt idx="603">
                  <c:v>350</c:v>
                </c:pt>
                <c:pt idx="604">
                  <c:v>350</c:v>
                </c:pt>
                <c:pt idx="605">
                  <c:v>350</c:v>
                </c:pt>
                <c:pt idx="606">
                  <c:v>350</c:v>
                </c:pt>
                <c:pt idx="607">
                  <c:v>350</c:v>
                </c:pt>
                <c:pt idx="608">
                  <c:v>350</c:v>
                </c:pt>
                <c:pt idx="609">
                  <c:v>350</c:v>
                </c:pt>
                <c:pt idx="610">
                  <c:v>350</c:v>
                </c:pt>
                <c:pt idx="611">
                  <c:v>350</c:v>
                </c:pt>
                <c:pt idx="612">
                  <c:v>350</c:v>
                </c:pt>
                <c:pt idx="613">
                  <c:v>350</c:v>
                </c:pt>
                <c:pt idx="614">
                  <c:v>350</c:v>
                </c:pt>
                <c:pt idx="615">
                  <c:v>350</c:v>
                </c:pt>
                <c:pt idx="616">
                  <c:v>350</c:v>
                </c:pt>
                <c:pt idx="617">
                  <c:v>350</c:v>
                </c:pt>
                <c:pt idx="618">
                  <c:v>350</c:v>
                </c:pt>
                <c:pt idx="619">
                  <c:v>350</c:v>
                </c:pt>
                <c:pt idx="620">
                  <c:v>350</c:v>
                </c:pt>
                <c:pt idx="621">
                  <c:v>350</c:v>
                </c:pt>
                <c:pt idx="622">
                  <c:v>350</c:v>
                </c:pt>
                <c:pt idx="623">
                  <c:v>350</c:v>
                </c:pt>
                <c:pt idx="624">
                  <c:v>350</c:v>
                </c:pt>
                <c:pt idx="625">
                  <c:v>350</c:v>
                </c:pt>
                <c:pt idx="626">
                  <c:v>350</c:v>
                </c:pt>
                <c:pt idx="627">
                  <c:v>350</c:v>
                </c:pt>
                <c:pt idx="628">
                  <c:v>350</c:v>
                </c:pt>
                <c:pt idx="629">
                  <c:v>350</c:v>
                </c:pt>
                <c:pt idx="630">
                  <c:v>350</c:v>
                </c:pt>
                <c:pt idx="631">
                  <c:v>350</c:v>
                </c:pt>
                <c:pt idx="632">
                  <c:v>350</c:v>
                </c:pt>
                <c:pt idx="633">
                  <c:v>350</c:v>
                </c:pt>
                <c:pt idx="634">
                  <c:v>350</c:v>
                </c:pt>
                <c:pt idx="635">
                  <c:v>350</c:v>
                </c:pt>
                <c:pt idx="636">
                  <c:v>350</c:v>
                </c:pt>
                <c:pt idx="637">
                  <c:v>350</c:v>
                </c:pt>
                <c:pt idx="638">
                  <c:v>350</c:v>
                </c:pt>
                <c:pt idx="639">
                  <c:v>350</c:v>
                </c:pt>
                <c:pt idx="640">
                  <c:v>350</c:v>
                </c:pt>
                <c:pt idx="641">
                  <c:v>350</c:v>
                </c:pt>
                <c:pt idx="642">
                  <c:v>350</c:v>
                </c:pt>
                <c:pt idx="643">
                  <c:v>350</c:v>
                </c:pt>
                <c:pt idx="644">
                  <c:v>350</c:v>
                </c:pt>
                <c:pt idx="645">
                  <c:v>350</c:v>
                </c:pt>
                <c:pt idx="646">
                  <c:v>350</c:v>
                </c:pt>
                <c:pt idx="647">
                  <c:v>350</c:v>
                </c:pt>
                <c:pt idx="648">
                  <c:v>350</c:v>
                </c:pt>
                <c:pt idx="649">
                  <c:v>350</c:v>
                </c:pt>
                <c:pt idx="650">
                  <c:v>350</c:v>
                </c:pt>
                <c:pt idx="651">
                  <c:v>350</c:v>
                </c:pt>
                <c:pt idx="652">
                  <c:v>350</c:v>
                </c:pt>
                <c:pt idx="653">
                  <c:v>350</c:v>
                </c:pt>
                <c:pt idx="654">
                  <c:v>350</c:v>
                </c:pt>
                <c:pt idx="655">
                  <c:v>350</c:v>
                </c:pt>
                <c:pt idx="656">
                  <c:v>350</c:v>
                </c:pt>
                <c:pt idx="657">
                  <c:v>350</c:v>
                </c:pt>
                <c:pt idx="658">
                  <c:v>350</c:v>
                </c:pt>
                <c:pt idx="659">
                  <c:v>350</c:v>
                </c:pt>
                <c:pt idx="660">
                  <c:v>350</c:v>
                </c:pt>
                <c:pt idx="661">
                  <c:v>350</c:v>
                </c:pt>
                <c:pt idx="662">
                  <c:v>350</c:v>
                </c:pt>
                <c:pt idx="663">
                  <c:v>350</c:v>
                </c:pt>
                <c:pt idx="664">
                  <c:v>350</c:v>
                </c:pt>
                <c:pt idx="665">
                  <c:v>350</c:v>
                </c:pt>
                <c:pt idx="666">
                  <c:v>350</c:v>
                </c:pt>
                <c:pt idx="667">
                  <c:v>350</c:v>
                </c:pt>
                <c:pt idx="668">
                  <c:v>350</c:v>
                </c:pt>
                <c:pt idx="669">
                  <c:v>350</c:v>
                </c:pt>
                <c:pt idx="670">
                  <c:v>350</c:v>
                </c:pt>
                <c:pt idx="671">
                  <c:v>350</c:v>
                </c:pt>
                <c:pt idx="672">
                  <c:v>350</c:v>
                </c:pt>
                <c:pt idx="673">
                  <c:v>350</c:v>
                </c:pt>
                <c:pt idx="674">
                  <c:v>350</c:v>
                </c:pt>
                <c:pt idx="675">
                  <c:v>350</c:v>
                </c:pt>
                <c:pt idx="676">
                  <c:v>350</c:v>
                </c:pt>
                <c:pt idx="677">
                  <c:v>350</c:v>
                </c:pt>
                <c:pt idx="678">
                  <c:v>350</c:v>
                </c:pt>
                <c:pt idx="679">
                  <c:v>350</c:v>
                </c:pt>
                <c:pt idx="680">
                  <c:v>350</c:v>
                </c:pt>
                <c:pt idx="681">
                  <c:v>350</c:v>
                </c:pt>
                <c:pt idx="682">
                  <c:v>350</c:v>
                </c:pt>
                <c:pt idx="683">
                  <c:v>350</c:v>
                </c:pt>
                <c:pt idx="684">
                  <c:v>350</c:v>
                </c:pt>
                <c:pt idx="685">
                  <c:v>350</c:v>
                </c:pt>
                <c:pt idx="686">
                  <c:v>350</c:v>
                </c:pt>
                <c:pt idx="687">
                  <c:v>350</c:v>
                </c:pt>
                <c:pt idx="688">
                  <c:v>350</c:v>
                </c:pt>
                <c:pt idx="689">
                  <c:v>350</c:v>
                </c:pt>
                <c:pt idx="690">
                  <c:v>350</c:v>
                </c:pt>
                <c:pt idx="691">
                  <c:v>350</c:v>
                </c:pt>
                <c:pt idx="692">
                  <c:v>350</c:v>
                </c:pt>
                <c:pt idx="693">
                  <c:v>350</c:v>
                </c:pt>
                <c:pt idx="694">
                  <c:v>350</c:v>
                </c:pt>
                <c:pt idx="695">
                  <c:v>350</c:v>
                </c:pt>
                <c:pt idx="696">
                  <c:v>350</c:v>
                </c:pt>
                <c:pt idx="697">
                  <c:v>350</c:v>
                </c:pt>
                <c:pt idx="698">
                  <c:v>350</c:v>
                </c:pt>
                <c:pt idx="699">
                  <c:v>350</c:v>
                </c:pt>
                <c:pt idx="700">
                  <c:v>350</c:v>
                </c:pt>
                <c:pt idx="701">
                  <c:v>350</c:v>
                </c:pt>
                <c:pt idx="702">
                  <c:v>350</c:v>
                </c:pt>
                <c:pt idx="703">
                  <c:v>350</c:v>
                </c:pt>
                <c:pt idx="704">
                  <c:v>350</c:v>
                </c:pt>
                <c:pt idx="705">
                  <c:v>350</c:v>
                </c:pt>
                <c:pt idx="706">
                  <c:v>350</c:v>
                </c:pt>
                <c:pt idx="707">
                  <c:v>350</c:v>
                </c:pt>
                <c:pt idx="708">
                  <c:v>350</c:v>
                </c:pt>
                <c:pt idx="709">
                  <c:v>350</c:v>
                </c:pt>
                <c:pt idx="710">
                  <c:v>350</c:v>
                </c:pt>
                <c:pt idx="711">
                  <c:v>350</c:v>
                </c:pt>
                <c:pt idx="712">
                  <c:v>350</c:v>
                </c:pt>
                <c:pt idx="713">
                  <c:v>350</c:v>
                </c:pt>
                <c:pt idx="714">
                  <c:v>350</c:v>
                </c:pt>
                <c:pt idx="715">
                  <c:v>350</c:v>
                </c:pt>
                <c:pt idx="716">
                  <c:v>350</c:v>
                </c:pt>
                <c:pt idx="717">
                  <c:v>350</c:v>
                </c:pt>
                <c:pt idx="718">
                  <c:v>350</c:v>
                </c:pt>
                <c:pt idx="719">
                  <c:v>350</c:v>
                </c:pt>
                <c:pt idx="720">
                  <c:v>350</c:v>
                </c:pt>
                <c:pt idx="721">
                  <c:v>350</c:v>
                </c:pt>
                <c:pt idx="722">
                  <c:v>350</c:v>
                </c:pt>
                <c:pt idx="723">
                  <c:v>350</c:v>
                </c:pt>
                <c:pt idx="724">
                  <c:v>350</c:v>
                </c:pt>
                <c:pt idx="725">
                  <c:v>350</c:v>
                </c:pt>
                <c:pt idx="726">
                  <c:v>350</c:v>
                </c:pt>
                <c:pt idx="727">
                  <c:v>350</c:v>
                </c:pt>
                <c:pt idx="728">
                  <c:v>350</c:v>
                </c:pt>
                <c:pt idx="729">
                  <c:v>350</c:v>
                </c:pt>
                <c:pt idx="730">
                  <c:v>350</c:v>
                </c:pt>
                <c:pt idx="731">
                  <c:v>350</c:v>
                </c:pt>
                <c:pt idx="732">
                  <c:v>350</c:v>
                </c:pt>
                <c:pt idx="733">
                  <c:v>350</c:v>
                </c:pt>
                <c:pt idx="734">
                  <c:v>350</c:v>
                </c:pt>
                <c:pt idx="735">
                  <c:v>350</c:v>
                </c:pt>
                <c:pt idx="736">
                  <c:v>350</c:v>
                </c:pt>
                <c:pt idx="737">
                  <c:v>350</c:v>
                </c:pt>
                <c:pt idx="738">
                  <c:v>350</c:v>
                </c:pt>
                <c:pt idx="739">
                  <c:v>350</c:v>
                </c:pt>
                <c:pt idx="740">
                  <c:v>350</c:v>
                </c:pt>
                <c:pt idx="741">
                  <c:v>350</c:v>
                </c:pt>
              </c:numCache>
            </c:numRef>
          </c:val>
          <c:smooth val="0"/>
          <c:extLst>
            <c:ext xmlns:c16="http://schemas.microsoft.com/office/drawing/2014/chart" uri="{C3380CC4-5D6E-409C-BE32-E72D297353CC}">
              <c16:uniqueId val="{00000005-BD69-4FD6-A7D6-508AE9A3F891}"/>
            </c:ext>
          </c:extLst>
        </c:ser>
        <c:ser>
          <c:idx val="6"/>
          <c:order val="6"/>
          <c:tx>
            <c:strRef>
              <c:f>硅石价格图表!$AP$2</c:f>
              <c:strCache>
                <c:ptCount val="1"/>
                <c:pt idx="0">
                  <c:v>综合参考价</c:v>
                </c:pt>
              </c:strCache>
            </c:strRef>
          </c:tx>
          <c:spPr>
            <a:ln w="28575" cap="rnd">
              <a:solidFill>
                <a:schemeClr val="accent1">
                  <a:lumMod val="60000"/>
                </a:schemeClr>
              </a:solidFill>
              <a:round/>
            </a:ln>
            <a:effectLst/>
          </c:spPr>
          <c:marker>
            <c:symbol val="none"/>
          </c:marker>
          <c:cat>
            <c:numRef>
              <c:f>硅石价格图表!$AI$3:$AI$744</c:f>
              <c:numCache>
                <c:formatCode>m/d/yyyy</c:formatCode>
                <c:ptCount val="742"/>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pt idx="738">
                  <c:v>44739</c:v>
                </c:pt>
                <c:pt idx="739">
                  <c:v>44738</c:v>
                </c:pt>
                <c:pt idx="740">
                  <c:v>44737</c:v>
                </c:pt>
                <c:pt idx="741">
                  <c:v>44736</c:v>
                </c:pt>
              </c:numCache>
            </c:numRef>
          </c:cat>
          <c:val>
            <c:numRef>
              <c:f>硅石价格图表!$AP$3:$AP$744</c:f>
              <c:numCache>
                <c:formatCode>General</c:formatCode>
                <c:ptCount val="742"/>
                <c:pt idx="0">
                  <c:v>490</c:v>
                </c:pt>
                <c:pt idx="1">
                  <c:v>490</c:v>
                </c:pt>
                <c:pt idx="2">
                  <c:v>490</c:v>
                </c:pt>
                <c:pt idx="3">
                  <c:v>490</c:v>
                </c:pt>
                <c:pt idx="4">
                  <c:v>490</c:v>
                </c:pt>
                <c:pt idx="5">
                  <c:v>490</c:v>
                </c:pt>
                <c:pt idx="6">
                  <c:v>490</c:v>
                </c:pt>
                <c:pt idx="7">
                  <c:v>490</c:v>
                </c:pt>
                <c:pt idx="8">
                  <c:v>490</c:v>
                </c:pt>
                <c:pt idx="9">
                  <c:v>490</c:v>
                </c:pt>
                <c:pt idx="10">
                  <c:v>490</c:v>
                </c:pt>
                <c:pt idx="11">
                  <c:v>490</c:v>
                </c:pt>
                <c:pt idx="12">
                  <c:v>490</c:v>
                </c:pt>
                <c:pt idx="13">
                  <c:v>490</c:v>
                </c:pt>
                <c:pt idx="14">
                  <c:v>490</c:v>
                </c:pt>
                <c:pt idx="15">
                  <c:v>490</c:v>
                </c:pt>
                <c:pt idx="16">
                  <c:v>490</c:v>
                </c:pt>
                <c:pt idx="17">
                  <c:v>490</c:v>
                </c:pt>
                <c:pt idx="18">
                  <c:v>490</c:v>
                </c:pt>
                <c:pt idx="19">
                  <c:v>490</c:v>
                </c:pt>
                <c:pt idx="20">
                  <c:v>490</c:v>
                </c:pt>
                <c:pt idx="21">
                  <c:v>490</c:v>
                </c:pt>
                <c:pt idx="22">
                  <c:v>490</c:v>
                </c:pt>
                <c:pt idx="23">
                  <c:v>490</c:v>
                </c:pt>
                <c:pt idx="24">
                  <c:v>490</c:v>
                </c:pt>
                <c:pt idx="25">
                  <c:v>490</c:v>
                </c:pt>
                <c:pt idx="26">
                  <c:v>490</c:v>
                </c:pt>
                <c:pt idx="27">
                  <c:v>490</c:v>
                </c:pt>
                <c:pt idx="28">
                  <c:v>490</c:v>
                </c:pt>
                <c:pt idx="29">
                  <c:v>490</c:v>
                </c:pt>
                <c:pt idx="30">
                  <c:v>490</c:v>
                </c:pt>
                <c:pt idx="31">
                  <c:v>490</c:v>
                </c:pt>
                <c:pt idx="32">
                  <c:v>490</c:v>
                </c:pt>
                <c:pt idx="33">
                  <c:v>490</c:v>
                </c:pt>
                <c:pt idx="34">
                  <c:v>490</c:v>
                </c:pt>
                <c:pt idx="35">
                  <c:v>490</c:v>
                </c:pt>
                <c:pt idx="36">
                  <c:v>490</c:v>
                </c:pt>
                <c:pt idx="37">
                  <c:v>490</c:v>
                </c:pt>
                <c:pt idx="38">
                  <c:v>490</c:v>
                </c:pt>
                <c:pt idx="39">
                  <c:v>490</c:v>
                </c:pt>
                <c:pt idx="40">
                  <c:v>490</c:v>
                </c:pt>
                <c:pt idx="41">
                  <c:v>490</c:v>
                </c:pt>
                <c:pt idx="42">
                  <c:v>490</c:v>
                </c:pt>
                <c:pt idx="43">
                  <c:v>490</c:v>
                </c:pt>
                <c:pt idx="44">
                  <c:v>490</c:v>
                </c:pt>
                <c:pt idx="45">
                  <c:v>490</c:v>
                </c:pt>
                <c:pt idx="46">
                  <c:v>490</c:v>
                </c:pt>
                <c:pt idx="47">
                  <c:v>490</c:v>
                </c:pt>
                <c:pt idx="48">
                  <c:v>490</c:v>
                </c:pt>
                <c:pt idx="49">
                  <c:v>490</c:v>
                </c:pt>
                <c:pt idx="50">
                  <c:v>490</c:v>
                </c:pt>
                <c:pt idx="51">
                  <c:v>490</c:v>
                </c:pt>
                <c:pt idx="52">
                  <c:v>490</c:v>
                </c:pt>
                <c:pt idx="53">
                  <c:v>490</c:v>
                </c:pt>
                <c:pt idx="54">
                  <c:v>490</c:v>
                </c:pt>
                <c:pt idx="55">
                  <c:v>490</c:v>
                </c:pt>
                <c:pt idx="56">
                  <c:v>490</c:v>
                </c:pt>
                <c:pt idx="57">
                  <c:v>490</c:v>
                </c:pt>
                <c:pt idx="58">
                  <c:v>490</c:v>
                </c:pt>
                <c:pt idx="59">
                  <c:v>490</c:v>
                </c:pt>
                <c:pt idx="60">
                  <c:v>490</c:v>
                </c:pt>
                <c:pt idx="61">
                  <c:v>490</c:v>
                </c:pt>
                <c:pt idx="62">
                  <c:v>490</c:v>
                </c:pt>
                <c:pt idx="63">
                  <c:v>490</c:v>
                </c:pt>
                <c:pt idx="64">
                  <c:v>490</c:v>
                </c:pt>
                <c:pt idx="65">
                  <c:v>490</c:v>
                </c:pt>
                <c:pt idx="66">
                  <c:v>490</c:v>
                </c:pt>
                <c:pt idx="67">
                  <c:v>490</c:v>
                </c:pt>
                <c:pt idx="68">
                  <c:v>490</c:v>
                </c:pt>
                <c:pt idx="69">
                  <c:v>490</c:v>
                </c:pt>
                <c:pt idx="70">
                  <c:v>490</c:v>
                </c:pt>
                <c:pt idx="71">
                  <c:v>490</c:v>
                </c:pt>
                <c:pt idx="72">
                  <c:v>490</c:v>
                </c:pt>
                <c:pt idx="73">
                  <c:v>490</c:v>
                </c:pt>
                <c:pt idx="74">
                  <c:v>490</c:v>
                </c:pt>
                <c:pt idx="75">
                  <c:v>490</c:v>
                </c:pt>
                <c:pt idx="76">
                  <c:v>490</c:v>
                </c:pt>
                <c:pt idx="77">
                  <c:v>490</c:v>
                </c:pt>
                <c:pt idx="78">
                  <c:v>490</c:v>
                </c:pt>
                <c:pt idx="79">
                  <c:v>490</c:v>
                </c:pt>
                <c:pt idx="80">
                  <c:v>490</c:v>
                </c:pt>
                <c:pt idx="81">
                  <c:v>490</c:v>
                </c:pt>
                <c:pt idx="82">
                  <c:v>490</c:v>
                </c:pt>
                <c:pt idx="83">
                  <c:v>490</c:v>
                </c:pt>
                <c:pt idx="84">
                  <c:v>490</c:v>
                </c:pt>
                <c:pt idx="85">
                  <c:v>490</c:v>
                </c:pt>
                <c:pt idx="86">
                  <c:v>490</c:v>
                </c:pt>
                <c:pt idx="87">
                  <c:v>490</c:v>
                </c:pt>
                <c:pt idx="88">
                  <c:v>490</c:v>
                </c:pt>
                <c:pt idx="89">
                  <c:v>490</c:v>
                </c:pt>
                <c:pt idx="90">
                  <c:v>490</c:v>
                </c:pt>
                <c:pt idx="91">
                  <c:v>490</c:v>
                </c:pt>
                <c:pt idx="92">
                  <c:v>490</c:v>
                </c:pt>
                <c:pt idx="93">
                  <c:v>490</c:v>
                </c:pt>
                <c:pt idx="94">
                  <c:v>490</c:v>
                </c:pt>
                <c:pt idx="95">
                  <c:v>490</c:v>
                </c:pt>
                <c:pt idx="96">
                  <c:v>490</c:v>
                </c:pt>
                <c:pt idx="97">
                  <c:v>490</c:v>
                </c:pt>
                <c:pt idx="98">
                  <c:v>490</c:v>
                </c:pt>
                <c:pt idx="99">
                  <c:v>490</c:v>
                </c:pt>
                <c:pt idx="100">
                  <c:v>490</c:v>
                </c:pt>
                <c:pt idx="101">
                  <c:v>490</c:v>
                </c:pt>
                <c:pt idx="102">
                  <c:v>490</c:v>
                </c:pt>
                <c:pt idx="103">
                  <c:v>490</c:v>
                </c:pt>
                <c:pt idx="104">
                  <c:v>490</c:v>
                </c:pt>
                <c:pt idx="105">
                  <c:v>490</c:v>
                </c:pt>
                <c:pt idx="106">
                  <c:v>490</c:v>
                </c:pt>
                <c:pt idx="107">
                  <c:v>490</c:v>
                </c:pt>
                <c:pt idx="108">
                  <c:v>490</c:v>
                </c:pt>
                <c:pt idx="109">
                  <c:v>490</c:v>
                </c:pt>
                <c:pt idx="110">
                  <c:v>490</c:v>
                </c:pt>
                <c:pt idx="111">
                  <c:v>490</c:v>
                </c:pt>
                <c:pt idx="112">
                  <c:v>490</c:v>
                </c:pt>
                <c:pt idx="113">
                  <c:v>490</c:v>
                </c:pt>
                <c:pt idx="114">
                  <c:v>490</c:v>
                </c:pt>
                <c:pt idx="115">
                  <c:v>490</c:v>
                </c:pt>
                <c:pt idx="116">
                  <c:v>490</c:v>
                </c:pt>
                <c:pt idx="117">
                  <c:v>490</c:v>
                </c:pt>
                <c:pt idx="118">
                  <c:v>490</c:v>
                </c:pt>
                <c:pt idx="119">
                  <c:v>490</c:v>
                </c:pt>
                <c:pt idx="120">
                  <c:v>490</c:v>
                </c:pt>
                <c:pt idx="121">
                  <c:v>490</c:v>
                </c:pt>
                <c:pt idx="122">
                  <c:v>490</c:v>
                </c:pt>
                <c:pt idx="123">
                  <c:v>490</c:v>
                </c:pt>
                <c:pt idx="124">
                  <c:v>490</c:v>
                </c:pt>
                <c:pt idx="125">
                  <c:v>490</c:v>
                </c:pt>
                <c:pt idx="126">
                  <c:v>490</c:v>
                </c:pt>
                <c:pt idx="127">
                  <c:v>490</c:v>
                </c:pt>
                <c:pt idx="128">
                  <c:v>490</c:v>
                </c:pt>
                <c:pt idx="129">
                  <c:v>490</c:v>
                </c:pt>
                <c:pt idx="130">
                  <c:v>490</c:v>
                </c:pt>
                <c:pt idx="131">
                  <c:v>490</c:v>
                </c:pt>
                <c:pt idx="132">
                  <c:v>490</c:v>
                </c:pt>
                <c:pt idx="133">
                  <c:v>490</c:v>
                </c:pt>
                <c:pt idx="134">
                  <c:v>490</c:v>
                </c:pt>
                <c:pt idx="135">
                  <c:v>490</c:v>
                </c:pt>
                <c:pt idx="136">
                  <c:v>490</c:v>
                </c:pt>
                <c:pt idx="137">
                  <c:v>490</c:v>
                </c:pt>
                <c:pt idx="138">
                  <c:v>490</c:v>
                </c:pt>
                <c:pt idx="139">
                  <c:v>490</c:v>
                </c:pt>
                <c:pt idx="140">
                  <c:v>490</c:v>
                </c:pt>
                <c:pt idx="141">
                  <c:v>490</c:v>
                </c:pt>
                <c:pt idx="142">
                  <c:v>490</c:v>
                </c:pt>
                <c:pt idx="143">
                  <c:v>490</c:v>
                </c:pt>
                <c:pt idx="144">
                  <c:v>490</c:v>
                </c:pt>
                <c:pt idx="145">
                  <c:v>490</c:v>
                </c:pt>
                <c:pt idx="146">
                  <c:v>490</c:v>
                </c:pt>
                <c:pt idx="147">
                  <c:v>490</c:v>
                </c:pt>
                <c:pt idx="148">
                  <c:v>490</c:v>
                </c:pt>
                <c:pt idx="149">
                  <c:v>490</c:v>
                </c:pt>
                <c:pt idx="150">
                  <c:v>490</c:v>
                </c:pt>
                <c:pt idx="151">
                  <c:v>490</c:v>
                </c:pt>
                <c:pt idx="152">
                  <c:v>490</c:v>
                </c:pt>
                <c:pt idx="153">
                  <c:v>490</c:v>
                </c:pt>
                <c:pt idx="154">
                  <c:v>490</c:v>
                </c:pt>
                <c:pt idx="155">
                  <c:v>490</c:v>
                </c:pt>
                <c:pt idx="156">
                  <c:v>490</c:v>
                </c:pt>
                <c:pt idx="157">
                  <c:v>490</c:v>
                </c:pt>
                <c:pt idx="158">
                  <c:v>490</c:v>
                </c:pt>
                <c:pt idx="159">
                  <c:v>490</c:v>
                </c:pt>
                <c:pt idx="160">
                  <c:v>490</c:v>
                </c:pt>
                <c:pt idx="161">
                  <c:v>490</c:v>
                </c:pt>
                <c:pt idx="162">
                  <c:v>490</c:v>
                </c:pt>
                <c:pt idx="163">
                  <c:v>490</c:v>
                </c:pt>
                <c:pt idx="164">
                  <c:v>490</c:v>
                </c:pt>
                <c:pt idx="165">
                  <c:v>490</c:v>
                </c:pt>
                <c:pt idx="166">
                  <c:v>490</c:v>
                </c:pt>
                <c:pt idx="167">
                  <c:v>490</c:v>
                </c:pt>
                <c:pt idx="168">
                  <c:v>490</c:v>
                </c:pt>
                <c:pt idx="169">
                  <c:v>490</c:v>
                </c:pt>
                <c:pt idx="170">
                  <c:v>490</c:v>
                </c:pt>
                <c:pt idx="171">
                  <c:v>490</c:v>
                </c:pt>
                <c:pt idx="172">
                  <c:v>490</c:v>
                </c:pt>
                <c:pt idx="173">
                  <c:v>490</c:v>
                </c:pt>
                <c:pt idx="174">
                  <c:v>490</c:v>
                </c:pt>
                <c:pt idx="175">
                  <c:v>490</c:v>
                </c:pt>
                <c:pt idx="176">
                  <c:v>490</c:v>
                </c:pt>
                <c:pt idx="177">
                  <c:v>490</c:v>
                </c:pt>
                <c:pt idx="178">
                  <c:v>490</c:v>
                </c:pt>
                <c:pt idx="179">
                  <c:v>490</c:v>
                </c:pt>
                <c:pt idx="180">
                  <c:v>490</c:v>
                </c:pt>
                <c:pt idx="181">
                  <c:v>490</c:v>
                </c:pt>
                <c:pt idx="182">
                  <c:v>490</c:v>
                </c:pt>
                <c:pt idx="183">
                  <c:v>490</c:v>
                </c:pt>
                <c:pt idx="184">
                  <c:v>490</c:v>
                </c:pt>
                <c:pt idx="185">
                  <c:v>490</c:v>
                </c:pt>
                <c:pt idx="186">
                  <c:v>490</c:v>
                </c:pt>
                <c:pt idx="187">
                  <c:v>490</c:v>
                </c:pt>
                <c:pt idx="188">
                  <c:v>490</c:v>
                </c:pt>
                <c:pt idx="189">
                  <c:v>490</c:v>
                </c:pt>
                <c:pt idx="190">
                  <c:v>490</c:v>
                </c:pt>
                <c:pt idx="191">
                  <c:v>490</c:v>
                </c:pt>
                <c:pt idx="192">
                  <c:v>490</c:v>
                </c:pt>
                <c:pt idx="193">
                  <c:v>490</c:v>
                </c:pt>
                <c:pt idx="194">
                  <c:v>490</c:v>
                </c:pt>
                <c:pt idx="195">
                  <c:v>490</c:v>
                </c:pt>
                <c:pt idx="196">
                  <c:v>490</c:v>
                </c:pt>
                <c:pt idx="197">
                  <c:v>490</c:v>
                </c:pt>
                <c:pt idx="198">
                  <c:v>490</c:v>
                </c:pt>
                <c:pt idx="199">
                  <c:v>490</c:v>
                </c:pt>
                <c:pt idx="200">
                  <c:v>490</c:v>
                </c:pt>
                <c:pt idx="201">
                  <c:v>490</c:v>
                </c:pt>
                <c:pt idx="202">
                  <c:v>490</c:v>
                </c:pt>
                <c:pt idx="203">
                  <c:v>490</c:v>
                </c:pt>
                <c:pt idx="204">
                  <c:v>490</c:v>
                </c:pt>
                <c:pt idx="205">
                  <c:v>490</c:v>
                </c:pt>
                <c:pt idx="206">
                  <c:v>490</c:v>
                </c:pt>
                <c:pt idx="207">
                  <c:v>487</c:v>
                </c:pt>
                <c:pt idx="208">
                  <c:v>487</c:v>
                </c:pt>
                <c:pt idx="209">
                  <c:v>487</c:v>
                </c:pt>
                <c:pt idx="210">
                  <c:v>487</c:v>
                </c:pt>
                <c:pt idx="211">
                  <c:v>487</c:v>
                </c:pt>
                <c:pt idx="212">
                  <c:v>487</c:v>
                </c:pt>
                <c:pt idx="213">
                  <c:v>487</c:v>
                </c:pt>
                <c:pt idx="214">
                  <c:v>487</c:v>
                </c:pt>
                <c:pt idx="215">
                  <c:v>487</c:v>
                </c:pt>
                <c:pt idx="216">
                  <c:v>487</c:v>
                </c:pt>
                <c:pt idx="217">
                  <c:v>487</c:v>
                </c:pt>
                <c:pt idx="218">
                  <c:v>487</c:v>
                </c:pt>
                <c:pt idx="219">
                  <c:v>487</c:v>
                </c:pt>
                <c:pt idx="220">
                  <c:v>487</c:v>
                </c:pt>
                <c:pt idx="221">
                  <c:v>487</c:v>
                </c:pt>
                <c:pt idx="222">
                  <c:v>487</c:v>
                </c:pt>
                <c:pt idx="223">
                  <c:v>487</c:v>
                </c:pt>
                <c:pt idx="224">
                  <c:v>487</c:v>
                </c:pt>
                <c:pt idx="225">
                  <c:v>487</c:v>
                </c:pt>
                <c:pt idx="226">
                  <c:v>487</c:v>
                </c:pt>
                <c:pt idx="227">
                  <c:v>487</c:v>
                </c:pt>
                <c:pt idx="228">
                  <c:v>487</c:v>
                </c:pt>
                <c:pt idx="229">
                  <c:v>487</c:v>
                </c:pt>
                <c:pt idx="230">
                  <c:v>487</c:v>
                </c:pt>
                <c:pt idx="231">
                  <c:v>487</c:v>
                </c:pt>
                <c:pt idx="232">
                  <c:v>487</c:v>
                </c:pt>
                <c:pt idx="233">
                  <c:v>487</c:v>
                </c:pt>
                <c:pt idx="234">
                  <c:v>487</c:v>
                </c:pt>
                <c:pt idx="235">
                  <c:v>487</c:v>
                </c:pt>
                <c:pt idx="236">
                  <c:v>487</c:v>
                </c:pt>
                <c:pt idx="237">
                  <c:v>487</c:v>
                </c:pt>
                <c:pt idx="238">
                  <c:v>487</c:v>
                </c:pt>
                <c:pt idx="239">
                  <c:v>487</c:v>
                </c:pt>
                <c:pt idx="240">
                  <c:v>487</c:v>
                </c:pt>
                <c:pt idx="241">
                  <c:v>487</c:v>
                </c:pt>
                <c:pt idx="242">
                  <c:v>487</c:v>
                </c:pt>
                <c:pt idx="243">
                  <c:v>487</c:v>
                </c:pt>
                <c:pt idx="244">
                  <c:v>487</c:v>
                </c:pt>
                <c:pt idx="245">
                  <c:v>487</c:v>
                </c:pt>
                <c:pt idx="246">
                  <c:v>487</c:v>
                </c:pt>
                <c:pt idx="247">
                  <c:v>487</c:v>
                </c:pt>
                <c:pt idx="248">
                  <c:v>487</c:v>
                </c:pt>
                <c:pt idx="249">
                  <c:v>487</c:v>
                </c:pt>
                <c:pt idx="250">
                  <c:v>487</c:v>
                </c:pt>
                <c:pt idx="251">
                  <c:v>487</c:v>
                </c:pt>
                <c:pt idx="252">
                  <c:v>487</c:v>
                </c:pt>
                <c:pt idx="253">
                  <c:v>487</c:v>
                </c:pt>
                <c:pt idx="254">
                  <c:v>487</c:v>
                </c:pt>
                <c:pt idx="255">
                  <c:v>487</c:v>
                </c:pt>
                <c:pt idx="256">
                  <c:v>487</c:v>
                </c:pt>
                <c:pt idx="257">
                  <c:v>487</c:v>
                </c:pt>
                <c:pt idx="258">
                  <c:v>487</c:v>
                </c:pt>
                <c:pt idx="259">
                  <c:v>487</c:v>
                </c:pt>
                <c:pt idx="260">
                  <c:v>487</c:v>
                </c:pt>
                <c:pt idx="261">
                  <c:v>487</c:v>
                </c:pt>
                <c:pt idx="262">
                  <c:v>487</c:v>
                </c:pt>
                <c:pt idx="263">
                  <c:v>487</c:v>
                </c:pt>
                <c:pt idx="264">
                  <c:v>487</c:v>
                </c:pt>
                <c:pt idx="265">
                  <c:v>487</c:v>
                </c:pt>
                <c:pt idx="266">
                  <c:v>487</c:v>
                </c:pt>
                <c:pt idx="267">
                  <c:v>487</c:v>
                </c:pt>
                <c:pt idx="268">
                  <c:v>487</c:v>
                </c:pt>
                <c:pt idx="269">
                  <c:v>487</c:v>
                </c:pt>
                <c:pt idx="270">
                  <c:v>487</c:v>
                </c:pt>
                <c:pt idx="271">
                  <c:v>487</c:v>
                </c:pt>
                <c:pt idx="272">
                  <c:v>487</c:v>
                </c:pt>
                <c:pt idx="273">
                  <c:v>487</c:v>
                </c:pt>
                <c:pt idx="274">
                  <c:v>487</c:v>
                </c:pt>
                <c:pt idx="275">
                  <c:v>487</c:v>
                </c:pt>
                <c:pt idx="276">
                  <c:v>487</c:v>
                </c:pt>
                <c:pt idx="277">
                  <c:v>487</c:v>
                </c:pt>
                <c:pt idx="278">
                  <c:v>487</c:v>
                </c:pt>
                <c:pt idx="279">
                  <c:v>487</c:v>
                </c:pt>
                <c:pt idx="280">
                  <c:v>487</c:v>
                </c:pt>
                <c:pt idx="281">
                  <c:v>487</c:v>
                </c:pt>
                <c:pt idx="282">
                  <c:v>487</c:v>
                </c:pt>
                <c:pt idx="283">
                  <c:v>487</c:v>
                </c:pt>
                <c:pt idx="284">
                  <c:v>487</c:v>
                </c:pt>
                <c:pt idx="285">
                  <c:v>487</c:v>
                </c:pt>
                <c:pt idx="286">
                  <c:v>487</c:v>
                </c:pt>
                <c:pt idx="287">
                  <c:v>487</c:v>
                </c:pt>
                <c:pt idx="288">
                  <c:v>487</c:v>
                </c:pt>
                <c:pt idx="289">
                  <c:v>487</c:v>
                </c:pt>
                <c:pt idx="290">
                  <c:v>487</c:v>
                </c:pt>
                <c:pt idx="291">
                  <c:v>487</c:v>
                </c:pt>
                <c:pt idx="292">
                  <c:v>487</c:v>
                </c:pt>
                <c:pt idx="293">
                  <c:v>487</c:v>
                </c:pt>
                <c:pt idx="294">
                  <c:v>487</c:v>
                </c:pt>
                <c:pt idx="295">
                  <c:v>487</c:v>
                </c:pt>
                <c:pt idx="296">
                  <c:v>487</c:v>
                </c:pt>
                <c:pt idx="297">
                  <c:v>487</c:v>
                </c:pt>
                <c:pt idx="298">
                  <c:v>487</c:v>
                </c:pt>
                <c:pt idx="299">
                  <c:v>487</c:v>
                </c:pt>
                <c:pt idx="300">
                  <c:v>487</c:v>
                </c:pt>
                <c:pt idx="301">
                  <c:v>487</c:v>
                </c:pt>
                <c:pt idx="302">
                  <c:v>487</c:v>
                </c:pt>
                <c:pt idx="303">
                  <c:v>487</c:v>
                </c:pt>
                <c:pt idx="304">
                  <c:v>487</c:v>
                </c:pt>
                <c:pt idx="305">
                  <c:v>487</c:v>
                </c:pt>
                <c:pt idx="306">
                  <c:v>487</c:v>
                </c:pt>
                <c:pt idx="307">
                  <c:v>487</c:v>
                </c:pt>
                <c:pt idx="308">
                  <c:v>487</c:v>
                </c:pt>
                <c:pt idx="309">
                  <c:v>487</c:v>
                </c:pt>
                <c:pt idx="310">
                  <c:v>487</c:v>
                </c:pt>
                <c:pt idx="311">
                  <c:v>487</c:v>
                </c:pt>
                <c:pt idx="312">
                  <c:v>487</c:v>
                </c:pt>
                <c:pt idx="313">
                  <c:v>487</c:v>
                </c:pt>
                <c:pt idx="314">
                  <c:v>487</c:v>
                </c:pt>
                <c:pt idx="315">
                  <c:v>487</c:v>
                </c:pt>
                <c:pt idx="316">
                  <c:v>487</c:v>
                </c:pt>
                <c:pt idx="317">
                  <c:v>487</c:v>
                </c:pt>
                <c:pt idx="318">
                  <c:v>487</c:v>
                </c:pt>
                <c:pt idx="319">
                  <c:v>#N/A</c:v>
                </c:pt>
                <c:pt idx="320">
                  <c:v>#N/A</c:v>
                </c:pt>
                <c:pt idx="321">
                  <c:v>487</c:v>
                </c:pt>
                <c:pt idx="322">
                  <c:v>487</c:v>
                </c:pt>
                <c:pt idx="323">
                  <c:v>487</c:v>
                </c:pt>
                <c:pt idx="324">
                  <c:v>487</c:v>
                </c:pt>
                <c:pt idx="325">
                  <c:v>487</c:v>
                </c:pt>
                <c:pt idx="326">
                  <c:v>487</c:v>
                </c:pt>
                <c:pt idx="327">
                  <c:v>487</c:v>
                </c:pt>
                <c:pt idx="328">
                  <c:v>487</c:v>
                </c:pt>
                <c:pt idx="329">
                  <c:v>487</c:v>
                </c:pt>
                <c:pt idx="330">
                  <c:v>487</c:v>
                </c:pt>
                <c:pt idx="331">
                  <c:v>487</c:v>
                </c:pt>
                <c:pt idx="332">
                  <c:v>487</c:v>
                </c:pt>
                <c:pt idx="333">
                  <c:v>487</c:v>
                </c:pt>
                <c:pt idx="334">
                  <c:v>487</c:v>
                </c:pt>
                <c:pt idx="335">
                  <c:v>487</c:v>
                </c:pt>
                <c:pt idx="336">
                  <c:v>487</c:v>
                </c:pt>
                <c:pt idx="337">
                  <c:v>487</c:v>
                </c:pt>
                <c:pt idx="338">
                  <c:v>487</c:v>
                </c:pt>
                <c:pt idx="339">
                  <c:v>487</c:v>
                </c:pt>
                <c:pt idx="340">
                  <c:v>487</c:v>
                </c:pt>
                <c:pt idx="341">
                  <c:v>487</c:v>
                </c:pt>
                <c:pt idx="342">
                  <c:v>487</c:v>
                </c:pt>
                <c:pt idx="343">
                  <c:v>487</c:v>
                </c:pt>
                <c:pt idx="344">
                  <c:v>487</c:v>
                </c:pt>
                <c:pt idx="345">
                  <c:v>487</c:v>
                </c:pt>
                <c:pt idx="346">
                  <c:v>487</c:v>
                </c:pt>
                <c:pt idx="347">
                  <c:v>487</c:v>
                </c:pt>
                <c:pt idx="348">
                  <c:v>487</c:v>
                </c:pt>
                <c:pt idx="349">
                  <c:v>487</c:v>
                </c:pt>
                <c:pt idx="350">
                  <c:v>487</c:v>
                </c:pt>
                <c:pt idx="351">
                  <c:v>487</c:v>
                </c:pt>
                <c:pt idx="352">
                  <c:v>487</c:v>
                </c:pt>
                <c:pt idx="353">
                  <c:v>487</c:v>
                </c:pt>
                <c:pt idx="354">
                  <c:v>487</c:v>
                </c:pt>
                <c:pt idx="355">
                  <c:v>487</c:v>
                </c:pt>
                <c:pt idx="356">
                  <c:v>487</c:v>
                </c:pt>
                <c:pt idx="357">
                  <c:v>487</c:v>
                </c:pt>
                <c:pt idx="358">
                  <c:v>500</c:v>
                </c:pt>
                <c:pt idx="359">
                  <c:v>500</c:v>
                </c:pt>
                <c:pt idx="360">
                  <c:v>500</c:v>
                </c:pt>
                <c:pt idx="361">
                  <c:v>500</c:v>
                </c:pt>
                <c:pt idx="362">
                  <c:v>500</c:v>
                </c:pt>
                <c:pt idx="363">
                  <c:v>500</c:v>
                </c:pt>
                <c:pt idx="364">
                  <c:v>500</c:v>
                </c:pt>
                <c:pt idx="365">
                  <c:v>500</c:v>
                </c:pt>
                <c:pt idx="366">
                  <c:v>500</c:v>
                </c:pt>
                <c:pt idx="367">
                  <c:v>500</c:v>
                </c:pt>
                <c:pt idx="368">
                  <c:v>500</c:v>
                </c:pt>
                <c:pt idx="369">
                  <c:v>500</c:v>
                </c:pt>
                <c:pt idx="370">
                  <c:v>500</c:v>
                </c:pt>
                <c:pt idx="371">
                  <c:v>500</c:v>
                </c:pt>
                <c:pt idx="372">
                  <c:v>500</c:v>
                </c:pt>
                <c:pt idx="373">
                  <c:v>500</c:v>
                </c:pt>
                <c:pt idx="374">
                  <c:v>500</c:v>
                </c:pt>
                <c:pt idx="375">
                  <c:v>500</c:v>
                </c:pt>
                <c:pt idx="376">
                  <c:v>500</c:v>
                </c:pt>
                <c:pt idx="377">
                  <c:v>500</c:v>
                </c:pt>
                <c:pt idx="378">
                  <c:v>500</c:v>
                </c:pt>
                <c:pt idx="379">
                  <c:v>500</c:v>
                </c:pt>
                <c:pt idx="380">
                  <c:v>500</c:v>
                </c:pt>
                <c:pt idx="381">
                  <c:v>500</c:v>
                </c:pt>
                <c:pt idx="382">
                  <c:v>500</c:v>
                </c:pt>
                <c:pt idx="383">
                  <c:v>500</c:v>
                </c:pt>
                <c:pt idx="384">
                  <c:v>500</c:v>
                </c:pt>
                <c:pt idx="385">
                  <c:v>500</c:v>
                </c:pt>
                <c:pt idx="386">
                  <c:v>500</c:v>
                </c:pt>
                <c:pt idx="387">
                  <c:v>500</c:v>
                </c:pt>
                <c:pt idx="388">
                  <c:v>500</c:v>
                </c:pt>
                <c:pt idx="389">
                  <c:v>500</c:v>
                </c:pt>
                <c:pt idx="390">
                  <c:v>500</c:v>
                </c:pt>
                <c:pt idx="391">
                  <c:v>500</c:v>
                </c:pt>
                <c:pt idx="392">
                  <c:v>500</c:v>
                </c:pt>
                <c:pt idx="393">
                  <c:v>500</c:v>
                </c:pt>
                <c:pt idx="394">
                  <c:v>500</c:v>
                </c:pt>
                <c:pt idx="395">
                  <c:v>500</c:v>
                </c:pt>
                <c:pt idx="396">
                  <c:v>500</c:v>
                </c:pt>
                <c:pt idx="397">
                  <c:v>500</c:v>
                </c:pt>
                <c:pt idx="398">
                  <c:v>500</c:v>
                </c:pt>
                <c:pt idx="399">
                  <c:v>500</c:v>
                </c:pt>
                <c:pt idx="400">
                  <c:v>500</c:v>
                </c:pt>
                <c:pt idx="401">
                  <c:v>500</c:v>
                </c:pt>
                <c:pt idx="402">
                  <c:v>500</c:v>
                </c:pt>
                <c:pt idx="403">
                  <c:v>500</c:v>
                </c:pt>
                <c:pt idx="404">
                  <c:v>500</c:v>
                </c:pt>
                <c:pt idx="405">
                  <c:v>500</c:v>
                </c:pt>
                <c:pt idx="406">
                  <c:v>500</c:v>
                </c:pt>
                <c:pt idx="407">
                  <c:v>500</c:v>
                </c:pt>
                <c:pt idx="408">
                  <c:v>500</c:v>
                </c:pt>
                <c:pt idx="409">
                  <c:v>500</c:v>
                </c:pt>
                <c:pt idx="410">
                  <c:v>500</c:v>
                </c:pt>
                <c:pt idx="411">
                  <c:v>500</c:v>
                </c:pt>
                <c:pt idx="412">
                  <c:v>500</c:v>
                </c:pt>
                <c:pt idx="413">
                  <c:v>500</c:v>
                </c:pt>
                <c:pt idx="414">
                  <c:v>500</c:v>
                </c:pt>
                <c:pt idx="415">
                  <c:v>500</c:v>
                </c:pt>
                <c:pt idx="416">
                  <c:v>500</c:v>
                </c:pt>
                <c:pt idx="417">
                  <c:v>500</c:v>
                </c:pt>
                <c:pt idx="418">
                  <c:v>500</c:v>
                </c:pt>
                <c:pt idx="419">
                  <c:v>500</c:v>
                </c:pt>
                <c:pt idx="420">
                  <c:v>500</c:v>
                </c:pt>
                <c:pt idx="421">
                  <c:v>500</c:v>
                </c:pt>
                <c:pt idx="422">
                  <c:v>500</c:v>
                </c:pt>
                <c:pt idx="423">
                  <c:v>500</c:v>
                </c:pt>
                <c:pt idx="424">
                  <c:v>500</c:v>
                </c:pt>
                <c:pt idx="425">
                  <c:v>500</c:v>
                </c:pt>
                <c:pt idx="426">
                  <c:v>500</c:v>
                </c:pt>
                <c:pt idx="427">
                  <c:v>500</c:v>
                </c:pt>
                <c:pt idx="428">
                  <c:v>500</c:v>
                </c:pt>
                <c:pt idx="429">
                  <c:v>500</c:v>
                </c:pt>
                <c:pt idx="430">
                  <c:v>500</c:v>
                </c:pt>
                <c:pt idx="431">
                  <c:v>500</c:v>
                </c:pt>
                <c:pt idx="432">
                  <c:v>500</c:v>
                </c:pt>
                <c:pt idx="433">
                  <c:v>500</c:v>
                </c:pt>
                <c:pt idx="434">
                  <c:v>500</c:v>
                </c:pt>
                <c:pt idx="435">
                  <c:v>500</c:v>
                </c:pt>
                <c:pt idx="436">
                  <c:v>500</c:v>
                </c:pt>
                <c:pt idx="437">
                  <c:v>500</c:v>
                </c:pt>
                <c:pt idx="438">
                  <c:v>500</c:v>
                </c:pt>
                <c:pt idx="439">
                  <c:v>500</c:v>
                </c:pt>
                <c:pt idx="440">
                  <c:v>500</c:v>
                </c:pt>
                <c:pt idx="441">
                  <c:v>500</c:v>
                </c:pt>
                <c:pt idx="442">
                  <c:v>500</c:v>
                </c:pt>
                <c:pt idx="443">
                  <c:v>500</c:v>
                </c:pt>
                <c:pt idx="444">
                  <c:v>500</c:v>
                </c:pt>
                <c:pt idx="445">
                  <c:v>500</c:v>
                </c:pt>
                <c:pt idx="446">
                  <c:v>500</c:v>
                </c:pt>
                <c:pt idx="447">
                  <c:v>500</c:v>
                </c:pt>
                <c:pt idx="448">
                  <c:v>500</c:v>
                </c:pt>
                <c:pt idx="449">
                  <c:v>500</c:v>
                </c:pt>
                <c:pt idx="450">
                  <c:v>500</c:v>
                </c:pt>
                <c:pt idx="451">
                  <c:v>500</c:v>
                </c:pt>
                <c:pt idx="452">
                  <c:v>500</c:v>
                </c:pt>
                <c:pt idx="453">
                  <c:v>500</c:v>
                </c:pt>
                <c:pt idx="454">
                  <c:v>500</c:v>
                </c:pt>
                <c:pt idx="455">
                  <c:v>500</c:v>
                </c:pt>
                <c:pt idx="456">
                  <c:v>500</c:v>
                </c:pt>
                <c:pt idx="457">
                  <c:v>500</c:v>
                </c:pt>
                <c:pt idx="458">
                  <c:v>500</c:v>
                </c:pt>
                <c:pt idx="459">
                  <c:v>500</c:v>
                </c:pt>
                <c:pt idx="460">
                  <c:v>500</c:v>
                </c:pt>
                <c:pt idx="461">
                  <c:v>500</c:v>
                </c:pt>
                <c:pt idx="462">
                  <c:v>500</c:v>
                </c:pt>
                <c:pt idx="463">
                  <c:v>500</c:v>
                </c:pt>
                <c:pt idx="464">
                  <c:v>500</c:v>
                </c:pt>
                <c:pt idx="465">
                  <c:v>500</c:v>
                </c:pt>
                <c:pt idx="466">
                  <c:v>500</c:v>
                </c:pt>
                <c:pt idx="467">
                  <c:v>500</c:v>
                </c:pt>
                <c:pt idx="468">
                  <c:v>500</c:v>
                </c:pt>
                <c:pt idx="469">
                  <c:v>500</c:v>
                </c:pt>
                <c:pt idx="470">
                  <c:v>500</c:v>
                </c:pt>
                <c:pt idx="471">
                  <c:v>500</c:v>
                </c:pt>
                <c:pt idx="472">
                  <c:v>500</c:v>
                </c:pt>
                <c:pt idx="473">
                  <c:v>500</c:v>
                </c:pt>
                <c:pt idx="474">
                  <c:v>500</c:v>
                </c:pt>
                <c:pt idx="475">
                  <c:v>500</c:v>
                </c:pt>
                <c:pt idx="476">
                  <c:v>500</c:v>
                </c:pt>
                <c:pt idx="477">
                  <c:v>500</c:v>
                </c:pt>
                <c:pt idx="478">
                  <c:v>500</c:v>
                </c:pt>
                <c:pt idx="479">
                  <c:v>500</c:v>
                </c:pt>
                <c:pt idx="480">
                  <c:v>500</c:v>
                </c:pt>
                <c:pt idx="481">
                  <c:v>500</c:v>
                </c:pt>
                <c:pt idx="482">
                  <c:v>500</c:v>
                </c:pt>
                <c:pt idx="483">
                  <c:v>500</c:v>
                </c:pt>
                <c:pt idx="484">
                  <c:v>500</c:v>
                </c:pt>
                <c:pt idx="485">
                  <c:v>500</c:v>
                </c:pt>
                <c:pt idx="486">
                  <c:v>500</c:v>
                </c:pt>
                <c:pt idx="487">
                  <c:v>500</c:v>
                </c:pt>
                <c:pt idx="488">
                  <c:v>500</c:v>
                </c:pt>
                <c:pt idx="489">
                  <c:v>500</c:v>
                </c:pt>
                <c:pt idx="490">
                  <c:v>500</c:v>
                </c:pt>
                <c:pt idx="491">
                  <c:v>500</c:v>
                </c:pt>
                <c:pt idx="492">
                  <c:v>500</c:v>
                </c:pt>
                <c:pt idx="493">
                  <c:v>500</c:v>
                </c:pt>
                <c:pt idx="494">
                  <c:v>500</c:v>
                </c:pt>
                <c:pt idx="495">
                  <c:v>500</c:v>
                </c:pt>
                <c:pt idx="496">
                  <c:v>500</c:v>
                </c:pt>
                <c:pt idx="497">
                  <c:v>500</c:v>
                </c:pt>
                <c:pt idx="498">
                  <c:v>500</c:v>
                </c:pt>
                <c:pt idx="499">
                  <c:v>500</c:v>
                </c:pt>
                <c:pt idx="500">
                  <c:v>500</c:v>
                </c:pt>
                <c:pt idx="501">
                  <c:v>500</c:v>
                </c:pt>
                <c:pt idx="502">
                  <c:v>500</c:v>
                </c:pt>
                <c:pt idx="503">
                  <c:v>500</c:v>
                </c:pt>
                <c:pt idx="504">
                  <c:v>500</c:v>
                </c:pt>
                <c:pt idx="505">
                  <c:v>500</c:v>
                </c:pt>
                <c:pt idx="506">
                  <c:v>500</c:v>
                </c:pt>
                <c:pt idx="507">
                  <c:v>500</c:v>
                </c:pt>
                <c:pt idx="508">
                  <c:v>500</c:v>
                </c:pt>
                <c:pt idx="509">
                  <c:v>500</c:v>
                </c:pt>
                <c:pt idx="510">
                  <c:v>500</c:v>
                </c:pt>
                <c:pt idx="511">
                  <c:v>500</c:v>
                </c:pt>
                <c:pt idx="512">
                  <c:v>500</c:v>
                </c:pt>
                <c:pt idx="513">
                  <c:v>500</c:v>
                </c:pt>
                <c:pt idx="514">
                  <c:v>500</c:v>
                </c:pt>
                <c:pt idx="515">
                  <c:v>500</c:v>
                </c:pt>
                <c:pt idx="516">
                  <c:v>500</c:v>
                </c:pt>
                <c:pt idx="517">
                  <c:v>500</c:v>
                </c:pt>
                <c:pt idx="518">
                  <c:v>500</c:v>
                </c:pt>
                <c:pt idx="519">
                  <c:v>500</c:v>
                </c:pt>
                <c:pt idx="520">
                  <c:v>500</c:v>
                </c:pt>
                <c:pt idx="521">
                  <c:v>500</c:v>
                </c:pt>
                <c:pt idx="522">
                  <c:v>500</c:v>
                </c:pt>
                <c:pt idx="523">
                  <c:v>500</c:v>
                </c:pt>
                <c:pt idx="524">
                  <c:v>500</c:v>
                </c:pt>
                <c:pt idx="525">
                  <c:v>500</c:v>
                </c:pt>
                <c:pt idx="526">
                  <c:v>500</c:v>
                </c:pt>
                <c:pt idx="527">
                  <c:v>500</c:v>
                </c:pt>
                <c:pt idx="528">
                  <c:v>500</c:v>
                </c:pt>
                <c:pt idx="529">
                  <c:v>500</c:v>
                </c:pt>
                <c:pt idx="530">
                  <c:v>500</c:v>
                </c:pt>
                <c:pt idx="531">
                  <c:v>500</c:v>
                </c:pt>
                <c:pt idx="532">
                  <c:v>500</c:v>
                </c:pt>
                <c:pt idx="533">
                  <c:v>500</c:v>
                </c:pt>
                <c:pt idx="534">
                  <c:v>500</c:v>
                </c:pt>
                <c:pt idx="535">
                  <c:v>500</c:v>
                </c:pt>
                <c:pt idx="536">
                  <c:v>500</c:v>
                </c:pt>
                <c:pt idx="537">
                  <c:v>500</c:v>
                </c:pt>
                <c:pt idx="538">
                  <c:v>500</c:v>
                </c:pt>
                <c:pt idx="539">
                  <c:v>500</c:v>
                </c:pt>
                <c:pt idx="540">
                  <c:v>500</c:v>
                </c:pt>
                <c:pt idx="541">
                  <c:v>500</c:v>
                </c:pt>
                <c:pt idx="542">
                  <c:v>500</c:v>
                </c:pt>
                <c:pt idx="543">
                  <c:v>500</c:v>
                </c:pt>
                <c:pt idx="544">
                  <c:v>500</c:v>
                </c:pt>
                <c:pt idx="545">
                  <c:v>500</c:v>
                </c:pt>
                <c:pt idx="546">
                  <c:v>500</c:v>
                </c:pt>
                <c:pt idx="547">
                  <c:v>500</c:v>
                </c:pt>
                <c:pt idx="548">
                  <c:v>500</c:v>
                </c:pt>
                <c:pt idx="549">
                  <c:v>500</c:v>
                </c:pt>
                <c:pt idx="550">
                  <c:v>500</c:v>
                </c:pt>
                <c:pt idx="551">
                  <c:v>500</c:v>
                </c:pt>
                <c:pt idx="552">
                  <c:v>500</c:v>
                </c:pt>
                <c:pt idx="553">
                  <c:v>500</c:v>
                </c:pt>
                <c:pt idx="554">
                  <c:v>500</c:v>
                </c:pt>
                <c:pt idx="555">
                  <c:v>500</c:v>
                </c:pt>
                <c:pt idx="556">
                  <c:v>500</c:v>
                </c:pt>
                <c:pt idx="557">
                  <c:v>500</c:v>
                </c:pt>
                <c:pt idx="558">
                  <c:v>500</c:v>
                </c:pt>
                <c:pt idx="559">
                  <c:v>500</c:v>
                </c:pt>
                <c:pt idx="560">
                  <c:v>500</c:v>
                </c:pt>
                <c:pt idx="561">
                  <c:v>500</c:v>
                </c:pt>
                <c:pt idx="562">
                  <c:v>500</c:v>
                </c:pt>
                <c:pt idx="563">
                  <c:v>500</c:v>
                </c:pt>
                <c:pt idx="564">
                  <c:v>500</c:v>
                </c:pt>
                <c:pt idx="565">
                  <c:v>500</c:v>
                </c:pt>
                <c:pt idx="566">
                  <c:v>500</c:v>
                </c:pt>
                <c:pt idx="567">
                  <c:v>500</c:v>
                </c:pt>
                <c:pt idx="568">
                  <c:v>500</c:v>
                </c:pt>
                <c:pt idx="569">
                  <c:v>500</c:v>
                </c:pt>
                <c:pt idx="570">
                  <c:v>500</c:v>
                </c:pt>
                <c:pt idx="571">
                  <c:v>500</c:v>
                </c:pt>
                <c:pt idx="572">
                  <c:v>500</c:v>
                </c:pt>
                <c:pt idx="573">
                  <c:v>500</c:v>
                </c:pt>
                <c:pt idx="574">
                  <c:v>500</c:v>
                </c:pt>
                <c:pt idx="575">
                  <c:v>500</c:v>
                </c:pt>
                <c:pt idx="576">
                  <c:v>500</c:v>
                </c:pt>
                <c:pt idx="577">
                  <c:v>500</c:v>
                </c:pt>
                <c:pt idx="578">
                  <c:v>500</c:v>
                </c:pt>
                <c:pt idx="579">
                  <c:v>500</c:v>
                </c:pt>
                <c:pt idx="580">
                  <c:v>500</c:v>
                </c:pt>
                <c:pt idx="581">
                  <c:v>500</c:v>
                </c:pt>
                <c:pt idx="582">
                  <c:v>500</c:v>
                </c:pt>
                <c:pt idx="583">
                  <c:v>500</c:v>
                </c:pt>
                <c:pt idx="584">
                  <c:v>500</c:v>
                </c:pt>
                <c:pt idx="585">
                  <c:v>500</c:v>
                </c:pt>
                <c:pt idx="586">
                  <c:v>500</c:v>
                </c:pt>
                <c:pt idx="587">
                  <c:v>500</c:v>
                </c:pt>
                <c:pt idx="588">
                  <c:v>500</c:v>
                </c:pt>
                <c:pt idx="589">
                  <c:v>500</c:v>
                </c:pt>
                <c:pt idx="590">
                  <c:v>500</c:v>
                </c:pt>
                <c:pt idx="591">
                  <c:v>500</c:v>
                </c:pt>
                <c:pt idx="592">
                  <c:v>500</c:v>
                </c:pt>
                <c:pt idx="593">
                  <c:v>500</c:v>
                </c:pt>
                <c:pt idx="594">
                  <c:v>500</c:v>
                </c:pt>
                <c:pt idx="595">
                  <c:v>500</c:v>
                </c:pt>
                <c:pt idx="596">
                  <c:v>500</c:v>
                </c:pt>
                <c:pt idx="597">
                  <c:v>500</c:v>
                </c:pt>
                <c:pt idx="598">
                  <c:v>500</c:v>
                </c:pt>
                <c:pt idx="599">
                  <c:v>500</c:v>
                </c:pt>
                <c:pt idx="600">
                  <c:v>500</c:v>
                </c:pt>
                <c:pt idx="601">
                  <c:v>500</c:v>
                </c:pt>
                <c:pt idx="602">
                  <c:v>500</c:v>
                </c:pt>
                <c:pt idx="603">
                  <c:v>500</c:v>
                </c:pt>
                <c:pt idx="604">
                  <c:v>500</c:v>
                </c:pt>
                <c:pt idx="605">
                  <c:v>500</c:v>
                </c:pt>
                <c:pt idx="606">
                  <c:v>500</c:v>
                </c:pt>
                <c:pt idx="607">
                  <c:v>500</c:v>
                </c:pt>
                <c:pt idx="608">
                  <c:v>500</c:v>
                </c:pt>
                <c:pt idx="609">
                  <c:v>500</c:v>
                </c:pt>
                <c:pt idx="610">
                  <c:v>500</c:v>
                </c:pt>
                <c:pt idx="611">
                  <c:v>500</c:v>
                </c:pt>
                <c:pt idx="612">
                  <c:v>500</c:v>
                </c:pt>
                <c:pt idx="613">
                  <c:v>500</c:v>
                </c:pt>
                <c:pt idx="614">
                  <c:v>500</c:v>
                </c:pt>
                <c:pt idx="615">
                  <c:v>500</c:v>
                </c:pt>
                <c:pt idx="616">
                  <c:v>500</c:v>
                </c:pt>
                <c:pt idx="617">
                  <c:v>500</c:v>
                </c:pt>
                <c:pt idx="618">
                  <c:v>500</c:v>
                </c:pt>
                <c:pt idx="619">
                  <c:v>500</c:v>
                </c:pt>
                <c:pt idx="620">
                  <c:v>500</c:v>
                </c:pt>
                <c:pt idx="621">
                  <c:v>500</c:v>
                </c:pt>
                <c:pt idx="622">
                  <c:v>500</c:v>
                </c:pt>
                <c:pt idx="623">
                  <c:v>500</c:v>
                </c:pt>
                <c:pt idx="624">
                  <c:v>500</c:v>
                </c:pt>
                <c:pt idx="625">
                  <c:v>500</c:v>
                </c:pt>
                <c:pt idx="626">
                  <c:v>500</c:v>
                </c:pt>
                <c:pt idx="627">
                  <c:v>500</c:v>
                </c:pt>
                <c:pt idx="628">
                  <c:v>500</c:v>
                </c:pt>
                <c:pt idx="629">
                  <c:v>500</c:v>
                </c:pt>
                <c:pt idx="630">
                  <c:v>500</c:v>
                </c:pt>
                <c:pt idx="631">
                  <c:v>500</c:v>
                </c:pt>
                <c:pt idx="632">
                  <c:v>500</c:v>
                </c:pt>
                <c:pt idx="633">
                  <c:v>500</c:v>
                </c:pt>
                <c:pt idx="634">
                  <c:v>500</c:v>
                </c:pt>
                <c:pt idx="635">
                  <c:v>500</c:v>
                </c:pt>
                <c:pt idx="636">
                  <c:v>500</c:v>
                </c:pt>
                <c:pt idx="637">
                  <c:v>500</c:v>
                </c:pt>
                <c:pt idx="638">
                  <c:v>500</c:v>
                </c:pt>
                <c:pt idx="639">
                  <c:v>500</c:v>
                </c:pt>
                <c:pt idx="640">
                  <c:v>500</c:v>
                </c:pt>
                <c:pt idx="641">
                  <c:v>500</c:v>
                </c:pt>
                <c:pt idx="642">
                  <c:v>500</c:v>
                </c:pt>
                <c:pt idx="643">
                  <c:v>500</c:v>
                </c:pt>
                <c:pt idx="644">
                  <c:v>500</c:v>
                </c:pt>
                <c:pt idx="645">
                  <c:v>500</c:v>
                </c:pt>
                <c:pt idx="646">
                  <c:v>500</c:v>
                </c:pt>
                <c:pt idx="647">
                  <c:v>500</c:v>
                </c:pt>
                <c:pt idx="648">
                  <c:v>500</c:v>
                </c:pt>
                <c:pt idx="649">
                  <c:v>500</c:v>
                </c:pt>
                <c:pt idx="650">
                  <c:v>500</c:v>
                </c:pt>
                <c:pt idx="651">
                  <c:v>500</c:v>
                </c:pt>
                <c:pt idx="652">
                  <c:v>500</c:v>
                </c:pt>
                <c:pt idx="653">
                  <c:v>500</c:v>
                </c:pt>
                <c:pt idx="654">
                  <c:v>500</c:v>
                </c:pt>
                <c:pt idx="655">
                  <c:v>500</c:v>
                </c:pt>
                <c:pt idx="656">
                  <c:v>500</c:v>
                </c:pt>
                <c:pt idx="657">
                  <c:v>500</c:v>
                </c:pt>
                <c:pt idx="658">
                  <c:v>500</c:v>
                </c:pt>
                <c:pt idx="659">
                  <c:v>500</c:v>
                </c:pt>
                <c:pt idx="660">
                  <c:v>500</c:v>
                </c:pt>
                <c:pt idx="661">
                  <c:v>500</c:v>
                </c:pt>
                <c:pt idx="662">
                  <c:v>500</c:v>
                </c:pt>
                <c:pt idx="663">
                  <c:v>500</c:v>
                </c:pt>
                <c:pt idx="664">
                  <c:v>500</c:v>
                </c:pt>
                <c:pt idx="665">
                  <c:v>500</c:v>
                </c:pt>
                <c:pt idx="666">
                  <c:v>500</c:v>
                </c:pt>
                <c:pt idx="667">
                  <c:v>500</c:v>
                </c:pt>
                <c:pt idx="668">
                  <c:v>500</c:v>
                </c:pt>
                <c:pt idx="669">
                  <c:v>500</c:v>
                </c:pt>
                <c:pt idx="670">
                  <c:v>500</c:v>
                </c:pt>
                <c:pt idx="671">
                  <c:v>500</c:v>
                </c:pt>
                <c:pt idx="672">
                  <c:v>500</c:v>
                </c:pt>
                <c:pt idx="673">
                  <c:v>500</c:v>
                </c:pt>
                <c:pt idx="674">
                  <c:v>500</c:v>
                </c:pt>
                <c:pt idx="675">
                  <c:v>500</c:v>
                </c:pt>
                <c:pt idx="676">
                  <c:v>500</c:v>
                </c:pt>
                <c:pt idx="677">
                  <c:v>500</c:v>
                </c:pt>
                <c:pt idx="678">
                  <c:v>500</c:v>
                </c:pt>
                <c:pt idx="679">
                  <c:v>500</c:v>
                </c:pt>
                <c:pt idx="680">
                  <c:v>500</c:v>
                </c:pt>
                <c:pt idx="681">
                  <c:v>500</c:v>
                </c:pt>
                <c:pt idx="682">
                  <c:v>500</c:v>
                </c:pt>
                <c:pt idx="683">
                  <c:v>500</c:v>
                </c:pt>
                <c:pt idx="684">
                  <c:v>500</c:v>
                </c:pt>
                <c:pt idx="685">
                  <c:v>500</c:v>
                </c:pt>
                <c:pt idx="686">
                  <c:v>500</c:v>
                </c:pt>
                <c:pt idx="687">
                  <c:v>500</c:v>
                </c:pt>
                <c:pt idx="688">
                  <c:v>500</c:v>
                </c:pt>
                <c:pt idx="689">
                  <c:v>500</c:v>
                </c:pt>
                <c:pt idx="690">
                  <c:v>500</c:v>
                </c:pt>
                <c:pt idx="691">
                  <c:v>500</c:v>
                </c:pt>
                <c:pt idx="692">
                  <c:v>500</c:v>
                </c:pt>
                <c:pt idx="693">
                  <c:v>500</c:v>
                </c:pt>
                <c:pt idx="694">
                  <c:v>500</c:v>
                </c:pt>
                <c:pt idx="695">
                  <c:v>500</c:v>
                </c:pt>
                <c:pt idx="696">
                  <c:v>500</c:v>
                </c:pt>
                <c:pt idx="697">
                  <c:v>467</c:v>
                </c:pt>
                <c:pt idx="698">
                  <c:v>467</c:v>
                </c:pt>
                <c:pt idx="699">
                  <c:v>467</c:v>
                </c:pt>
                <c:pt idx="700">
                  <c:v>467</c:v>
                </c:pt>
                <c:pt idx="701">
                  <c:v>467</c:v>
                </c:pt>
                <c:pt idx="702">
                  <c:v>467</c:v>
                </c:pt>
                <c:pt idx="703">
                  <c:v>467</c:v>
                </c:pt>
                <c:pt idx="704">
                  <c:v>467</c:v>
                </c:pt>
                <c:pt idx="705">
                  <c:v>467</c:v>
                </c:pt>
                <c:pt idx="706">
                  <c:v>467</c:v>
                </c:pt>
                <c:pt idx="707">
                  <c:v>467</c:v>
                </c:pt>
                <c:pt idx="708">
                  <c:v>467</c:v>
                </c:pt>
                <c:pt idx="709">
                  <c:v>467</c:v>
                </c:pt>
                <c:pt idx="710">
                  <c:v>467</c:v>
                </c:pt>
                <c:pt idx="711">
                  <c:v>467</c:v>
                </c:pt>
                <c:pt idx="712">
                  <c:v>467</c:v>
                </c:pt>
                <c:pt idx="713">
                  <c:v>467</c:v>
                </c:pt>
                <c:pt idx="714">
                  <c:v>467</c:v>
                </c:pt>
                <c:pt idx="715">
                  <c:v>467</c:v>
                </c:pt>
                <c:pt idx="716">
                  <c:v>467</c:v>
                </c:pt>
                <c:pt idx="717">
                  <c:v>467</c:v>
                </c:pt>
                <c:pt idx="718">
                  <c:v>467</c:v>
                </c:pt>
                <c:pt idx="719">
                  <c:v>467</c:v>
                </c:pt>
                <c:pt idx="720">
                  <c:v>467</c:v>
                </c:pt>
                <c:pt idx="721">
                  <c:v>467</c:v>
                </c:pt>
                <c:pt idx="722">
                  <c:v>467</c:v>
                </c:pt>
                <c:pt idx="723">
                  <c:v>467</c:v>
                </c:pt>
                <c:pt idx="724">
                  <c:v>467</c:v>
                </c:pt>
                <c:pt idx="725">
                  <c:v>467</c:v>
                </c:pt>
                <c:pt idx="726">
                  <c:v>467</c:v>
                </c:pt>
                <c:pt idx="727">
                  <c:v>467</c:v>
                </c:pt>
                <c:pt idx="728">
                  <c:v>467</c:v>
                </c:pt>
                <c:pt idx="729">
                  <c:v>467</c:v>
                </c:pt>
                <c:pt idx="730">
                  <c:v>467</c:v>
                </c:pt>
                <c:pt idx="731">
                  <c:v>467</c:v>
                </c:pt>
                <c:pt idx="732">
                  <c:v>467</c:v>
                </c:pt>
                <c:pt idx="733">
                  <c:v>467</c:v>
                </c:pt>
                <c:pt idx="734">
                  <c:v>467</c:v>
                </c:pt>
                <c:pt idx="735">
                  <c:v>467</c:v>
                </c:pt>
                <c:pt idx="736">
                  <c:v>467</c:v>
                </c:pt>
                <c:pt idx="737">
                  <c:v>467</c:v>
                </c:pt>
                <c:pt idx="738">
                  <c:v>467</c:v>
                </c:pt>
                <c:pt idx="739">
                  <c:v>467</c:v>
                </c:pt>
                <c:pt idx="740">
                  <c:v>467</c:v>
                </c:pt>
                <c:pt idx="741">
                  <c:v>467</c:v>
                </c:pt>
              </c:numCache>
            </c:numRef>
          </c:val>
          <c:smooth val="0"/>
          <c:extLst>
            <c:ext xmlns:c16="http://schemas.microsoft.com/office/drawing/2014/chart" uri="{C3380CC4-5D6E-409C-BE32-E72D297353CC}">
              <c16:uniqueId val="{00000006-BD69-4FD6-A7D6-508AE9A3F891}"/>
            </c:ext>
          </c:extLst>
        </c:ser>
        <c:dLbls>
          <c:showLegendKey val="0"/>
          <c:showVal val="0"/>
          <c:showCatName val="0"/>
          <c:showSerName val="0"/>
          <c:showPercent val="0"/>
          <c:showBubbleSize val="0"/>
        </c:dLbls>
        <c:smooth val="0"/>
        <c:axId val="555741120"/>
        <c:axId val="555748192"/>
      </c:lineChart>
      <c:dateAx>
        <c:axId val="555741120"/>
        <c:scaling>
          <c:orientation val="minMax"/>
          <c:min val="44927"/>
        </c:scaling>
        <c:delete val="0"/>
        <c:axPos val="b"/>
        <c:numFmt formatCode="yy/m" sourceLinked="0"/>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ea"/>
                <a:sym typeface="+mn-lt"/>
              </a:defRPr>
            </a:pPr>
            <a:endParaRPr lang="zh-CN"/>
          </a:p>
        </c:txPr>
        <c:crossAx val="555748192"/>
        <c:crosses val="autoZero"/>
        <c:auto val="1"/>
        <c:lblOffset val="100"/>
        <c:baseTimeUnit val="days"/>
      </c:dateAx>
      <c:valAx>
        <c:axId val="555748192"/>
        <c:scaling>
          <c:orientation val="minMax"/>
          <c:min val="2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555741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zh-CN"/>
              <a:t>硅煤价格</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硅煤价格图表!$AD$2</c:f>
              <c:strCache>
                <c:ptCount val="1"/>
                <c:pt idx="0">
                  <c:v>贵州</c:v>
                </c:pt>
              </c:strCache>
            </c:strRef>
          </c:tx>
          <c:spPr>
            <a:ln w="28575" cap="rnd">
              <a:solidFill>
                <a:srgbClr val="7030A0"/>
              </a:solidFill>
              <a:round/>
            </a:ln>
            <a:effectLst/>
          </c:spPr>
          <c:marker>
            <c:symbol val="none"/>
          </c:marker>
          <c:cat>
            <c:numRef>
              <c:f>硅煤价格图表!$AC$3:$AC$978</c:f>
              <c:numCache>
                <c:formatCode>yyyy\-mm\-dd</c:formatCode>
                <c:ptCount val="976"/>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pt idx="738">
                  <c:v>44739</c:v>
                </c:pt>
                <c:pt idx="739">
                  <c:v>44738</c:v>
                </c:pt>
                <c:pt idx="740">
                  <c:v>44737</c:v>
                </c:pt>
                <c:pt idx="741">
                  <c:v>44736</c:v>
                </c:pt>
                <c:pt idx="742">
                  <c:v>44735</c:v>
                </c:pt>
                <c:pt idx="743">
                  <c:v>44734</c:v>
                </c:pt>
                <c:pt idx="744">
                  <c:v>44733</c:v>
                </c:pt>
                <c:pt idx="745">
                  <c:v>44732</c:v>
                </c:pt>
                <c:pt idx="746">
                  <c:v>44731</c:v>
                </c:pt>
                <c:pt idx="747">
                  <c:v>44730</c:v>
                </c:pt>
              </c:numCache>
            </c:numRef>
          </c:cat>
          <c:val>
            <c:numRef>
              <c:f>硅煤价格图表!$AD$3:$AD$978</c:f>
              <c:numCache>
                <c:formatCode>General</c:formatCode>
                <c:ptCount val="976"/>
                <c:pt idx="0">
                  <c:v>1950</c:v>
                </c:pt>
                <c:pt idx="1">
                  <c:v>1950</c:v>
                </c:pt>
                <c:pt idx="2">
                  <c:v>1950</c:v>
                </c:pt>
                <c:pt idx="3">
                  <c:v>1950</c:v>
                </c:pt>
                <c:pt idx="4">
                  <c:v>1950</c:v>
                </c:pt>
                <c:pt idx="5">
                  <c:v>1950</c:v>
                </c:pt>
                <c:pt idx="6">
                  <c:v>1950</c:v>
                </c:pt>
                <c:pt idx="7">
                  <c:v>1950</c:v>
                </c:pt>
                <c:pt idx="8">
                  <c:v>1950</c:v>
                </c:pt>
                <c:pt idx="9">
                  <c:v>1950</c:v>
                </c:pt>
                <c:pt idx="10">
                  <c:v>1950</c:v>
                </c:pt>
                <c:pt idx="11">
                  <c:v>1950</c:v>
                </c:pt>
                <c:pt idx="12">
                  <c:v>1950</c:v>
                </c:pt>
                <c:pt idx="13">
                  <c:v>1950</c:v>
                </c:pt>
                <c:pt idx="14">
                  <c:v>1950</c:v>
                </c:pt>
                <c:pt idx="15">
                  <c:v>1950</c:v>
                </c:pt>
                <c:pt idx="16">
                  <c:v>1950</c:v>
                </c:pt>
                <c:pt idx="17">
                  <c:v>1950</c:v>
                </c:pt>
                <c:pt idx="18">
                  <c:v>1950</c:v>
                </c:pt>
                <c:pt idx="19">
                  <c:v>1950</c:v>
                </c:pt>
                <c:pt idx="20">
                  <c:v>1950</c:v>
                </c:pt>
                <c:pt idx="21">
                  <c:v>1950</c:v>
                </c:pt>
                <c:pt idx="22">
                  <c:v>1950</c:v>
                </c:pt>
                <c:pt idx="23">
                  <c:v>1950</c:v>
                </c:pt>
                <c:pt idx="24">
                  <c:v>1950</c:v>
                </c:pt>
                <c:pt idx="25">
                  <c:v>1950</c:v>
                </c:pt>
                <c:pt idx="26">
                  <c:v>1950</c:v>
                </c:pt>
                <c:pt idx="27">
                  <c:v>1950</c:v>
                </c:pt>
                <c:pt idx="28">
                  <c:v>1950</c:v>
                </c:pt>
                <c:pt idx="29">
                  <c:v>1950</c:v>
                </c:pt>
                <c:pt idx="30">
                  <c:v>1950</c:v>
                </c:pt>
                <c:pt idx="31">
                  <c:v>1950</c:v>
                </c:pt>
                <c:pt idx="32">
                  <c:v>1950</c:v>
                </c:pt>
                <c:pt idx="33">
                  <c:v>1950</c:v>
                </c:pt>
                <c:pt idx="34">
                  <c:v>1950</c:v>
                </c:pt>
                <c:pt idx="35">
                  <c:v>1950</c:v>
                </c:pt>
                <c:pt idx="36">
                  <c:v>1950</c:v>
                </c:pt>
                <c:pt idx="37">
                  <c:v>1950</c:v>
                </c:pt>
                <c:pt idx="38">
                  <c:v>1950</c:v>
                </c:pt>
                <c:pt idx="39">
                  <c:v>1950</c:v>
                </c:pt>
                <c:pt idx="40">
                  <c:v>1950</c:v>
                </c:pt>
                <c:pt idx="41">
                  <c:v>1950</c:v>
                </c:pt>
                <c:pt idx="42">
                  <c:v>1950</c:v>
                </c:pt>
                <c:pt idx="43">
                  <c:v>1950</c:v>
                </c:pt>
                <c:pt idx="44">
                  <c:v>1950</c:v>
                </c:pt>
                <c:pt idx="45">
                  <c:v>1950</c:v>
                </c:pt>
                <c:pt idx="46">
                  <c:v>1950</c:v>
                </c:pt>
                <c:pt idx="47">
                  <c:v>1950</c:v>
                </c:pt>
                <c:pt idx="48">
                  <c:v>1950</c:v>
                </c:pt>
                <c:pt idx="49">
                  <c:v>1950</c:v>
                </c:pt>
                <c:pt idx="50">
                  <c:v>1950</c:v>
                </c:pt>
                <c:pt idx="51">
                  <c:v>1950</c:v>
                </c:pt>
                <c:pt idx="52">
                  <c:v>1950</c:v>
                </c:pt>
                <c:pt idx="53">
                  <c:v>1950</c:v>
                </c:pt>
                <c:pt idx="54">
                  <c:v>1950</c:v>
                </c:pt>
                <c:pt idx="55">
                  <c:v>1950</c:v>
                </c:pt>
                <c:pt idx="56">
                  <c:v>1950</c:v>
                </c:pt>
                <c:pt idx="57">
                  <c:v>1950</c:v>
                </c:pt>
                <c:pt idx="58">
                  <c:v>1950</c:v>
                </c:pt>
                <c:pt idx="59">
                  <c:v>1950</c:v>
                </c:pt>
                <c:pt idx="60">
                  <c:v>1950</c:v>
                </c:pt>
                <c:pt idx="61">
                  <c:v>1950</c:v>
                </c:pt>
                <c:pt idx="62">
                  <c:v>1950</c:v>
                </c:pt>
                <c:pt idx="63">
                  <c:v>1950</c:v>
                </c:pt>
                <c:pt idx="64">
                  <c:v>1950</c:v>
                </c:pt>
                <c:pt idx="65">
                  <c:v>1950</c:v>
                </c:pt>
                <c:pt idx="66">
                  <c:v>1950</c:v>
                </c:pt>
                <c:pt idx="67">
                  <c:v>1950</c:v>
                </c:pt>
                <c:pt idx="68">
                  <c:v>1950</c:v>
                </c:pt>
                <c:pt idx="69">
                  <c:v>1950</c:v>
                </c:pt>
                <c:pt idx="70">
                  <c:v>1950</c:v>
                </c:pt>
                <c:pt idx="71">
                  <c:v>1950</c:v>
                </c:pt>
                <c:pt idx="72">
                  <c:v>1950</c:v>
                </c:pt>
                <c:pt idx="73">
                  <c:v>1950</c:v>
                </c:pt>
                <c:pt idx="74">
                  <c:v>1950</c:v>
                </c:pt>
                <c:pt idx="75">
                  <c:v>1950</c:v>
                </c:pt>
                <c:pt idx="76">
                  <c:v>1950</c:v>
                </c:pt>
                <c:pt idx="77">
                  <c:v>1950</c:v>
                </c:pt>
                <c:pt idx="78">
                  <c:v>1950</c:v>
                </c:pt>
                <c:pt idx="79">
                  <c:v>1950</c:v>
                </c:pt>
                <c:pt idx="80">
                  <c:v>1950</c:v>
                </c:pt>
                <c:pt idx="81">
                  <c:v>1950</c:v>
                </c:pt>
                <c:pt idx="82">
                  <c:v>1950</c:v>
                </c:pt>
                <c:pt idx="83">
                  <c:v>1950</c:v>
                </c:pt>
                <c:pt idx="84">
                  <c:v>1950</c:v>
                </c:pt>
                <c:pt idx="85">
                  <c:v>1950</c:v>
                </c:pt>
                <c:pt idx="86">
                  <c:v>1950</c:v>
                </c:pt>
                <c:pt idx="87">
                  <c:v>1950</c:v>
                </c:pt>
                <c:pt idx="88">
                  <c:v>1950</c:v>
                </c:pt>
                <c:pt idx="89">
                  <c:v>1950</c:v>
                </c:pt>
                <c:pt idx="90">
                  <c:v>1950</c:v>
                </c:pt>
                <c:pt idx="91">
                  <c:v>1950</c:v>
                </c:pt>
                <c:pt idx="92">
                  <c:v>1950</c:v>
                </c:pt>
                <c:pt idx="93">
                  <c:v>1950</c:v>
                </c:pt>
                <c:pt idx="94">
                  <c:v>1950</c:v>
                </c:pt>
                <c:pt idx="95">
                  <c:v>1950</c:v>
                </c:pt>
                <c:pt idx="96">
                  <c:v>1950</c:v>
                </c:pt>
                <c:pt idx="97">
                  <c:v>1950</c:v>
                </c:pt>
                <c:pt idx="98">
                  <c:v>1950</c:v>
                </c:pt>
                <c:pt idx="99">
                  <c:v>1950</c:v>
                </c:pt>
                <c:pt idx="100">
                  <c:v>1950</c:v>
                </c:pt>
                <c:pt idx="101">
                  <c:v>1950</c:v>
                </c:pt>
                <c:pt idx="102">
                  <c:v>1950</c:v>
                </c:pt>
                <c:pt idx="103">
                  <c:v>1950</c:v>
                </c:pt>
                <c:pt idx="104">
                  <c:v>1950</c:v>
                </c:pt>
                <c:pt idx="105">
                  <c:v>1950</c:v>
                </c:pt>
                <c:pt idx="106">
                  <c:v>1950</c:v>
                </c:pt>
                <c:pt idx="107">
                  <c:v>1950</c:v>
                </c:pt>
                <c:pt idx="108">
                  <c:v>1950</c:v>
                </c:pt>
                <c:pt idx="109">
                  <c:v>1950</c:v>
                </c:pt>
                <c:pt idx="110">
                  <c:v>1950</c:v>
                </c:pt>
                <c:pt idx="111">
                  <c:v>1950</c:v>
                </c:pt>
                <c:pt idx="112">
                  <c:v>1950</c:v>
                </c:pt>
                <c:pt idx="113">
                  <c:v>1950</c:v>
                </c:pt>
                <c:pt idx="114">
                  <c:v>1950</c:v>
                </c:pt>
                <c:pt idx="115">
                  <c:v>1950</c:v>
                </c:pt>
                <c:pt idx="116">
                  <c:v>1950</c:v>
                </c:pt>
                <c:pt idx="117">
                  <c:v>1950</c:v>
                </c:pt>
                <c:pt idx="118">
                  <c:v>1950</c:v>
                </c:pt>
                <c:pt idx="119">
                  <c:v>1950</c:v>
                </c:pt>
                <c:pt idx="120">
                  <c:v>1950</c:v>
                </c:pt>
                <c:pt idx="121">
                  <c:v>1950</c:v>
                </c:pt>
                <c:pt idx="122">
                  <c:v>1950</c:v>
                </c:pt>
                <c:pt idx="123">
                  <c:v>1950</c:v>
                </c:pt>
                <c:pt idx="124">
                  <c:v>1950</c:v>
                </c:pt>
                <c:pt idx="125">
                  <c:v>1950</c:v>
                </c:pt>
                <c:pt idx="126">
                  <c:v>1950</c:v>
                </c:pt>
                <c:pt idx="127">
                  <c:v>1950</c:v>
                </c:pt>
                <c:pt idx="128">
                  <c:v>1950</c:v>
                </c:pt>
                <c:pt idx="129">
                  <c:v>1950</c:v>
                </c:pt>
                <c:pt idx="130">
                  <c:v>1950</c:v>
                </c:pt>
                <c:pt idx="131">
                  <c:v>1950</c:v>
                </c:pt>
                <c:pt idx="132">
                  <c:v>1950</c:v>
                </c:pt>
                <c:pt idx="133">
                  <c:v>1950</c:v>
                </c:pt>
                <c:pt idx="134">
                  <c:v>1950</c:v>
                </c:pt>
                <c:pt idx="135">
                  <c:v>1950</c:v>
                </c:pt>
                <c:pt idx="136">
                  <c:v>1950</c:v>
                </c:pt>
                <c:pt idx="137">
                  <c:v>1950</c:v>
                </c:pt>
                <c:pt idx="138">
                  <c:v>1950</c:v>
                </c:pt>
                <c:pt idx="139">
                  <c:v>1950</c:v>
                </c:pt>
                <c:pt idx="140">
                  <c:v>1950</c:v>
                </c:pt>
                <c:pt idx="141">
                  <c:v>1950</c:v>
                </c:pt>
                <c:pt idx="142">
                  <c:v>1950</c:v>
                </c:pt>
                <c:pt idx="143">
                  <c:v>1950</c:v>
                </c:pt>
                <c:pt idx="144">
                  <c:v>1950</c:v>
                </c:pt>
                <c:pt idx="145">
                  <c:v>1950</c:v>
                </c:pt>
                <c:pt idx="146">
                  <c:v>1950</c:v>
                </c:pt>
                <c:pt idx="147">
                  <c:v>1950</c:v>
                </c:pt>
                <c:pt idx="148">
                  <c:v>1950</c:v>
                </c:pt>
                <c:pt idx="149">
                  <c:v>1950</c:v>
                </c:pt>
                <c:pt idx="150">
                  <c:v>1950</c:v>
                </c:pt>
                <c:pt idx="151">
                  <c:v>1950</c:v>
                </c:pt>
                <c:pt idx="152">
                  <c:v>1950</c:v>
                </c:pt>
                <c:pt idx="153">
                  <c:v>1950</c:v>
                </c:pt>
                <c:pt idx="154">
                  <c:v>1950</c:v>
                </c:pt>
                <c:pt idx="155">
                  <c:v>1950</c:v>
                </c:pt>
                <c:pt idx="156">
                  <c:v>1950</c:v>
                </c:pt>
                <c:pt idx="157">
                  <c:v>1950</c:v>
                </c:pt>
                <c:pt idx="158">
                  <c:v>1950</c:v>
                </c:pt>
                <c:pt idx="159">
                  <c:v>1950</c:v>
                </c:pt>
                <c:pt idx="160">
                  <c:v>1950</c:v>
                </c:pt>
                <c:pt idx="161">
                  <c:v>1950</c:v>
                </c:pt>
                <c:pt idx="162">
                  <c:v>1950</c:v>
                </c:pt>
                <c:pt idx="163">
                  <c:v>1950</c:v>
                </c:pt>
                <c:pt idx="164">
                  <c:v>1950</c:v>
                </c:pt>
                <c:pt idx="165">
                  <c:v>1950</c:v>
                </c:pt>
                <c:pt idx="166">
                  <c:v>1950</c:v>
                </c:pt>
                <c:pt idx="167">
                  <c:v>1950</c:v>
                </c:pt>
                <c:pt idx="168">
                  <c:v>1950</c:v>
                </c:pt>
                <c:pt idx="169">
                  <c:v>1950</c:v>
                </c:pt>
                <c:pt idx="170">
                  <c:v>1950</c:v>
                </c:pt>
                <c:pt idx="171">
                  <c:v>1950</c:v>
                </c:pt>
                <c:pt idx="172">
                  <c:v>1950</c:v>
                </c:pt>
                <c:pt idx="173">
                  <c:v>1950</c:v>
                </c:pt>
                <c:pt idx="174">
                  <c:v>1950</c:v>
                </c:pt>
                <c:pt idx="175">
                  <c:v>1950</c:v>
                </c:pt>
                <c:pt idx="176">
                  <c:v>1950</c:v>
                </c:pt>
                <c:pt idx="177">
                  <c:v>1950</c:v>
                </c:pt>
                <c:pt idx="178">
                  <c:v>1950</c:v>
                </c:pt>
                <c:pt idx="179">
                  <c:v>1950</c:v>
                </c:pt>
                <c:pt idx="180">
                  <c:v>1950</c:v>
                </c:pt>
                <c:pt idx="181">
                  <c:v>1950</c:v>
                </c:pt>
                <c:pt idx="182">
                  <c:v>1950</c:v>
                </c:pt>
                <c:pt idx="183">
                  <c:v>1950</c:v>
                </c:pt>
                <c:pt idx="184">
                  <c:v>1950</c:v>
                </c:pt>
                <c:pt idx="185">
                  <c:v>1950</c:v>
                </c:pt>
                <c:pt idx="186">
                  <c:v>1950</c:v>
                </c:pt>
                <c:pt idx="187">
                  <c:v>1950</c:v>
                </c:pt>
                <c:pt idx="188">
                  <c:v>1950</c:v>
                </c:pt>
                <c:pt idx="189">
                  <c:v>1950</c:v>
                </c:pt>
                <c:pt idx="190">
                  <c:v>1950</c:v>
                </c:pt>
                <c:pt idx="191">
                  <c:v>1950</c:v>
                </c:pt>
                <c:pt idx="192">
                  <c:v>1950</c:v>
                </c:pt>
                <c:pt idx="193">
                  <c:v>1950</c:v>
                </c:pt>
                <c:pt idx="194">
                  <c:v>1950</c:v>
                </c:pt>
                <c:pt idx="195">
                  <c:v>1950</c:v>
                </c:pt>
                <c:pt idx="196">
                  <c:v>1950</c:v>
                </c:pt>
                <c:pt idx="197">
                  <c:v>1950</c:v>
                </c:pt>
                <c:pt idx="198">
                  <c:v>1950</c:v>
                </c:pt>
                <c:pt idx="199">
                  <c:v>1950</c:v>
                </c:pt>
                <c:pt idx="200">
                  <c:v>1950</c:v>
                </c:pt>
                <c:pt idx="201">
                  <c:v>1950</c:v>
                </c:pt>
                <c:pt idx="202">
                  <c:v>1950</c:v>
                </c:pt>
                <c:pt idx="203">
                  <c:v>1950</c:v>
                </c:pt>
                <c:pt idx="204">
                  <c:v>1950</c:v>
                </c:pt>
                <c:pt idx="205">
                  <c:v>1950</c:v>
                </c:pt>
                <c:pt idx="206">
                  <c:v>1950</c:v>
                </c:pt>
                <c:pt idx="207">
                  <c:v>1950</c:v>
                </c:pt>
                <c:pt idx="208">
                  <c:v>1950</c:v>
                </c:pt>
                <c:pt idx="209">
                  <c:v>1950</c:v>
                </c:pt>
                <c:pt idx="210">
                  <c:v>1950</c:v>
                </c:pt>
                <c:pt idx="211">
                  <c:v>1950</c:v>
                </c:pt>
                <c:pt idx="212">
                  <c:v>1950</c:v>
                </c:pt>
                <c:pt idx="213">
                  <c:v>1950</c:v>
                </c:pt>
                <c:pt idx="214">
                  <c:v>1950</c:v>
                </c:pt>
                <c:pt idx="215">
                  <c:v>1950</c:v>
                </c:pt>
                <c:pt idx="216">
                  <c:v>1950</c:v>
                </c:pt>
                <c:pt idx="217">
                  <c:v>1950</c:v>
                </c:pt>
                <c:pt idx="218">
                  <c:v>1950</c:v>
                </c:pt>
                <c:pt idx="219">
                  <c:v>1950</c:v>
                </c:pt>
                <c:pt idx="220">
                  <c:v>1950</c:v>
                </c:pt>
                <c:pt idx="221">
                  <c:v>1950</c:v>
                </c:pt>
                <c:pt idx="222">
                  <c:v>1950</c:v>
                </c:pt>
                <c:pt idx="223">
                  <c:v>1950</c:v>
                </c:pt>
                <c:pt idx="224">
                  <c:v>1950</c:v>
                </c:pt>
                <c:pt idx="225">
                  <c:v>1950</c:v>
                </c:pt>
                <c:pt idx="226">
                  <c:v>1950</c:v>
                </c:pt>
                <c:pt idx="227">
                  <c:v>1950</c:v>
                </c:pt>
                <c:pt idx="228">
                  <c:v>1950</c:v>
                </c:pt>
                <c:pt idx="229">
                  <c:v>1950</c:v>
                </c:pt>
                <c:pt idx="230">
                  <c:v>1950</c:v>
                </c:pt>
                <c:pt idx="231">
                  <c:v>1950</c:v>
                </c:pt>
                <c:pt idx="232">
                  <c:v>1950</c:v>
                </c:pt>
                <c:pt idx="233">
                  <c:v>1950</c:v>
                </c:pt>
                <c:pt idx="234">
                  <c:v>1950</c:v>
                </c:pt>
                <c:pt idx="235">
                  <c:v>1950</c:v>
                </c:pt>
                <c:pt idx="236">
                  <c:v>1950</c:v>
                </c:pt>
                <c:pt idx="237">
                  <c:v>1950</c:v>
                </c:pt>
                <c:pt idx="238">
                  <c:v>1950</c:v>
                </c:pt>
                <c:pt idx="239">
                  <c:v>1950</c:v>
                </c:pt>
                <c:pt idx="240">
                  <c:v>1950</c:v>
                </c:pt>
                <c:pt idx="241">
                  <c:v>1950</c:v>
                </c:pt>
                <c:pt idx="242">
                  <c:v>1950</c:v>
                </c:pt>
                <c:pt idx="243">
                  <c:v>1950</c:v>
                </c:pt>
                <c:pt idx="244">
                  <c:v>1950</c:v>
                </c:pt>
                <c:pt idx="245">
                  <c:v>1950</c:v>
                </c:pt>
                <c:pt idx="246">
                  <c:v>1950</c:v>
                </c:pt>
                <c:pt idx="247">
                  <c:v>1950</c:v>
                </c:pt>
                <c:pt idx="248">
                  <c:v>1950</c:v>
                </c:pt>
                <c:pt idx="249">
                  <c:v>1950</c:v>
                </c:pt>
                <c:pt idx="250">
                  <c:v>1950</c:v>
                </c:pt>
                <c:pt idx="251">
                  <c:v>1950</c:v>
                </c:pt>
                <c:pt idx="252">
                  <c:v>1950</c:v>
                </c:pt>
                <c:pt idx="253">
                  <c:v>1950</c:v>
                </c:pt>
                <c:pt idx="254">
                  <c:v>1950</c:v>
                </c:pt>
                <c:pt idx="255">
                  <c:v>1950</c:v>
                </c:pt>
                <c:pt idx="256">
                  <c:v>1950</c:v>
                </c:pt>
                <c:pt idx="257">
                  <c:v>1950</c:v>
                </c:pt>
                <c:pt idx="258">
                  <c:v>1950</c:v>
                </c:pt>
                <c:pt idx="259">
                  <c:v>1950</c:v>
                </c:pt>
                <c:pt idx="260">
                  <c:v>1950</c:v>
                </c:pt>
                <c:pt idx="261">
                  <c:v>1950</c:v>
                </c:pt>
                <c:pt idx="262">
                  <c:v>1950</c:v>
                </c:pt>
                <c:pt idx="263">
                  <c:v>1950</c:v>
                </c:pt>
                <c:pt idx="264">
                  <c:v>1950</c:v>
                </c:pt>
                <c:pt idx="265">
                  <c:v>1950</c:v>
                </c:pt>
                <c:pt idx="266">
                  <c:v>1950</c:v>
                </c:pt>
                <c:pt idx="267">
                  <c:v>1950</c:v>
                </c:pt>
                <c:pt idx="268">
                  <c:v>1950</c:v>
                </c:pt>
                <c:pt idx="269">
                  <c:v>1950</c:v>
                </c:pt>
                <c:pt idx="270">
                  <c:v>1950</c:v>
                </c:pt>
                <c:pt idx="271">
                  <c:v>1950</c:v>
                </c:pt>
                <c:pt idx="272">
                  <c:v>1950</c:v>
                </c:pt>
                <c:pt idx="273">
                  <c:v>1950</c:v>
                </c:pt>
                <c:pt idx="274">
                  <c:v>1950</c:v>
                </c:pt>
                <c:pt idx="275">
                  <c:v>1950</c:v>
                </c:pt>
                <c:pt idx="276">
                  <c:v>1950</c:v>
                </c:pt>
                <c:pt idx="277">
                  <c:v>1950</c:v>
                </c:pt>
                <c:pt idx="278">
                  <c:v>1950</c:v>
                </c:pt>
                <c:pt idx="279">
                  <c:v>1950</c:v>
                </c:pt>
                <c:pt idx="280">
                  <c:v>1950</c:v>
                </c:pt>
                <c:pt idx="281">
                  <c:v>1950</c:v>
                </c:pt>
                <c:pt idx="282">
                  <c:v>1950</c:v>
                </c:pt>
                <c:pt idx="283">
                  <c:v>1950</c:v>
                </c:pt>
                <c:pt idx="284">
                  <c:v>1900</c:v>
                </c:pt>
                <c:pt idx="285">
                  <c:v>1900</c:v>
                </c:pt>
                <c:pt idx="286">
                  <c:v>1900</c:v>
                </c:pt>
                <c:pt idx="287">
                  <c:v>1900</c:v>
                </c:pt>
                <c:pt idx="288">
                  <c:v>1900</c:v>
                </c:pt>
                <c:pt idx="289">
                  <c:v>1900</c:v>
                </c:pt>
                <c:pt idx="290">
                  <c:v>1900</c:v>
                </c:pt>
                <c:pt idx="291">
                  <c:v>1900</c:v>
                </c:pt>
                <c:pt idx="292">
                  <c:v>1900</c:v>
                </c:pt>
                <c:pt idx="293">
                  <c:v>1900</c:v>
                </c:pt>
                <c:pt idx="294">
                  <c:v>1900</c:v>
                </c:pt>
                <c:pt idx="295">
                  <c:v>1900</c:v>
                </c:pt>
                <c:pt idx="296">
                  <c:v>1900</c:v>
                </c:pt>
                <c:pt idx="297">
                  <c:v>1900</c:v>
                </c:pt>
                <c:pt idx="298">
                  <c:v>1900</c:v>
                </c:pt>
                <c:pt idx="299">
                  <c:v>1900</c:v>
                </c:pt>
                <c:pt idx="300">
                  <c:v>1900</c:v>
                </c:pt>
                <c:pt idx="301">
                  <c:v>1900</c:v>
                </c:pt>
                <c:pt idx="302">
                  <c:v>1900</c:v>
                </c:pt>
                <c:pt idx="303">
                  <c:v>1900</c:v>
                </c:pt>
                <c:pt idx="304">
                  <c:v>1900</c:v>
                </c:pt>
                <c:pt idx="305">
                  <c:v>1900</c:v>
                </c:pt>
                <c:pt idx="306">
                  <c:v>1900</c:v>
                </c:pt>
                <c:pt idx="307">
                  <c:v>1900</c:v>
                </c:pt>
                <c:pt idx="308">
                  <c:v>1900</c:v>
                </c:pt>
                <c:pt idx="309">
                  <c:v>1900</c:v>
                </c:pt>
                <c:pt idx="310">
                  <c:v>1900</c:v>
                </c:pt>
                <c:pt idx="311">
                  <c:v>1900</c:v>
                </c:pt>
                <c:pt idx="312">
                  <c:v>1900</c:v>
                </c:pt>
                <c:pt idx="313">
                  <c:v>1900</c:v>
                </c:pt>
                <c:pt idx="314">
                  <c:v>1900</c:v>
                </c:pt>
                <c:pt idx="315">
                  <c:v>1900</c:v>
                </c:pt>
                <c:pt idx="316">
                  <c:v>1900</c:v>
                </c:pt>
                <c:pt idx="317">
                  <c:v>1900</c:v>
                </c:pt>
                <c:pt idx="318">
                  <c:v>1900</c:v>
                </c:pt>
                <c:pt idx="319">
                  <c:v>#N/A</c:v>
                </c:pt>
                <c:pt idx="320">
                  <c:v>#N/A</c:v>
                </c:pt>
                <c:pt idx="321">
                  <c:v>1900</c:v>
                </c:pt>
                <c:pt idx="322">
                  <c:v>1900</c:v>
                </c:pt>
                <c:pt idx="323">
                  <c:v>1900</c:v>
                </c:pt>
                <c:pt idx="324">
                  <c:v>1900</c:v>
                </c:pt>
                <c:pt idx="325">
                  <c:v>1900</c:v>
                </c:pt>
                <c:pt idx="326">
                  <c:v>1900</c:v>
                </c:pt>
                <c:pt idx="327">
                  <c:v>1900</c:v>
                </c:pt>
                <c:pt idx="328">
                  <c:v>1900</c:v>
                </c:pt>
                <c:pt idx="329">
                  <c:v>1900</c:v>
                </c:pt>
                <c:pt idx="330">
                  <c:v>1900</c:v>
                </c:pt>
                <c:pt idx="331">
                  <c:v>1900</c:v>
                </c:pt>
                <c:pt idx="332">
                  <c:v>1900</c:v>
                </c:pt>
                <c:pt idx="333">
                  <c:v>1900</c:v>
                </c:pt>
                <c:pt idx="334">
                  <c:v>1900</c:v>
                </c:pt>
                <c:pt idx="335">
                  <c:v>1900</c:v>
                </c:pt>
                <c:pt idx="336">
                  <c:v>1900</c:v>
                </c:pt>
                <c:pt idx="337">
                  <c:v>1900</c:v>
                </c:pt>
                <c:pt idx="338">
                  <c:v>1900</c:v>
                </c:pt>
                <c:pt idx="339">
                  <c:v>1900</c:v>
                </c:pt>
                <c:pt idx="340">
                  <c:v>1900</c:v>
                </c:pt>
                <c:pt idx="341">
                  <c:v>1900</c:v>
                </c:pt>
                <c:pt idx="342">
                  <c:v>1900</c:v>
                </c:pt>
                <c:pt idx="343">
                  <c:v>1900</c:v>
                </c:pt>
                <c:pt idx="344">
                  <c:v>1900</c:v>
                </c:pt>
                <c:pt idx="345">
                  <c:v>1900</c:v>
                </c:pt>
                <c:pt idx="346">
                  <c:v>1900</c:v>
                </c:pt>
                <c:pt idx="347">
                  <c:v>1900</c:v>
                </c:pt>
                <c:pt idx="348">
                  <c:v>1900</c:v>
                </c:pt>
                <c:pt idx="349">
                  <c:v>1900</c:v>
                </c:pt>
                <c:pt idx="350">
                  <c:v>1900</c:v>
                </c:pt>
                <c:pt idx="351">
                  <c:v>1900</c:v>
                </c:pt>
                <c:pt idx="352">
                  <c:v>1900</c:v>
                </c:pt>
                <c:pt idx="353">
                  <c:v>1900</c:v>
                </c:pt>
                <c:pt idx="354">
                  <c:v>1900</c:v>
                </c:pt>
                <c:pt idx="355">
                  <c:v>1900</c:v>
                </c:pt>
                <c:pt idx="356">
                  <c:v>1900</c:v>
                </c:pt>
                <c:pt idx="357">
                  <c:v>1900</c:v>
                </c:pt>
                <c:pt idx="358">
                  <c:v>1900</c:v>
                </c:pt>
                <c:pt idx="359">
                  <c:v>1900</c:v>
                </c:pt>
                <c:pt idx="360">
                  <c:v>1900</c:v>
                </c:pt>
                <c:pt idx="361">
                  <c:v>1900</c:v>
                </c:pt>
                <c:pt idx="362">
                  <c:v>1900</c:v>
                </c:pt>
                <c:pt idx="363">
                  <c:v>1900</c:v>
                </c:pt>
                <c:pt idx="364">
                  <c:v>1900</c:v>
                </c:pt>
                <c:pt idx="365">
                  <c:v>1900</c:v>
                </c:pt>
                <c:pt idx="366">
                  <c:v>1900</c:v>
                </c:pt>
                <c:pt idx="367">
                  <c:v>1900</c:v>
                </c:pt>
                <c:pt idx="368">
                  <c:v>1900</c:v>
                </c:pt>
                <c:pt idx="369">
                  <c:v>1900</c:v>
                </c:pt>
                <c:pt idx="370">
                  <c:v>1900</c:v>
                </c:pt>
                <c:pt idx="371">
                  <c:v>1900</c:v>
                </c:pt>
                <c:pt idx="372">
                  <c:v>1900</c:v>
                </c:pt>
                <c:pt idx="373">
                  <c:v>1900</c:v>
                </c:pt>
                <c:pt idx="374">
                  <c:v>1900</c:v>
                </c:pt>
                <c:pt idx="375">
                  <c:v>1900</c:v>
                </c:pt>
                <c:pt idx="376">
                  <c:v>1900</c:v>
                </c:pt>
                <c:pt idx="377">
                  <c:v>1900</c:v>
                </c:pt>
                <c:pt idx="378">
                  <c:v>1900</c:v>
                </c:pt>
                <c:pt idx="379">
                  <c:v>1900</c:v>
                </c:pt>
                <c:pt idx="380">
                  <c:v>1900</c:v>
                </c:pt>
                <c:pt idx="381">
                  <c:v>1900</c:v>
                </c:pt>
                <c:pt idx="382">
                  <c:v>1900</c:v>
                </c:pt>
                <c:pt idx="383">
                  <c:v>1900</c:v>
                </c:pt>
                <c:pt idx="384">
                  <c:v>1900</c:v>
                </c:pt>
                <c:pt idx="385">
                  <c:v>1900</c:v>
                </c:pt>
                <c:pt idx="386">
                  <c:v>1900</c:v>
                </c:pt>
                <c:pt idx="387">
                  <c:v>1900</c:v>
                </c:pt>
                <c:pt idx="388">
                  <c:v>1900</c:v>
                </c:pt>
                <c:pt idx="389">
                  <c:v>1900</c:v>
                </c:pt>
                <c:pt idx="390">
                  <c:v>1900</c:v>
                </c:pt>
                <c:pt idx="391">
                  <c:v>1900</c:v>
                </c:pt>
                <c:pt idx="392">
                  <c:v>1900</c:v>
                </c:pt>
                <c:pt idx="393">
                  <c:v>1900</c:v>
                </c:pt>
                <c:pt idx="394">
                  <c:v>1900</c:v>
                </c:pt>
                <c:pt idx="395">
                  <c:v>1900</c:v>
                </c:pt>
                <c:pt idx="396">
                  <c:v>2000</c:v>
                </c:pt>
                <c:pt idx="397">
                  <c:v>2000</c:v>
                </c:pt>
                <c:pt idx="398">
                  <c:v>2000</c:v>
                </c:pt>
                <c:pt idx="399">
                  <c:v>2000</c:v>
                </c:pt>
                <c:pt idx="400">
                  <c:v>2000</c:v>
                </c:pt>
                <c:pt idx="401">
                  <c:v>2000</c:v>
                </c:pt>
                <c:pt idx="402">
                  <c:v>2000</c:v>
                </c:pt>
                <c:pt idx="403">
                  <c:v>2000</c:v>
                </c:pt>
                <c:pt idx="404">
                  <c:v>2000</c:v>
                </c:pt>
                <c:pt idx="405">
                  <c:v>2000</c:v>
                </c:pt>
                <c:pt idx="406">
                  <c:v>2000</c:v>
                </c:pt>
                <c:pt idx="407">
                  <c:v>2000</c:v>
                </c:pt>
                <c:pt idx="408">
                  <c:v>2000</c:v>
                </c:pt>
                <c:pt idx="409">
                  <c:v>2000</c:v>
                </c:pt>
                <c:pt idx="410">
                  <c:v>2000</c:v>
                </c:pt>
                <c:pt idx="411">
                  <c:v>2000</c:v>
                </c:pt>
                <c:pt idx="412">
                  <c:v>2000</c:v>
                </c:pt>
                <c:pt idx="413">
                  <c:v>2000</c:v>
                </c:pt>
                <c:pt idx="414">
                  <c:v>2100</c:v>
                </c:pt>
                <c:pt idx="415">
                  <c:v>2100</c:v>
                </c:pt>
                <c:pt idx="416">
                  <c:v>2100</c:v>
                </c:pt>
                <c:pt idx="417">
                  <c:v>2100</c:v>
                </c:pt>
                <c:pt idx="418">
                  <c:v>2100</c:v>
                </c:pt>
                <c:pt idx="419">
                  <c:v>2100</c:v>
                </c:pt>
                <c:pt idx="420">
                  <c:v>2100</c:v>
                </c:pt>
                <c:pt idx="421">
                  <c:v>2100</c:v>
                </c:pt>
                <c:pt idx="422">
                  <c:v>2100</c:v>
                </c:pt>
                <c:pt idx="423">
                  <c:v>2100</c:v>
                </c:pt>
                <c:pt idx="424">
                  <c:v>2100</c:v>
                </c:pt>
                <c:pt idx="425">
                  <c:v>2100</c:v>
                </c:pt>
                <c:pt idx="426">
                  <c:v>2100</c:v>
                </c:pt>
                <c:pt idx="427">
                  <c:v>2100</c:v>
                </c:pt>
                <c:pt idx="428">
                  <c:v>2100</c:v>
                </c:pt>
                <c:pt idx="429">
                  <c:v>2100</c:v>
                </c:pt>
                <c:pt idx="430">
                  <c:v>2100</c:v>
                </c:pt>
                <c:pt idx="431">
                  <c:v>2100</c:v>
                </c:pt>
                <c:pt idx="432">
                  <c:v>2100</c:v>
                </c:pt>
                <c:pt idx="433">
                  <c:v>2100</c:v>
                </c:pt>
                <c:pt idx="434">
                  <c:v>2100</c:v>
                </c:pt>
                <c:pt idx="435">
                  <c:v>2100</c:v>
                </c:pt>
                <c:pt idx="436">
                  <c:v>2100</c:v>
                </c:pt>
                <c:pt idx="437">
                  <c:v>2100</c:v>
                </c:pt>
                <c:pt idx="438">
                  <c:v>2100</c:v>
                </c:pt>
                <c:pt idx="439">
                  <c:v>2100</c:v>
                </c:pt>
                <c:pt idx="440">
                  <c:v>2100</c:v>
                </c:pt>
                <c:pt idx="441">
                  <c:v>2100</c:v>
                </c:pt>
                <c:pt idx="442">
                  <c:v>2100</c:v>
                </c:pt>
                <c:pt idx="443">
                  <c:v>2200</c:v>
                </c:pt>
                <c:pt idx="444">
                  <c:v>2200</c:v>
                </c:pt>
                <c:pt idx="445">
                  <c:v>2200</c:v>
                </c:pt>
                <c:pt idx="446">
                  <c:v>2200</c:v>
                </c:pt>
                <c:pt idx="447">
                  <c:v>2200</c:v>
                </c:pt>
                <c:pt idx="448">
                  <c:v>2200</c:v>
                </c:pt>
                <c:pt idx="449">
                  <c:v>2200</c:v>
                </c:pt>
                <c:pt idx="450">
                  <c:v>2200</c:v>
                </c:pt>
                <c:pt idx="451">
                  <c:v>2200</c:v>
                </c:pt>
                <c:pt idx="452">
                  <c:v>2200</c:v>
                </c:pt>
                <c:pt idx="453">
                  <c:v>2200</c:v>
                </c:pt>
                <c:pt idx="454">
                  <c:v>2200</c:v>
                </c:pt>
                <c:pt idx="455">
                  <c:v>2200</c:v>
                </c:pt>
                <c:pt idx="456">
                  <c:v>2200</c:v>
                </c:pt>
                <c:pt idx="457">
                  <c:v>2200</c:v>
                </c:pt>
                <c:pt idx="458">
                  <c:v>2200</c:v>
                </c:pt>
                <c:pt idx="459">
                  <c:v>2200</c:v>
                </c:pt>
                <c:pt idx="460">
                  <c:v>2200</c:v>
                </c:pt>
                <c:pt idx="461">
                  <c:v>2200</c:v>
                </c:pt>
                <c:pt idx="462">
                  <c:v>2200</c:v>
                </c:pt>
                <c:pt idx="463">
                  <c:v>2200</c:v>
                </c:pt>
                <c:pt idx="464">
                  <c:v>2200</c:v>
                </c:pt>
                <c:pt idx="465">
                  <c:v>2200</c:v>
                </c:pt>
                <c:pt idx="466">
                  <c:v>2200</c:v>
                </c:pt>
                <c:pt idx="467">
                  <c:v>2200</c:v>
                </c:pt>
                <c:pt idx="468">
                  <c:v>2200</c:v>
                </c:pt>
                <c:pt idx="469">
                  <c:v>2200</c:v>
                </c:pt>
                <c:pt idx="470">
                  <c:v>2200</c:v>
                </c:pt>
                <c:pt idx="471">
                  <c:v>2200</c:v>
                </c:pt>
                <c:pt idx="472">
                  <c:v>2200</c:v>
                </c:pt>
                <c:pt idx="473">
                  <c:v>2200</c:v>
                </c:pt>
                <c:pt idx="474">
                  <c:v>2200</c:v>
                </c:pt>
                <c:pt idx="475">
                  <c:v>2200</c:v>
                </c:pt>
                <c:pt idx="476">
                  <c:v>2200</c:v>
                </c:pt>
                <c:pt idx="477">
                  <c:v>2200</c:v>
                </c:pt>
                <c:pt idx="478">
                  <c:v>2200</c:v>
                </c:pt>
                <c:pt idx="479">
                  <c:v>2200</c:v>
                </c:pt>
                <c:pt idx="480">
                  <c:v>2200</c:v>
                </c:pt>
                <c:pt idx="481">
                  <c:v>2200</c:v>
                </c:pt>
                <c:pt idx="482">
                  <c:v>2200</c:v>
                </c:pt>
                <c:pt idx="483">
                  <c:v>2200</c:v>
                </c:pt>
                <c:pt idx="484">
                  <c:v>2200</c:v>
                </c:pt>
                <c:pt idx="485">
                  <c:v>2200</c:v>
                </c:pt>
                <c:pt idx="486">
                  <c:v>2200</c:v>
                </c:pt>
                <c:pt idx="487">
                  <c:v>2200</c:v>
                </c:pt>
                <c:pt idx="488">
                  <c:v>2200</c:v>
                </c:pt>
                <c:pt idx="489">
                  <c:v>2200</c:v>
                </c:pt>
                <c:pt idx="490">
                  <c:v>2200</c:v>
                </c:pt>
                <c:pt idx="491">
                  <c:v>2200</c:v>
                </c:pt>
                <c:pt idx="492">
                  <c:v>2200</c:v>
                </c:pt>
                <c:pt idx="493">
                  <c:v>2200</c:v>
                </c:pt>
                <c:pt idx="494">
                  <c:v>2200</c:v>
                </c:pt>
                <c:pt idx="495">
                  <c:v>2200</c:v>
                </c:pt>
                <c:pt idx="496">
                  <c:v>2200</c:v>
                </c:pt>
                <c:pt idx="497">
                  <c:v>2200</c:v>
                </c:pt>
                <c:pt idx="498">
                  <c:v>2200</c:v>
                </c:pt>
                <c:pt idx="499">
                  <c:v>2200</c:v>
                </c:pt>
                <c:pt idx="500">
                  <c:v>2200</c:v>
                </c:pt>
                <c:pt idx="501">
                  <c:v>2200</c:v>
                </c:pt>
                <c:pt idx="502">
                  <c:v>2200</c:v>
                </c:pt>
                <c:pt idx="503">
                  <c:v>2200</c:v>
                </c:pt>
                <c:pt idx="504">
                  <c:v>2200</c:v>
                </c:pt>
                <c:pt idx="505">
                  <c:v>2200</c:v>
                </c:pt>
                <c:pt idx="506">
                  <c:v>2200</c:v>
                </c:pt>
                <c:pt idx="507">
                  <c:v>2200</c:v>
                </c:pt>
                <c:pt idx="508">
                  <c:v>2200</c:v>
                </c:pt>
                <c:pt idx="509">
                  <c:v>2200</c:v>
                </c:pt>
                <c:pt idx="510">
                  <c:v>2200</c:v>
                </c:pt>
                <c:pt idx="511">
                  <c:v>2200</c:v>
                </c:pt>
                <c:pt idx="512">
                  <c:v>2200</c:v>
                </c:pt>
                <c:pt idx="513">
                  <c:v>2200</c:v>
                </c:pt>
                <c:pt idx="514">
                  <c:v>2200</c:v>
                </c:pt>
                <c:pt idx="515">
                  <c:v>2200</c:v>
                </c:pt>
                <c:pt idx="516">
                  <c:v>2200</c:v>
                </c:pt>
                <c:pt idx="517">
                  <c:v>2200</c:v>
                </c:pt>
                <c:pt idx="518">
                  <c:v>2200</c:v>
                </c:pt>
                <c:pt idx="519">
                  <c:v>2200</c:v>
                </c:pt>
                <c:pt idx="520">
                  <c:v>2200</c:v>
                </c:pt>
                <c:pt idx="521">
                  <c:v>2200</c:v>
                </c:pt>
                <c:pt idx="522">
                  <c:v>2200</c:v>
                </c:pt>
                <c:pt idx="523">
                  <c:v>2200</c:v>
                </c:pt>
                <c:pt idx="524">
                  <c:v>2200</c:v>
                </c:pt>
                <c:pt idx="525">
                  <c:v>2200</c:v>
                </c:pt>
                <c:pt idx="526">
                  <c:v>2200</c:v>
                </c:pt>
                <c:pt idx="527">
                  <c:v>2200</c:v>
                </c:pt>
                <c:pt idx="528">
                  <c:v>2200</c:v>
                </c:pt>
                <c:pt idx="529">
                  <c:v>2200</c:v>
                </c:pt>
                <c:pt idx="530">
                  <c:v>2200</c:v>
                </c:pt>
                <c:pt idx="531">
                  <c:v>2200</c:v>
                </c:pt>
                <c:pt idx="532">
                  <c:v>2200</c:v>
                </c:pt>
                <c:pt idx="533">
                  <c:v>2200</c:v>
                </c:pt>
                <c:pt idx="534">
                  <c:v>2200</c:v>
                </c:pt>
                <c:pt idx="535">
                  <c:v>2200</c:v>
                </c:pt>
                <c:pt idx="536">
                  <c:v>2200</c:v>
                </c:pt>
                <c:pt idx="537">
                  <c:v>2200</c:v>
                </c:pt>
                <c:pt idx="538">
                  <c:v>2200</c:v>
                </c:pt>
                <c:pt idx="539">
                  <c:v>2200</c:v>
                </c:pt>
                <c:pt idx="540">
                  <c:v>2200</c:v>
                </c:pt>
                <c:pt idx="541">
                  <c:v>2200</c:v>
                </c:pt>
                <c:pt idx="542">
                  <c:v>2200</c:v>
                </c:pt>
                <c:pt idx="543">
                  <c:v>2200</c:v>
                </c:pt>
                <c:pt idx="544">
                  <c:v>2200</c:v>
                </c:pt>
                <c:pt idx="545">
                  <c:v>2200</c:v>
                </c:pt>
                <c:pt idx="546">
                  <c:v>2200</c:v>
                </c:pt>
                <c:pt idx="547">
                  <c:v>2200</c:v>
                </c:pt>
                <c:pt idx="548">
                  <c:v>2200</c:v>
                </c:pt>
                <c:pt idx="549">
                  <c:v>2200</c:v>
                </c:pt>
                <c:pt idx="550">
                  <c:v>2200</c:v>
                </c:pt>
                <c:pt idx="551">
                  <c:v>2200</c:v>
                </c:pt>
                <c:pt idx="552">
                  <c:v>2200</c:v>
                </c:pt>
                <c:pt idx="553">
                  <c:v>2200</c:v>
                </c:pt>
                <c:pt idx="554">
                  <c:v>2200</c:v>
                </c:pt>
                <c:pt idx="555">
                  <c:v>2200</c:v>
                </c:pt>
                <c:pt idx="556">
                  <c:v>2200</c:v>
                </c:pt>
                <c:pt idx="557">
                  <c:v>2200</c:v>
                </c:pt>
                <c:pt idx="558">
                  <c:v>2200</c:v>
                </c:pt>
                <c:pt idx="559">
                  <c:v>2200</c:v>
                </c:pt>
                <c:pt idx="560">
                  <c:v>2200</c:v>
                </c:pt>
                <c:pt idx="561">
                  <c:v>2200</c:v>
                </c:pt>
                <c:pt idx="562">
                  <c:v>2200</c:v>
                </c:pt>
                <c:pt idx="563">
                  <c:v>2200</c:v>
                </c:pt>
                <c:pt idx="564">
                  <c:v>2200</c:v>
                </c:pt>
                <c:pt idx="565">
                  <c:v>2200</c:v>
                </c:pt>
                <c:pt idx="566">
                  <c:v>2200</c:v>
                </c:pt>
                <c:pt idx="567">
                  <c:v>2200</c:v>
                </c:pt>
                <c:pt idx="568">
                  <c:v>2200</c:v>
                </c:pt>
                <c:pt idx="569">
                  <c:v>2200</c:v>
                </c:pt>
                <c:pt idx="570">
                  <c:v>2200</c:v>
                </c:pt>
                <c:pt idx="571">
                  <c:v>2200</c:v>
                </c:pt>
                <c:pt idx="572">
                  <c:v>2200</c:v>
                </c:pt>
                <c:pt idx="573">
                  <c:v>2200</c:v>
                </c:pt>
                <c:pt idx="574">
                  <c:v>2200</c:v>
                </c:pt>
                <c:pt idx="575">
                  <c:v>2200</c:v>
                </c:pt>
                <c:pt idx="576">
                  <c:v>2200</c:v>
                </c:pt>
                <c:pt idx="577">
                  <c:v>2200</c:v>
                </c:pt>
                <c:pt idx="578">
                  <c:v>2200</c:v>
                </c:pt>
                <c:pt idx="579">
                  <c:v>2200</c:v>
                </c:pt>
                <c:pt idx="580">
                  <c:v>2200</c:v>
                </c:pt>
                <c:pt idx="581">
                  <c:v>2200</c:v>
                </c:pt>
                <c:pt idx="582">
                  <c:v>2200</c:v>
                </c:pt>
                <c:pt idx="583">
                  <c:v>2200</c:v>
                </c:pt>
                <c:pt idx="584">
                  <c:v>2200</c:v>
                </c:pt>
                <c:pt idx="585">
                  <c:v>2200</c:v>
                </c:pt>
                <c:pt idx="586">
                  <c:v>2200</c:v>
                </c:pt>
                <c:pt idx="587">
                  <c:v>2200</c:v>
                </c:pt>
                <c:pt idx="588">
                  <c:v>2200</c:v>
                </c:pt>
                <c:pt idx="589">
                  <c:v>2200</c:v>
                </c:pt>
                <c:pt idx="590">
                  <c:v>2200</c:v>
                </c:pt>
                <c:pt idx="591">
                  <c:v>2200</c:v>
                </c:pt>
                <c:pt idx="592">
                  <c:v>2200</c:v>
                </c:pt>
                <c:pt idx="593">
                  <c:v>2200</c:v>
                </c:pt>
                <c:pt idx="594">
                  <c:v>2200</c:v>
                </c:pt>
                <c:pt idx="595">
                  <c:v>2200</c:v>
                </c:pt>
                <c:pt idx="596">
                  <c:v>2200</c:v>
                </c:pt>
                <c:pt idx="597">
                  <c:v>2200</c:v>
                </c:pt>
                <c:pt idx="598">
                  <c:v>2200</c:v>
                </c:pt>
                <c:pt idx="599">
                  <c:v>2200</c:v>
                </c:pt>
                <c:pt idx="600">
                  <c:v>2200</c:v>
                </c:pt>
                <c:pt idx="601">
                  <c:v>2200</c:v>
                </c:pt>
                <c:pt idx="602">
                  <c:v>2200</c:v>
                </c:pt>
                <c:pt idx="603">
                  <c:v>2200</c:v>
                </c:pt>
                <c:pt idx="604">
                  <c:v>2200</c:v>
                </c:pt>
                <c:pt idx="605">
                  <c:v>2200</c:v>
                </c:pt>
                <c:pt idx="606">
                  <c:v>2200</c:v>
                </c:pt>
                <c:pt idx="607">
                  <c:v>2200</c:v>
                </c:pt>
                <c:pt idx="608">
                  <c:v>2200</c:v>
                </c:pt>
                <c:pt idx="609">
                  <c:v>2200</c:v>
                </c:pt>
                <c:pt idx="610">
                  <c:v>2200</c:v>
                </c:pt>
                <c:pt idx="611">
                  <c:v>2200</c:v>
                </c:pt>
                <c:pt idx="612">
                  <c:v>2200</c:v>
                </c:pt>
                <c:pt idx="613">
                  <c:v>2200</c:v>
                </c:pt>
                <c:pt idx="614">
                  <c:v>2200</c:v>
                </c:pt>
                <c:pt idx="615">
                  <c:v>2200</c:v>
                </c:pt>
                <c:pt idx="616">
                  <c:v>2200</c:v>
                </c:pt>
                <c:pt idx="617">
                  <c:v>2200</c:v>
                </c:pt>
                <c:pt idx="618">
                  <c:v>2200</c:v>
                </c:pt>
                <c:pt idx="619">
                  <c:v>2200</c:v>
                </c:pt>
                <c:pt idx="620">
                  <c:v>2200</c:v>
                </c:pt>
                <c:pt idx="621">
                  <c:v>2200</c:v>
                </c:pt>
                <c:pt idx="622">
                  <c:v>2200</c:v>
                </c:pt>
                <c:pt idx="623">
                  <c:v>2200</c:v>
                </c:pt>
                <c:pt idx="624">
                  <c:v>2200</c:v>
                </c:pt>
                <c:pt idx="625">
                  <c:v>2200</c:v>
                </c:pt>
                <c:pt idx="626">
                  <c:v>2200</c:v>
                </c:pt>
                <c:pt idx="627">
                  <c:v>2200</c:v>
                </c:pt>
                <c:pt idx="628">
                  <c:v>2200</c:v>
                </c:pt>
                <c:pt idx="629">
                  <c:v>2200</c:v>
                </c:pt>
                <c:pt idx="630">
                  <c:v>2200</c:v>
                </c:pt>
                <c:pt idx="631">
                  <c:v>2200</c:v>
                </c:pt>
                <c:pt idx="632">
                  <c:v>2200</c:v>
                </c:pt>
                <c:pt idx="633">
                  <c:v>2200</c:v>
                </c:pt>
                <c:pt idx="634">
                  <c:v>2200</c:v>
                </c:pt>
                <c:pt idx="635">
                  <c:v>2200</c:v>
                </c:pt>
                <c:pt idx="636">
                  <c:v>2200</c:v>
                </c:pt>
                <c:pt idx="637">
                  <c:v>2200</c:v>
                </c:pt>
                <c:pt idx="638">
                  <c:v>2200</c:v>
                </c:pt>
                <c:pt idx="639">
                  <c:v>2200</c:v>
                </c:pt>
                <c:pt idx="640">
                  <c:v>2200</c:v>
                </c:pt>
                <c:pt idx="641">
                  <c:v>2200</c:v>
                </c:pt>
                <c:pt idx="642">
                  <c:v>2200</c:v>
                </c:pt>
                <c:pt idx="643">
                  <c:v>2200</c:v>
                </c:pt>
                <c:pt idx="644">
                  <c:v>2200</c:v>
                </c:pt>
                <c:pt idx="645">
                  <c:v>2200</c:v>
                </c:pt>
                <c:pt idx="646">
                  <c:v>2200</c:v>
                </c:pt>
                <c:pt idx="647">
                  <c:v>2200</c:v>
                </c:pt>
                <c:pt idx="648">
                  <c:v>2200</c:v>
                </c:pt>
                <c:pt idx="649">
                  <c:v>2200</c:v>
                </c:pt>
                <c:pt idx="650">
                  <c:v>2200</c:v>
                </c:pt>
                <c:pt idx="651">
                  <c:v>2200</c:v>
                </c:pt>
                <c:pt idx="652">
                  <c:v>2200</c:v>
                </c:pt>
                <c:pt idx="653">
                  <c:v>2200</c:v>
                </c:pt>
                <c:pt idx="654">
                  <c:v>2200</c:v>
                </c:pt>
                <c:pt idx="655">
                  <c:v>2200</c:v>
                </c:pt>
                <c:pt idx="656">
                  <c:v>2200</c:v>
                </c:pt>
                <c:pt idx="657">
                  <c:v>2200</c:v>
                </c:pt>
                <c:pt idx="658">
                  <c:v>2200</c:v>
                </c:pt>
                <c:pt idx="659">
                  <c:v>2200</c:v>
                </c:pt>
                <c:pt idx="660">
                  <c:v>2200</c:v>
                </c:pt>
                <c:pt idx="661">
                  <c:v>2200</c:v>
                </c:pt>
                <c:pt idx="662">
                  <c:v>2200</c:v>
                </c:pt>
                <c:pt idx="663">
                  <c:v>2200</c:v>
                </c:pt>
                <c:pt idx="664">
                  <c:v>2200</c:v>
                </c:pt>
                <c:pt idx="665">
                  <c:v>2200</c:v>
                </c:pt>
                <c:pt idx="666">
                  <c:v>2200</c:v>
                </c:pt>
                <c:pt idx="667">
                  <c:v>2200</c:v>
                </c:pt>
                <c:pt idx="668">
                  <c:v>2200</c:v>
                </c:pt>
                <c:pt idx="669">
                  <c:v>2200</c:v>
                </c:pt>
                <c:pt idx="670">
                  <c:v>2200</c:v>
                </c:pt>
                <c:pt idx="671">
                  <c:v>2200</c:v>
                </c:pt>
                <c:pt idx="672">
                  <c:v>2200</c:v>
                </c:pt>
                <c:pt idx="673">
                  <c:v>2200</c:v>
                </c:pt>
                <c:pt idx="674">
                  <c:v>2200</c:v>
                </c:pt>
                <c:pt idx="675">
                  <c:v>2200</c:v>
                </c:pt>
                <c:pt idx="676">
                  <c:v>2200</c:v>
                </c:pt>
                <c:pt idx="677">
                  <c:v>2200</c:v>
                </c:pt>
                <c:pt idx="678">
                  <c:v>2200</c:v>
                </c:pt>
                <c:pt idx="679">
                  <c:v>2200</c:v>
                </c:pt>
                <c:pt idx="680">
                  <c:v>2200</c:v>
                </c:pt>
                <c:pt idx="681">
                  <c:v>2200</c:v>
                </c:pt>
                <c:pt idx="682">
                  <c:v>2200</c:v>
                </c:pt>
                <c:pt idx="683">
                  <c:v>2200</c:v>
                </c:pt>
                <c:pt idx="684">
                  <c:v>2200</c:v>
                </c:pt>
                <c:pt idx="685">
                  <c:v>2200</c:v>
                </c:pt>
                <c:pt idx="686">
                  <c:v>2200</c:v>
                </c:pt>
                <c:pt idx="687">
                  <c:v>2200</c:v>
                </c:pt>
                <c:pt idx="688">
                  <c:v>2200</c:v>
                </c:pt>
                <c:pt idx="689">
                  <c:v>2200</c:v>
                </c:pt>
                <c:pt idx="690">
                  <c:v>2200</c:v>
                </c:pt>
                <c:pt idx="691">
                  <c:v>2200</c:v>
                </c:pt>
                <c:pt idx="692">
                  <c:v>2200</c:v>
                </c:pt>
                <c:pt idx="693">
                  <c:v>2200</c:v>
                </c:pt>
                <c:pt idx="694">
                  <c:v>2200</c:v>
                </c:pt>
                <c:pt idx="695">
                  <c:v>2200</c:v>
                </c:pt>
                <c:pt idx="696">
                  <c:v>2200</c:v>
                </c:pt>
                <c:pt idx="697">
                  <c:v>2200</c:v>
                </c:pt>
                <c:pt idx="698">
                  <c:v>2200</c:v>
                </c:pt>
                <c:pt idx="699">
                  <c:v>2200</c:v>
                </c:pt>
                <c:pt idx="700">
                  <c:v>2200</c:v>
                </c:pt>
                <c:pt idx="701">
                  <c:v>2200</c:v>
                </c:pt>
                <c:pt idx="702">
                  <c:v>2200</c:v>
                </c:pt>
                <c:pt idx="703">
                  <c:v>2200</c:v>
                </c:pt>
                <c:pt idx="704">
                  <c:v>2200</c:v>
                </c:pt>
                <c:pt idx="705">
                  <c:v>2200</c:v>
                </c:pt>
                <c:pt idx="706">
                  <c:v>2200</c:v>
                </c:pt>
                <c:pt idx="707">
                  <c:v>2200</c:v>
                </c:pt>
                <c:pt idx="708">
                  <c:v>2200</c:v>
                </c:pt>
                <c:pt idx="709">
                  <c:v>2200</c:v>
                </c:pt>
                <c:pt idx="710">
                  <c:v>2200</c:v>
                </c:pt>
                <c:pt idx="711">
                  <c:v>2700</c:v>
                </c:pt>
                <c:pt idx="712">
                  <c:v>2700</c:v>
                </c:pt>
                <c:pt idx="713">
                  <c:v>2700</c:v>
                </c:pt>
                <c:pt idx="714">
                  <c:v>2700</c:v>
                </c:pt>
                <c:pt idx="715">
                  <c:v>2700</c:v>
                </c:pt>
                <c:pt idx="716">
                  <c:v>2700</c:v>
                </c:pt>
                <c:pt idx="717">
                  <c:v>2700</c:v>
                </c:pt>
                <c:pt idx="718">
                  <c:v>2700</c:v>
                </c:pt>
                <c:pt idx="719">
                  <c:v>2700</c:v>
                </c:pt>
                <c:pt idx="720">
                  <c:v>2700</c:v>
                </c:pt>
                <c:pt idx="721">
                  <c:v>2800</c:v>
                </c:pt>
                <c:pt idx="722">
                  <c:v>2800</c:v>
                </c:pt>
                <c:pt idx="723">
                  <c:v>2800</c:v>
                </c:pt>
                <c:pt idx="724">
                  <c:v>2800</c:v>
                </c:pt>
                <c:pt idx="725">
                  <c:v>2800</c:v>
                </c:pt>
                <c:pt idx="726">
                  <c:v>2800</c:v>
                </c:pt>
                <c:pt idx="727">
                  <c:v>2800</c:v>
                </c:pt>
                <c:pt idx="728">
                  <c:v>2800</c:v>
                </c:pt>
                <c:pt idx="729">
                  <c:v>2800</c:v>
                </c:pt>
                <c:pt idx="730">
                  <c:v>2800</c:v>
                </c:pt>
                <c:pt idx="731">
                  <c:v>2800</c:v>
                </c:pt>
                <c:pt idx="732">
                  <c:v>2800</c:v>
                </c:pt>
                <c:pt idx="733">
                  <c:v>2800</c:v>
                </c:pt>
                <c:pt idx="734">
                  <c:v>2800</c:v>
                </c:pt>
                <c:pt idx="735">
                  <c:v>2800</c:v>
                </c:pt>
                <c:pt idx="736">
                  <c:v>2800</c:v>
                </c:pt>
                <c:pt idx="737">
                  <c:v>2800</c:v>
                </c:pt>
                <c:pt idx="738">
                  <c:v>2800</c:v>
                </c:pt>
                <c:pt idx="739">
                  <c:v>2800</c:v>
                </c:pt>
                <c:pt idx="740">
                  <c:v>2800</c:v>
                </c:pt>
                <c:pt idx="741">
                  <c:v>2800</c:v>
                </c:pt>
                <c:pt idx="742">
                  <c:v>2800</c:v>
                </c:pt>
                <c:pt idx="743">
                  <c:v>2800</c:v>
                </c:pt>
                <c:pt idx="744">
                  <c:v>2800</c:v>
                </c:pt>
                <c:pt idx="745">
                  <c:v>2800</c:v>
                </c:pt>
                <c:pt idx="746">
                  <c:v>2800</c:v>
                </c:pt>
                <c:pt idx="747">
                  <c:v>2800</c:v>
                </c:pt>
              </c:numCache>
            </c:numRef>
          </c:val>
          <c:smooth val="0"/>
          <c:extLst>
            <c:ext xmlns:c16="http://schemas.microsoft.com/office/drawing/2014/chart" uri="{C3380CC4-5D6E-409C-BE32-E72D297353CC}">
              <c16:uniqueId val="{00000000-15E9-49B2-BDB8-F7BEB4306C59}"/>
            </c:ext>
          </c:extLst>
        </c:ser>
        <c:ser>
          <c:idx val="1"/>
          <c:order val="1"/>
          <c:tx>
            <c:strRef>
              <c:f>硅煤价格图表!$AE$2</c:f>
              <c:strCache>
                <c:ptCount val="1"/>
                <c:pt idx="0">
                  <c:v>宁夏</c:v>
                </c:pt>
              </c:strCache>
            </c:strRef>
          </c:tx>
          <c:spPr>
            <a:ln w="28575" cap="rnd">
              <a:solidFill>
                <a:schemeClr val="accent5">
                  <a:lumMod val="75000"/>
                </a:schemeClr>
              </a:solidFill>
              <a:round/>
            </a:ln>
            <a:effectLst/>
          </c:spPr>
          <c:marker>
            <c:symbol val="none"/>
          </c:marker>
          <c:cat>
            <c:numRef>
              <c:f>硅煤价格图表!$AC$3:$AC$978</c:f>
              <c:numCache>
                <c:formatCode>yyyy\-mm\-dd</c:formatCode>
                <c:ptCount val="976"/>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pt idx="738">
                  <c:v>44739</c:v>
                </c:pt>
                <c:pt idx="739">
                  <c:v>44738</c:v>
                </c:pt>
                <c:pt idx="740">
                  <c:v>44737</c:v>
                </c:pt>
                <c:pt idx="741">
                  <c:v>44736</c:v>
                </c:pt>
                <c:pt idx="742">
                  <c:v>44735</c:v>
                </c:pt>
                <c:pt idx="743">
                  <c:v>44734</c:v>
                </c:pt>
                <c:pt idx="744">
                  <c:v>44733</c:v>
                </c:pt>
                <c:pt idx="745">
                  <c:v>44732</c:v>
                </c:pt>
                <c:pt idx="746">
                  <c:v>44731</c:v>
                </c:pt>
                <c:pt idx="747">
                  <c:v>44730</c:v>
                </c:pt>
              </c:numCache>
            </c:numRef>
          </c:cat>
          <c:val>
            <c:numRef>
              <c:f>硅煤价格图表!$AE$3:$AE$978</c:f>
              <c:numCache>
                <c:formatCode>General</c:formatCode>
                <c:ptCount val="976"/>
                <c:pt idx="0">
                  <c:v>2050</c:v>
                </c:pt>
                <c:pt idx="1">
                  <c:v>2050</c:v>
                </c:pt>
                <c:pt idx="2">
                  <c:v>2050</c:v>
                </c:pt>
                <c:pt idx="3">
                  <c:v>2050</c:v>
                </c:pt>
                <c:pt idx="4">
                  <c:v>2050</c:v>
                </c:pt>
                <c:pt idx="5">
                  <c:v>2050</c:v>
                </c:pt>
                <c:pt idx="6">
                  <c:v>2050</c:v>
                </c:pt>
                <c:pt idx="7">
                  <c:v>2050</c:v>
                </c:pt>
                <c:pt idx="8">
                  <c:v>2050</c:v>
                </c:pt>
                <c:pt idx="9">
                  <c:v>2050</c:v>
                </c:pt>
                <c:pt idx="10">
                  <c:v>2050</c:v>
                </c:pt>
                <c:pt idx="11">
                  <c:v>2050</c:v>
                </c:pt>
                <c:pt idx="12">
                  <c:v>2050</c:v>
                </c:pt>
                <c:pt idx="13">
                  <c:v>2050</c:v>
                </c:pt>
                <c:pt idx="14">
                  <c:v>2050</c:v>
                </c:pt>
                <c:pt idx="15">
                  <c:v>2050</c:v>
                </c:pt>
                <c:pt idx="16">
                  <c:v>2050</c:v>
                </c:pt>
                <c:pt idx="17">
                  <c:v>2050</c:v>
                </c:pt>
                <c:pt idx="18">
                  <c:v>2050</c:v>
                </c:pt>
                <c:pt idx="19">
                  <c:v>2050</c:v>
                </c:pt>
                <c:pt idx="20">
                  <c:v>2050</c:v>
                </c:pt>
                <c:pt idx="21">
                  <c:v>2050</c:v>
                </c:pt>
                <c:pt idx="22">
                  <c:v>2050</c:v>
                </c:pt>
                <c:pt idx="23">
                  <c:v>2050</c:v>
                </c:pt>
                <c:pt idx="24">
                  <c:v>2050</c:v>
                </c:pt>
                <c:pt idx="25">
                  <c:v>2050</c:v>
                </c:pt>
                <c:pt idx="26">
                  <c:v>2050</c:v>
                </c:pt>
                <c:pt idx="27">
                  <c:v>2050</c:v>
                </c:pt>
                <c:pt idx="28">
                  <c:v>2050</c:v>
                </c:pt>
                <c:pt idx="29">
                  <c:v>2050</c:v>
                </c:pt>
                <c:pt idx="30">
                  <c:v>2050</c:v>
                </c:pt>
                <c:pt idx="31">
                  <c:v>2050</c:v>
                </c:pt>
                <c:pt idx="32">
                  <c:v>2050</c:v>
                </c:pt>
                <c:pt idx="33">
                  <c:v>2050</c:v>
                </c:pt>
                <c:pt idx="34">
                  <c:v>2050</c:v>
                </c:pt>
                <c:pt idx="35">
                  <c:v>2050</c:v>
                </c:pt>
                <c:pt idx="36">
                  <c:v>2050</c:v>
                </c:pt>
                <c:pt idx="37">
                  <c:v>2050</c:v>
                </c:pt>
                <c:pt idx="38">
                  <c:v>2050</c:v>
                </c:pt>
                <c:pt idx="39">
                  <c:v>2050</c:v>
                </c:pt>
                <c:pt idx="40">
                  <c:v>2050</c:v>
                </c:pt>
                <c:pt idx="41">
                  <c:v>2050</c:v>
                </c:pt>
                <c:pt idx="42">
                  <c:v>2050</c:v>
                </c:pt>
                <c:pt idx="43">
                  <c:v>2050</c:v>
                </c:pt>
                <c:pt idx="44">
                  <c:v>2050</c:v>
                </c:pt>
                <c:pt idx="45">
                  <c:v>2050</c:v>
                </c:pt>
                <c:pt idx="46">
                  <c:v>2050</c:v>
                </c:pt>
                <c:pt idx="47">
                  <c:v>2050</c:v>
                </c:pt>
                <c:pt idx="48">
                  <c:v>2050</c:v>
                </c:pt>
                <c:pt idx="49">
                  <c:v>2050</c:v>
                </c:pt>
                <c:pt idx="50">
                  <c:v>2050</c:v>
                </c:pt>
                <c:pt idx="51">
                  <c:v>2050</c:v>
                </c:pt>
                <c:pt idx="52">
                  <c:v>2050</c:v>
                </c:pt>
                <c:pt idx="53">
                  <c:v>2050</c:v>
                </c:pt>
                <c:pt idx="54">
                  <c:v>2050</c:v>
                </c:pt>
                <c:pt idx="55">
                  <c:v>2050</c:v>
                </c:pt>
                <c:pt idx="56">
                  <c:v>2050</c:v>
                </c:pt>
                <c:pt idx="57">
                  <c:v>2050</c:v>
                </c:pt>
                <c:pt idx="58">
                  <c:v>2050</c:v>
                </c:pt>
                <c:pt idx="59">
                  <c:v>2050</c:v>
                </c:pt>
                <c:pt idx="60">
                  <c:v>2050</c:v>
                </c:pt>
                <c:pt idx="61">
                  <c:v>2050</c:v>
                </c:pt>
                <c:pt idx="62">
                  <c:v>2050</c:v>
                </c:pt>
                <c:pt idx="63">
                  <c:v>2050</c:v>
                </c:pt>
                <c:pt idx="64">
                  <c:v>2050</c:v>
                </c:pt>
                <c:pt idx="65">
                  <c:v>2050</c:v>
                </c:pt>
                <c:pt idx="66">
                  <c:v>2050</c:v>
                </c:pt>
                <c:pt idx="67">
                  <c:v>2050</c:v>
                </c:pt>
                <c:pt idx="68">
                  <c:v>2050</c:v>
                </c:pt>
                <c:pt idx="69">
                  <c:v>2050</c:v>
                </c:pt>
                <c:pt idx="70">
                  <c:v>2050</c:v>
                </c:pt>
                <c:pt idx="71">
                  <c:v>2050</c:v>
                </c:pt>
                <c:pt idx="72">
                  <c:v>2050</c:v>
                </c:pt>
                <c:pt idx="73">
                  <c:v>2050</c:v>
                </c:pt>
                <c:pt idx="74">
                  <c:v>2050</c:v>
                </c:pt>
                <c:pt idx="75">
                  <c:v>2050</c:v>
                </c:pt>
                <c:pt idx="76">
                  <c:v>2050</c:v>
                </c:pt>
                <c:pt idx="77">
                  <c:v>2050</c:v>
                </c:pt>
                <c:pt idx="78">
                  <c:v>2050</c:v>
                </c:pt>
                <c:pt idx="79">
                  <c:v>2050</c:v>
                </c:pt>
                <c:pt idx="80">
                  <c:v>2050</c:v>
                </c:pt>
                <c:pt idx="81">
                  <c:v>2050</c:v>
                </c:pt>
                <c:pt idx="82">
                  <c:v>2050</c:v>
                </c:pt>
                <c:pt idx="83">
                  <c:v>2050</c:v>
                </c:pt>
                <c:pt idx="84">
                  <c:v>2050</c:v>
                </c:pt>
                <c:pt idx="85">
                  <c:v>2050</c:v>
                </c:pt>
                <c:pt idx="86">
                  <c:v>2050</c:v>
                </c:pt>
                <c:pt idx="87">
                  <c:v>2050</c:v>
                </c:pt>
                <c:pt idx="88">
                  <c:v>2050</c:v>
                </c:pt>
                <c:pt idx="89">
                  <c:v>2050</c:v>
                </c:pt>
                <c:pt idx="90">
                  <c:v>2050</c:v>
                </c:pt>
                <c:pt idx="91">
                  <c:v>2050</c:v>
                </c:pt>
                <c:pt idx="92">
                  <c:v>2050</c:v>
                </c:pt>
                <c:pt idx="93">
                  <c:v>2050</c:v>
                </c:pt>
                <c:pt idx="94">
                  <c:v>2050</c:v>
                </c:pt>
                <c:pt idx="95">
                  <c:v>2050</c:v>
                </c:pt>
                <c:pt idx="96">
                  <c:v>2050</c:v>
                </c:pt>
                <c:pt idx="97">
                  <c:v>2050</c:v>
                </c:pt>
                <c:pt idx="98">
                  <c:v>2050</c:v>
                </c:pt>
                <c:pt idx="99">
                  <c:v>2050</c:v>
                </c:pt>
                <c:pt idx="100">
                  <c:v>2050</c:v>
                </c:pt>
                <c:pt idx="101">
                  <c:v>2050</c:v>
                </c:pt>
                <c:pt idx="102">
                  <c:v>2050</c:v>
                </c:pt>
                <c:pt idx="103">
                  <c:v>2050</c:v>
                </c:pt>
                <c:pt idx="104">
                  <c:v>2050</c:v>
                </c:pt>
                <c:pt idx="105">
                  <c:v>2050</c:v>
                </c:pt>
                <c:pt idx="106">
                  <c:v>2100</c:v>
                </c:pt>
                <c:pt idx="107">
                  <c:v>2100</c:v>
                </c:pt>
                <c:pt idx="108">
                  <c:v>2100</c:v>
                </c:pt>
                <c:pt idx="109">
                  <c:v>2100</c:v>
                </c:pt>
                <c:pt idx="110">
                  <c:v>2100</c:v>
                </c:pt>
                <c:pt idx="111">
                  <c:v>2100</c:v>
                </c:pt>
                <c:pt idx="112">
                  <c:v>2100</c:v>
                </c:pt>
                <c:pt idx="113">
                  <c:v>2100</c:v>
                </c:pt>
                <c:pt idx="114">
                  <c:v>2100</c:v>
                </c:pt>
                <c:pt idx="115">
                  <c:v>2100</c:v>
                </c:pt>
                <c:pt idx="116">
                  <c:v>2100</c:v>
                </c:pt>
                <c:pt idx="117">
                  <c:v>2100</c:v>
                </c:pt>
                <c:pt idx="118">
                  <c:v>2100</c:v>
                </c:pt>
                <c:pt idx="119">
                  <c:v>2100</c:v>
                </c:pt>
                <c:pt idx="120">
                  <c:v>2100</c:v>
                </c:pt>
                <c:pt idx="121">
                  <c:v>2100</c:v>
                </c:pt>
                <c:pt idx="122">
                  <c:v>2100</c:v>
                </c:pt>
                <c:pt idx="123">
                  <c:v>2100</c:v>
                </c:pt>
                <c:pt idx="124">
                  <c:v>2100</c:v>
                </c:pt>
                <c:pt idx="125">
                  <c:v>2100</c:v>
                </c:pt>
                <c:pt idx="126">
                  <c:v>2100</c:v>
                </c:pt>
                <c:pt idx="127">
                  <c:v>2100</c:v>
                </c:pt>
                <c:pt idx="128">
                  <c:v>2100</c:v>
                </c:pt>
                <c:pt idx="129">
                  <c:v>2100</c:v>
                </c:pt>
                <c:pt idx="130">
                  <c:v>2100</c:v>
                </c:pt>
                <c:pt idx="131">
                  <c:v>2100</c:v>
                </c:pt>
                <c:pt idx="132">
                  <c:v>2100</c:v>
                </c:pt>
                <c:pt idx="133">
                  <c:v>2100</c:v>
                </c:pt>
                <c:pt idx="134">
                  <c:v>2100</c:v>
                </c:pt>
                <c:pt idx="135">
                  <c:v>2100</c:v>
                </c:pt>
                <c:pt idx="136">
                  <c:v>2100</c:v>
                </c:pt>
                <c:pt idx="137">
                  <c:v>2100</c:v>
                </c:pt>
                <c:pt idx="138">
                  <c:v>2100</c:v>
                </c:pt>
                <c:pt idx="139">
                  <c:v>2100</c:v>
                </c:pt>
                <c:pt idx="140">
                  <c:v>2100</c:v>
                </c:pt>
                <c:pt idx="141">
                  <c:v>2100</c:v>
                </c:pt>
                <c:pt idx="142">
                  <c:v>2100</c:v>
                </c:pt>
                <c:pt idx="143">
                  <c:v>2100</c:v>
                </c:pt>
                <c:pt idx="144">
                  <c:v>2100</c:v>
                </c:pt>
                <c:pt idx="145">
                  <c:v>2100</c:v>
                </c:pt>
                <c:pt idx="146">
                  <c:v>2100</c:v>
                </c:pt>
                <c:pt idx="147">
                  <c:v>2100</c:v>
                </c:pt>
                <c:pt idx="148">
                  <c:v>2100</c:v>
                </c:pt>
                <c:pt idx="149">
                  <c:v>2100</c:v>
                </c:pt>
                <c:pt idx="150">
                  <c:v>2100</c:v>
                </c:pt>
                <c:pt idx="151">
                  <c:v>2100</c:v>
                </c:pt>
                <c:pt idx="152">
                  <c:v>2100</c:v>
                </c:pt>
                <c:pt idx="153">
                  <c:v>2100</c:v>
                </c:pt>
                <c:pt idx="154">
                  <c:v>2100</c:v>
                </c:pt>
                <c:pt idx="155">
                  <c:v>2100</c:v>
                </c:pt>
                <c:pt idx="156">
                  <c:v>2100</c:v>
                </c:pt>
                <c:pt idx="157">
                  <c:v>2100</c:v>
                </c:pt>
                <c:pt idx="158">
                  <c:v>2100</c:v>
                </c:pt>
                <c:pt idx="159">
                  <c:v>2100</c:v>
                </c:pt>
                <c:pt idx="160">
                  <c:v>2100</c:v>
                </c:pt>
                <c:pt idx="161">
                  <c:v>2100</c:v>
                </c:pt>
                <c:pt idx="162">
                  <c:v>2100</c:v>
                </c:pt>
                <c:pt idx="163">
                  <c:v>2100</c:v>
                </c:pt>
                <c:pt idx="164">
                  <c:v>2100</c:v>
                </c:pt>
                <c:pt idx="165">
                  <c:v>2100</c:v>
                </c:pt>
                <c:pt idx="166">
                  <c:v>2100</c:v>
                </c:pt>
                <c:pt idx="167">
                  <c:v>2100</c:v>
                </c:pt>
                <c:pt idx="168">
                  <c:v>2100</c:v>
                </c:pt>
                <c:pt idx="169">
                  <c:v>2100</c:v>
                </c:pt>
                <c:pt idx="170">
                  <c:v>2100</c:v>
                </c:pt>
                <c:pt idx="171">
                  <c:v>2100</c:v>
                </c:pt>
                <c:pt idx="172">
                  <c:v>2100</c:v>
                </c:pt>
                <c:pt idx="173">
                  <c:v>2100</c:v>
                </c:pt>
                <c:pt idx="174">
                  <c:v>2100</c:v>
                </c:pt>
                <c:pt idx="175">
                  <c:v>2100</c:v>
                </c:pt>
                <c:pt idx="176">
                  <c:v>2100</c:v>
                </c:pt>
                <c:pt idx="177">
                  <c:v>2100</c:v>
                </c:pt>
                <c:pt idx="178">
                  <c:v>2100</c:v>
                </c:pt>
                <c:pt idx="179">
                  <c:v>2100</c:v>
                </c:pt>
                <c:pt idx="180">
                  <c:v>2100</c:v>
                </c:pt>
                <c:pt idx="181">
                  <c:v>2100</c:v>
                </c:pt>
                <c:pt idx="182">
                  <c:v>2100</c:v>
                </c:pt>
                <c:pt idx="183">
                  <c:v>2100</c:v>
                </c:pt>
                <c:pt idx="184">
                  <c:v>2100</c:v>
                </c:pt>
                <c:pt idx="185">
                  <c:v>2100</c:v>
                </c:pt>
                <c:pt idx="186">
                  <c:v>2100</c:v>
                </c:pt>
                <c:pt idx="187">
                  <c:v>2100</c:v>
                </c:pt>
                <c:pt idx="188">
                  <c:v>2100</c:v>
                </c:pt>
                <c:pt idx="189">
                  <c:v>2100</c:v>
                </c:pt>
                <c:pt idx="190">
                  <c:v>2100</c:v>
                </c:pt>
                <c:pt idx="191">
                  <c:v>2100</c:v>
                </c:pt>
                <c:pt idx="192">
                  <c:v>2100</c:v>
                </c:pt>
                <c:pt idx="193">
                  <c:v>2100</c:v>
                </c:pt>
                <c:pt idx="194">
                  <c:v>2100</c:v>
                </c:pt>
                <c:pt idx="195">
                  <c:v>2100</c:v>
                </c:pt>
                <c:pt idx="196">
                  <c:v>2100</c:v>
                </c:pt>
                <c:pt idx="197">
                  <c:v>2100</c:v>
                </c:pt>
                <c:pt idx="198">
                  <c:v>2100</c:v>
                </c:pt>
                <c:pt idx="199">
                  <c:v>2100</c:v>
                </c:pt>
                <c:pt idx="200">
                  <c:v>2100</c:v>
                </c:pt>
                <c:pt idx="201">
                  <c:v>2100</c:v>
                </c:pt>
                <c:pt idx="202">
                  <c:v>2100</c:v>
                </c:pt>
                <c:pt idx="203">
                  <c:v>2100</c:v>
                </c:pt>
                <c:pt idx="204">
                  <c:v>2100</c:v>
                </c:pt>
                <c:pt idx="205">
                  <c:v>2100</c:v>
                </c:pt>
                <c:pt idx="206">
                  <c:v>2100</c:v>
                </c:pt>
                <c:pt idx="207">
                  <c:v>2100</c:v>
                </c:pt>
                <c:pt idx="208">
                  <c:v>2100</c:v>
                </c:pt>
                <c:pt idx="209">
                  <c:v>2100</c:v>
                </c:pt>
                <c:pt idx="210">
                  <c:v>2100</c:v>
                </c:pt>
                <c:pt idx="211">
                  <c:v>2050</c:v>
                </c:pt>
                <c:pt idx="212">
                  <c:v>2050</c:v>
                </c:pt>
                <c:pt idx="213">
                  <c:v>2050</c:v>
                </c:pt>
                <c:pt idx="214">
                  <c:v>2050</c:v>
                </c:pt>
                <c:pt idx="215">
                  <c:v>2050</c:v>
                </c:pt>
                <c:pt idx="216">
                  <c:v>2050</c:v>
                </c:pt>
                <c:pt idx="217">
                  <c:v>2050</c:v>
                </c:pt>
                <c:pt idx="218">
                  <c:v>2050</c:v>
                </c:pt>
                <c:pt idx="219">
                  <c:v>2050</c:v>
                </c:pt>
                <c:pt idx="220">
                  <c:v>2050</c:v>
                </c:pt>
                <c:pt idx="221">
                  <c:v>2050</c:v>
                </c:pt>
                <c:pt idx="222">
                  <c:v>2050</c:v>
                </c:pt>
                <c:pt idx="223">
                  <c:v>2050</c:v>
                </c:pt>
                <c:pt idx="224">
                  <c:v>2050</c:v>
                </c:pt>
                <c:pt idx="225">
                  <c:v>2050</c:v>
                </c:pt>
                <c:pt idx="226">
                  <c:v>2050</c:v>
                </c:pt>
                <c:pt idx="227">
                  <c:v>2050</c:v>
                </c:pt>
                <c:pt idx="228">
                  <c:v>2050</c:v>
                </c:pt>
                <c:pt idx="229">
                  <c:v>2050</c:v>
                </c:pt>
                <c:pt idx="230">
                  <c:v>2050</c:v>
                </c:pt>
                <c:pt idx="231">
                  <c:v>2050</c:v>
                </c:pt>
                <c:pt idx="232">
                  <c:v>2050</c:v>
                </c:pt>
                <c:pt idx="233">
                  <c:v>2050</c:v>
                </c:pt>
                <c:pt idx="234">
                  <c:v>2050</c:v>
                </c:pt>
                <c:pt idx="235">
                  <c:v>2050</c:v>
                </c:pt>
                <c:pt idx="236">
                  <c:v>2050</c:v>
                </c:pt>
                <c:pt idx="237">
                  <c:v>2050</c:v>
                </c:pt>
                <c:pt idx="238">
                  <c:v>2050</c:v>
                </c:pt>
                <c:pt idx="239">
                  <c:v>2050</c:v>
                </c:pt>
                <c:pt idx="240">
                  <c:v>2050</c:v>
                </c:pt>
                <c:pt idx="241">
                  <c:v>2050</c:v>
                </c:pt>
                <c:pt idx="242">
                  <c:v>2050</c:v>
                </c:pt>
                <c:pt idx="243">
                  <c:v>2050</c:v>
                </c:pt>
                <c:pt idx="244">
                  <c:v>2050</c:v>
                </c:pt>
                <c:pt idx="245">
                  <c:v>2050</c:v>
                </c:pt>
                <c:pt idx="246">
                  <c:v>2050</c:v>
                </c:pt>
                <c:pt idx="247">
                  <c:v>2050</c:v>
                </c:pt>
                <c:pt idx="248">
                  <c:v>2050</c:v>
                </c:pt>
                <c:pt idx="249">
                  <c:v>2050</c:v>
                </c:pt>
                <c:pt idx="250">
                  <c:v>2050</c:v>
                </c:pt>
                <c:pt idx="251">
                  <c:v>2050</c:v>
                </c:pt>
                <c:pt idx="252">
                  <c:v>2050</c:v>
                </c:pt>
                <c:pt idx="253">
                  <c:v>2050</c:v>
                </c:pt>
                <c:pt idx="254">
                  <c:v>2050</c:v>
                </c:pt>
                <c:pt idx="255">
                  <c:v>2050</c:v>
                </c:pt>
                <c:pt idx="256">
                  <c:v>2050</c:v>
                </c:pt>
                <c:pt idx="257">
                  <c:v>2050</c:v>
                </c:pt>
                <c:pt idx="258">
                  <c:v>2050</c:v>
                </c:pt>
                <c:pt idx="259">
                  <c:v>2050</c:v>
                </c:pt>
                <c:pt idx="260">
                  <c:v>2100</c:v>
                </c:pt>
                <c:pt idx="261">
                  <c:v>2100</c:v>
                </c:pt>
                <c:pt idx="262">
                  <c:v>2100</c:v>
                </c:pt>
                <c:pt idx="263">
                  <c:v>2100</c:v>
                </c:pt>
                <c:pt idx="264">
                  <c:v>2100</c:v>
                </c:pt>
                <c:pt idx="265">
                  <c:v>2100</c:v>
                </c:pt>
                <c:pt idx="266">
                  <c:v>2100</c:v>
                </c:pt>
                <c:pt idx="267">
                  <c:v>2100</c:v>
                </c:pt>
                <c:pt idx="268">
                  <c:v>2100</c:v>
                </c:pt>
                <c:pt idx="269">
                  <c:v>2100</c:v>
                </c:pt>
                <c:pt idx="270">
                  <c:v>2100</c:v>
                </c:pt>
                <c:pt idx="271">
                  <c:v>2100</c:v>
                </c:pt>
                <c:pt idx="272">
                  <c:v>2100</c:v>
                </c:pt>
                <c:pt idx="273">
                  <c:v>2100</c:v>
                </c:pt>
                <c:pt idx="274">
                  <c:v>2100</c:v>
                </c:pt>
                <c:pt idx="275">
                  <c:v>2100</c:v>
                </c:pt>
                <c:pt idx="276">
                  <c:v>2100</c:v>
                </c:pt>
                <c:pt idx="277">
                  <c:v>2100</c:v>
                </c:pt>
                <c:pt idx="278">
                  <c:v>2100</c:v>
                </c:pt>
                <c:pt idx="279">
                  <c:v>2100</c:v>
                </c:pt>
                <c:pt idx="280">
                  <c:v>2100</c:v>
                </c:pt>
                <c:pt idx="281">
                  <c:v>2100</c:v>
                </c:pt>
                <c:pt idx="282">
                  <c:v>2100</c:v>
                </c:pt>
                <c:pt idx="283">
                  <c:v>2100</c:v>
                </c:pt>
                <c:pt idx="284">
                  <c:v>1900</c:v>
                </c:pt>
                <c:pt idx="285">
                  <c:v>1900</c:v>
                </c:pt>
                <c:pt idx="286">
                  <c:v>1900</c:v>
                </c:pt>
                <c:pt idx="287">
                  <c:v>1900</c:v>
                </c:pt>
                <c:pt idx="288">
                  <c:v>1900</c:v>
                </c:pt>
                <c:pt idx="289">
                  <c:v>1900</c:v>
                </c:pt>
                <c:pt idx="290">
                  <c:v>1900</c:v>
                </c:pt>
                <c:pt idx="291">
                  <c:v>1900</c:v>
                </c:pt>
                <c:pt idx="292">
                  <c:v>1900</c:v>
                </c:pt>
                <c:pt idx="293">
                  <c:v>1900</c:v>
                </c:pt>
                <c:pt idx="294">
                  <c:v>1800</c:v>
                </c:pt>
                <c:pt idx="295">
                  <c:v>1800</c:v>
                </c:pt>
                <c:pt idx="296">
                  <c:v>1800</c:v>
                </c:pt>
                <c:pt idx="297">
                  <c:v>1800</c:v>
                </c:pt>
                <c:pt idx="298">
                  <c:v>1800</c:v>
                </c:pt>
                <c:pt idx="299">
                  <c:v>1800</c:v>
                </c:pt>
                <c:pt idx="300">
                  <c:v>1800</c:v>
                </c:pt>
                <c:pt idx="301">
                  <c:v>1800</c:v>
                </c:pt>
                <c:pt idx="302">
                  <c:v>1700</c:v>
                </c:pt>
                <c:pt idx="303">
                  <c:v>1700</c:v>
                </c:pt>
                <c:pt idx="304">
                  <c:v>1700</c:v>
                </c:pt>
                <c:pt idx="305">
                  <c:v>1650</c:v>
                </c:pt>
                <c:pt idx="306">
                  <c:v>1650</c:v>
                </c:pt>
                <c:pt idx="307">
                  <c:v>1650</c:v>
                </c:pt>
                <c:pt idx="308">
                  <c:v>1650</c:v>
                </c:pt>
                <c:pt idx="309">
                  <c:v>1650</c:v>
                </c:pt>
                <c:pt idx="310">
                  <c:v>1650</c:v>
                </c:pt>
                <c:pt idx="311">
                  <c:v>1650</c:v>
                </c:pt>
                <c:pt idx="312">
                  <c:v>1650</c:v>
                </c:pt>
                <c:pt idx="313">
                  <c:v>1650</c:v>
                </c:pt>
                <c:pt idx="314">
                  <c:v>1650</c:v>
                </c:pt>
                <c:pt idx="315">
                  <c:v>1650</c:v>
                </c:pt>
                <c:pt idx="316">
                  <c:v>1650</c:v>
                </c:pt>
                <c:pt idx="317">
                  <c:v>1650</c:v>
                </c:pt>
                <c:pt idx="318">
                  <c:v>1650</c:v>
                </c:pt>
                <c:pt idx="319">
                  <c:v>#N/A</c:v>
                </c:pt>
                <c:pt idx="320">
                  <c:v>#N/A</c:v>
                </c:pt>
                <c:pt idx="321">
                  <c:v>1650</c:v>
                </c:pt>
                <c:pt idx="322">
                  <c:v>1650</c:v>
                </c:pt>
                <c:pt idx="323">
                  <c:v>1650</c:v>
                </c:pt>
                <c:pt idx="324">
                  <c:v>1650</c:v>
                </c:pt>
                <c:pt idx="325">
                  <c:v>1650</c:v>
                </c:pt>
                <c:pt idx="326">
                  <c:v>1650</c:v>
                </c:pt>
                <c:pt idx="327">
                  <c:v>1650</c:v>
                </c:pt>
                <c:pt idx="328">
                  <c:v>1650</c:v>
                </c:pt>
                <c:pt idx="329">
                  <c:v>1650</c:v>
                </c:pt>
                <c:pt idx="330">
                  <c:v>1600</c:v>
                </c:pt>
                <c:pt idx="331">
                  <c:v>1600</c:v>
                </c:pt>
                <c:pt idx="332">
                  <c:v>1600</c:v>
                </c:pt>
                <c:pt idx="333">
                  <c:v>1600</c:v>
                </c:pt>
                <c:pt idx="334">
                  <c:v>1600</c:v>
                </c:pt>
                <c:pt idx="335">
                  <c:v>1600</c:v>
                </c:pt>
                <c:pt idx="336">
                  <c:v>1600</c:v>
                </c:pt>
                <c:pt idx="337">
                  <c:v>1600</c:v>
                </c:pt>
                <c:pt idx="338">
                  <c:v>1600</c:v>
                </c:pt>
                <c:pt idx="339">
                  <c:v>1600</c:v>
                </c:pt>
                <c:pt idx="340">
                  <c:v>1600</c:v>
                </c:pt>
                <c:pt idx="341">
                  <c:v>1600</c:v>
                </c:pt>
                <c:pt idx="342">
                  <c:v>1600</c:v>
                </c:pt>
                <c:pt idx="343">
                  <c:v>1600</c:v>
                </c:pt>
                <c:pt idx="344">
                  <c:v>1600</c:v>
                </c:pt>
                <c:pt idx="345">
                  <c:v>1600</c:v>
                </c:pt>
                <c:pt idx="346">
                  <c:v>1600</c:v>
                </c:pt>
                <c:pt idx="347">
                  <c:v>1600</c:v>
                </c:pt>
                <c:pt idx="348">
                  <c:v>1600</c:v>
                </c:pt>
                <c:pt idx="349">
                  <c:v>1600</c:v>
                </c:pt>
                <c:pt idx="350">
                  <c:v>1600</c:v>
                </c:pt>
                <c:pt idx="351">
                  <c:v>1600</c:v>
                </c:pt>
                <c:pt idx="352">
                  <c:v>1600</c:v>
                </c:pt>
                <c:pt idx="353">
                  <c:v>1600</c:v>
                </c:pt>
                <c:pt idx="354">
                  <c:v>1600</c:v>
                </c:pt>
                <c:pt idx="355">
                  <c:v>1600</c:v>
                </c:pt>
                <c:pt idx="356">
                  <c:v>1600</c:v>
                </c:pt>
                <c:pt idx="357">
                  <c:v>1600</c:v>
                </c:pt>
                <c:pt idx="358">
                  <c:v>1600</c:v>
                </c:pt>
                <c:pt idx="359">
                  <c:v>1600</c:v>
                </c:pt>
                <c:pt idx="360">
                  <c:v>1600</c:v>
                </c:pt>
                <c:pt idx="361">
                  <c:v>1600</c:v>
                </c:pt>
                <c:pt idx="362">
                  <c:v>1600</c:v>
                </c:pt>
                <c:pt idx="363">
                  <c:v>1600</c:v>
                </c:pt>
                <c:pt idx="364">
                  <c:v>1600</c:v>
                </c:pt>
                <c:pt idx="365">
                  <c:v>1600</c:v>
                </c:pt>
                <c:pt idx="366">
                  <c:v>1600</c:v>
                </c:pt>
                <c:pt idx="367">
                  <c:v>1600</c:v>
                </c:pt>
                <c:pt idx="368">
                  <c:v>1600</c:v>
                </c:pt>
                <c:pt idx="369">
                  <c:v>1600</c:v>
                </c:pt>
                <c:pt idx="370">
                  <c:v>1600</c:v>
                </c:pt>
                <c:pt idx="371">
                  <c:v>1600</c:v>
                </c:pt>
                <c:pt idx="372">
                  <c:v>1600</c:v>
                </c:pt>
                <c:pt idx="373">
                  <c:v>1600</c:v>
                </c:pt>
                <c:pt idx="374">
                  <c:v>1600</c:v>
                </c:pt>
                <c:pt idx="375">
                  <c:v>1600</c:v>
                </c:pt>
                <c:pt idx="376">
                  <c:v>1600</c:v>
                </c:pt>
                <c:pt idx="377">
                  <c:v>1600</c:v>
                </c:pt>
                <c:pt idx="378">
                  <c:v>1600</c:v>
                </c:pt>
                <c:pt idx="379">
                  <c:v>1600</c:v>
                </c:pt>
                <c:pt idx="380">
                  <c:v>1600</c:v>
                </c:pt>
                <c:pt idx="381">
                  <c:v>1600</c:v>
                </c:pt>
                <c:pt idx="382">
                  <c:v>1600</c:v>
                </c:pt>
                <c:pt idx="383">
                  <c:v>1600</c:v>
                </c:pt>
                <c:pt idx="384">
                  <c:v>1600</c:v>
                </c:pt>
                <c:pt idx="385">
                  <c:v>1600</c:v>
                </c:pt>
                <c:pt idx="386">
                  <c:v>1700</c:v>
                </c:pt>
                <c:pt idx="387">
                  <c:v>1700</c:v>
                </c:pt>
                <c:pt idx="388">
                  <c:v>1700</c:v>
                </c:pt>
                <c:pt idx="389">
                  <c:v>1700</c:v>
                </c:pt>
                <c:pt idx="390">
                  <c:v>1700</c:v>
                </c:pt>
                <c:pt idx="391">
                  <c:v>1700</c:v>
                </c:pt>
                <c:pt idx="392">
                  <c:v>1700</c:v>
                </c:pt>
                <c:pt idx="393">
                  <c:v>1700</c:v>
                </c:pt>
                <c:pt idx="394">
                  <c:v>1700</c:v>
                </c:pt>
                <c:pt idx="395">
                  <c:v>1700</c:v>
                </c:pt>
                <c:pt idx="396">
                  <c:v>1850</c:v>
                </c:pt>
                <c:pt idx="397">
                  <c:v>1850</c:v>
                </c:pt>
                <c:pt idx="398">
                  <c:v>1850</c:v>
                </c:pt>
                <c:pt idx="399">
                  <c:v>1850</c:v>
                </c:pt>
                <c:pt idx="400">
                  <c:v>1850</c:v>
                </c:pt>
                <c:pt idx="401">
                  <c:v>1850</c:v>
                </c:pt>
                <c:pt idx="402">
                  <c:v>1850</c:v>
                </c:pt>
                <c:pt idx="403">
                  <c:v>1850</c:v>
                </c:pt>
                <c:pt idx="404">
                  <c:v>1850</c:v>
                </c:pt>
                <c:pt idx="405">
                  <c:v>1850</c:v>
                </c:pt>
                <c:pt idx="406">
                  <c:v>1850</c:v>
                </c:pt>
                <c:pt idx="407">
                  <c:v>1850</c:v>
                </c:pt>
                <c:pt idx="408">
                  <c:v>1850</c:v>
                </c:pt>
                <c:pt idx="409">
                  <c:v>1850</c:v>
                </c:pt>
                <c:pt idx="410">
                  <c:v>1850</c:v>
                </c:pt>
                <c:pt idx="411">
                  <c:v>1850</c:v>
                </c:pt>
                <c:pt idx="412">
                  <c:v>1850</c:v>
                </c:pt>
                <c:pt idx="413">
                  <c:v>1850</c:v>
                </c:pt>
                <c:pt idx="414">
                  <c:v>1950</c:v>
                </c:pt>
                <c:pt idx="415">
                  <c:v>1950</c:v>
                </c:pt>
                <c:pt idx="416">
                  <c:v>1950</c:v>
                </c:pt>
                <c:pt idx="417">
                  <c:v>1950</c:v>
                </c:pt>
                <c:pt idx="418">
                  <c:v>1950</c:v>
                </c:pt>
                <c:pt idx="419">
                  <c:v>1950</c:v>
                </c:pt>
                <c:pt idx="420">
                  <c:v>1950</c:v>
                </c:pt>
                <c:pt idx="421">
                  <c:v>1950</c:v>
                </c:pt>
                <c:pt idx="422">
                  <c:v>1950</c:v>
                </c:pt>
                <c:pt idx="423">
                  <c:v>1950</c:v>
                </c:pt>
                <c:pt idx="424">
                  <c:v>1950</c:v>
                </c:pt>
                <c:pt idx="425">
                  <c:v>1950</c:v>
                </c:pt>
                <c:pt idx="426">
                  <c:v>1950</c:v>
                </c:pt>
                <c:pt idx="427">
                  <c:v>1950</c:v>
                </c:pt>
                <c:pt idx="428">
                  <c:v>1950</c:v>
                </c:pt>
                <c:pt idx="429">
                  <c:v>1950</c:v>
                </c:pt>
                <c:pt idx="430">
                  <c:v>1950</c:v>
                </c:pt>
                <c:pt idx="431">
                  <c:v>1950</c:v>
                </c:pt>
                <c:pt idx="432">
                  <c:v>1950</c:v>
                </c:pt>
                <c:pt idx="433">
                  <c:v>1950</c:v>
                </c:pt>
                <c:pt idx="434">
                  <c:v>1950</c:v>
                </c:pt>
                <c:pt idx="435">
                  <c:v>1950</c:v>
                </c:pt>
                <c:pt idx="436">
                  <c:v>1950</c:v>
                </c:pt>
                <c:pt idx="437">
                  <c:v>1950</c:v>
                </c:pt>
                <c:pt idx="438">
                  <c:v>1950</c:v>
                </c:pt>
                <c:pt idx="439">
                  <c:v>1950</c:v>
                </c:pt>
                <c:pt idx="440">
                  <c:v>1950</c:v>
                </c:pt>
                <c:pt idx="441">
                  <c:v>1950</c:v>
                </c:pt>
                <c:pt idx="442">
                  <c:v>1950</c:v>
                </c:pt>
                <c:pt idx="443">
                  <c:v>2150</c:v>
                </c:pt>
                <c:pt idx="444">
                  <c:v>2150</c:v>
                </c:pt>
                <c:pt idx="445">
                  <c:v>2150</c:v>
                </c:pt>
                <c:pt idx="446">
                  <c:v>2150</c:v>
                </c:pt>
                <c:pt idx="447">
                  <c:v>2150</c:v>
                </c:pt>
                <c:pt idx="448">
                  <c:v>2150</c:v>
                </c:pt>
                <c:pt idx="449">
                  <c:v>2150</c:v>
                </c:pt>
                <c:pt idx="450">
                  <c:v>2150</c:v>
                </c:pt>
                <c:pt idx="451">
                  <c:v>2150</c:v>
                </c:pt>
                <c:pt idx="452">
                  <c:v>2150</c:v>
                </c:pt>
                <c:pt idx="453">
                  <c:v>2150</c:v>
                </c:pt>
                <c:pt idx="454">
                  <c:v>2150</c:v>
                </c:pt>
                <c:pt idx="455">
                  <c:v>2150</c:v>
                </c:pt>
                <c:pt idx="456">
                  <c:v>2150</c:v>
                </c:pt>
                <c:pt idx="457">
                  <c:v>2150</c:v>
                </c:pt>
                <c:pt idx="458">
                  <c:v>2150</c:v>
                </c:pt>
                <c:pt idx="459">
                  <c:v>2150</c:v>
                </c:pt>
                <c:pt idx="460">
                  <c:v>2150</c:v>
                </c:pt>
                <c:pt idx="461">
                  <c:v>2150</c:v>
                </c:pt>
                <c:pt idx="462">
                  <c:v>2150</c:v>
                </c:pt>
                <c:pt idx="463">
                  <c:v>2150</c:v>
                </c:pt>
                <c:pt idx="464">
                  <c:v>2150</c:v>
                </c:pt>
                <c:pt idx="465">
                  <c:v>2150</c:v>
                </c:pt>
                <c:pt idx="466">
                  <c:v>2150</c:v>
                </c:pt>
                <c:pt idx="467">
                  <c:v>2150</c:v>
                </c:pt>
                <c:pt idx="468">
                  <c:v>2150</c:v>
                </c:pt>
                <c:pt idx="469">
                  <c:v>2150</c:v>
                </c:pt>
                <c:pt idx="470">
                  <c:v>2150</c:v>
                </c:pt>
                <c:pt idx="471">
                  <c:v>2150</c:v>
                </c:pt>
                <c:pt idx="472">
                  <c:v>2150</c:v>
                </c:pt>
                <c:pt idx="473">
                  <c:v>2150</c:v>
                </c:pt>
                <c:pt idx="474">
                  <c:v>2150</c:v>
                </c:pt>
                <c:pt idx="475">
                  <c:v>2150</c:v>
                </c:pt>
                <c:pt idx="476">
                  <c:v>2150</c:v>
                </c:pt>
                <c:pt idx="477">
                  <c:v>2150</c:v>
                </c:pt>
                <c:pt idx="478">
                  <c:v>2150</c:v>
                </c:pt>
                <c:pt idx="479">
                  <c:v>2150</c:v>
                </c:pt>
                <c:pt idx="480">
                  <c:v>2150</c:v>
                </c:pt>
                <c:pt idx="481">
                  <c:v>2150</c:v>
                </c:pt>
                <c:pt idx="482">
                  <c:v>2150</c:v>
                </c:pt>
                <c:pt idx="483">
                  <c:v>2150</c:v>
                </c:pt>
                <c:pt idx="484">
                  <c:v>2150</c:v>
                </c:pt>
                <c:pt idx="485">
                  <c:v>2150</c:v>
                </c:pt>
                <c:pt idx="486">
                  <c:v>2150</c:v>
                </c:pt>
                <c:pt idx="487">
                  <c:v>2150</c:v>
                </c:pt>
                <c:pt idx="488">
                  <c:v>2150</c:v>
                </c:pt>
                <c:pt idx="489">
                  <c:v>2150</c:v>
                </c:pt>
                <c:pt idx="490">
                  <c:v>2150</c:v>
                </c:pt>
                <c:pt idx="491">
                  <c:v>2150</c:v>
                </c:pt>
                <c:pt idx="492">
                  <c:v>2150</c:v>
                </c:pt>
                <c:pt idx="493">
                  <c:v>2150</c:v>
                </c:pt>
                <c:pt idx="494">
                  <c:v>2150</c:v>
                </c:pt>
                <c:pt idx="495">
                  <c:v>2150</c:v>
                </c:pt>
                <c:pt idx="496">
                  <c:v>2150</c:v>
                </c:pt>
                <c:pt idx="497">
                  <c:v>2150</c:v>
                </c:pt>
                <c:pt idx="498">
                  <c:v>2150</c:v>
                </c:pt>
                <c:pt idx="499">
                  <c:v>2150</c:v>
                </c:pt>
                <c:pt idx="500">
                  <c:v>2150</c:v>
                </c:pt>
                <c:pt idx="501">
                  <c:v>2150</c:v>
                </c:pt>
                <c:pt idx="502">
                  <c:v>2150</c:v>
                </c:pt>
                <c:pt idx="503">
                  <c:v>2150</c:v>
                </c:pt>
                <c:pt idx="504">
                  <c:v>2150</c:v>
                </c:pt>
                <c:pt idx="505">
                  <c:v>2150</c:v>
                </c:pt>
                <c:pt idx="506">
                  <c:v>2150</c:v>
                </c:pt>
                <c:pt idx="507">
                  <c:v>2150</c:v>
                </c:pt>
                <c:pt idx="508">
                  <c:v>2150</c:v>
                </c:pt>
                <c:pt idx="509">
                  <c:v>2150</c:v>
                </c:pt>
                <c:pt idx="510">
                  <c:v>2150</c:v>
                </c:pt>
                <c:pt idx="511">
                  <c:v>2150</c:v>
                </c:pt>
                <c:pt idx="512">
                  <c:v>2150</c:v>
                </c:pt>
                <c:pt idx="513">
                  <c:v>2150</c:v>
                </c:pt>
                <c:pt idx="514">
                  <c:v>2150</c:v>
                </c:pt>
                <c:pt idx="515">
                  <c:v>2150</c:v>
                </c:pt>
                <c:pt idx="516">
                  <c:v>2150</c:v>
                </c:pt>
                <c:pt idx="517">
                  <c:v>2150</c:v>
                </c:pt>
                <c:pt idx="518">
                  <c:v>2150</c:v>
                </c:pt>
                <c:pt idx="519">
                  <c:v>2150</c:v>
                </c:pt>
                <c:pt idx="520">
                  <c:v>2150</c:v>
                </c:pt>
                <c:pt idx="521">
                  <c:v>2150</c:v>
                </c:pt>
                <c:pt idx="522">
                  <c:v>2150</c:v>
                </c:pt>
                <c:pt idx="523">
                  <c:v>2150</c:v>
                </c:pt>
                <c:pt idx="524">
                  <c:v>2150</c:v>
                </c:pt>
                <c:pt idx="525">
                  <c:v>2150</c:v>
                </c:pt>
                <c:pt idx="526">
                  <c:v>2150</c:v>
                </c:pt>
                <c:pt idx="527">
                  <c:v>2150</c:v>
                </c:pt>
                <c:pt idx="528">
                  <c:v>2150</c:v>
                </c:pt>
                <c:pt idx="529">
                  <c:v>2150</c:v>
                </c:pt>
                <c:pt idx="530">
                  <c:v>2150</c:v>
                </c:pt>
                <c:pt idx="531">
                  <c:v>2150</c:v>
                </c:pt>
                <c:pt idx="532">
                  <c:v>2150</c:v>
                </c:pt>
                <c:pt idx="533">
                  <c:v>2150</c:v>
                </c:pt>
                <c:pt idx="534">
                  <c:v>2150</c:v>
                </c:pt>
                <c:pt idx="535">
                  <c:v>2150</c:v>
                </c:pt>
                <c:pt idx="536">
                  <c:v>2150</c:v>
                </c:pt>
                <c:pt idx="537">
                  <c:v>2150</c:v>
                </c:pt>
                <c:pt idx="538">
                  <c:v>2150</c:v>
                </c:pt>
                <c:pt idx="539">
                  <c:v>2150</c:v>
                </c:pt>
                <c:pt idx="540">
                  <c:v>2150</c:v>
                </c:pt>
                <c:pt idx="541">
                  <c:v>2200</c:v>
                </c:pt>
                <c:pt idx="542">
                  <c:v>2200</c:v>
                </c:pt>
                <c:pt idx="543">
                  <c:v>2200</c:v>
                </c:pt>
                <c:pt idx="544">
                  <c:v>2200</c:v>
                </c:pt>
                <c:pt idx="545">
                  <c:v>2200</c:v>
                </c:pt>
                <c:pt idx="546">
                  <c:v>2200</c:v>
                </c:pt>
                <c:pt idx="547">
                  <c:v>2200</c:v>
                </c:pt>
                <c:pt idx="548">
                  <c:v>2200</c:v>
                </c:pt>
                <c:pt idx="549">
                  <c:v>2200</c:v>
                </c:pt>
                <c:pt idx="550">
                  <c:v>2200</c:v>
                </c:pt>
                <c:pt idx="551">
                  <c:v>2200</c:v>
                </c:pt>
                <c:pt idx="552">
                  <c:v>2200</c:v>
                </c:pt>
                <c:pt idx="553">
                  <c:v>2200</c:v>
                </c:pt>
                <c:pt idx="554">
                  <c:v>2200</c:v>
                </c:pt>
                <c:pt idx="555">
                  <c:v>2200</c:v>
                </c:pt>
                <c:pt idx="556">
                  <c:v>2200</c:v>
                </c:pt>
                <c:pt idx="557">
                  <c:v>2200</c:v>
                </c:pt>
                <c:pt idx="558">
                  <c:v>2200</c:v>
                </c:pt>
                <c:pt idx="559">
                  <c:v>2200</c:v>
                </c:pt>
                <c:pt idx="560">
                  <c:v>2200</c:v>
                </c:pt>
                <c:pt idx="561">
                  <c:v>2200</c:v>
                </c:pt>
                <c:pt idx="562">
                  <c:v>2200</c:v>
                </c:pt>
                <c:pt idx="563">
                  <c:v>2200</c:v>
                </c:pt>
                <c:pt idx="564">
                  <c:v>2200</c:v>
                </c:pt>
                <c:pt idx="565">
                  <c:v>2200</c:v>
                </c:pt>
                <c:pt idx="566">
                  <c:v>2200</c:v>
                </c:pt>
                <c:pt idx="567">
                  <c:v>2200</c:v>
                </c:pt>
                <c:pt idx="568">
                  <c:v>2200</c:v>
                </c:pt>
                <c:pt idx="569">
                  <c:v>2200</c:v>
                </c:pt>
                <c:pt idx="570">
                  <c:v>2200</c:v>
                </c:pt>
                <c:pt idx="571">
                  <c:v>2200</c:v>
                </c:pt>
                <c:pt idx="572">
                  <c:v>2200</c:v>
                </c:pt>
                <c:pt idx="573">
                  <c:v>2200</c:v>
                </c:pt>
                <c:pt idx="574">
                  <c:v>2200</c:v>
                </c:pt>
                <c:pt idx="575">
                  <c:v>2200</c:v>
                </c:pt>
                <c:pt idx="576">
                  <c:v>2200</c:v>
                </c:pt>
                <c:pt idx="577">
                  <c:v>2200</c:v>
                </c:pt>
                <c:pt idx="578">
                  <c:v>2200</c:v>
                </c:pt>
                <c:pt idx="579">
                  <c:v>2200</c:v>
                </c:pt>
                <c:pt idx="580">
                  <c:v>2200</c:v>
                </c:pt>
                <c:pt idx="581">
                  <c:v>2200</c:v>
                </c:pt>
                <c:pt idx="582">
                  <c:v>2200</c:v>
                </c:pt>
                <c:pt idx="583">
                  <c:v>2200</c:v>
                </c:pt>
                <c:pt idx="584">
                  <c:v>2200</c:v>
                </c:pt>
                <c:pt idx="585">
                  <c:v>2200</c:v>
                </c:pt>
                <c:pt idx="586">
                  <c:v>2200</c:v>
                </c:pt>
                <c:pt idx="587">
                  <c:v>2200</c:v>
                </c:pt>
                <c:pt idx="588">
                  <c:v>2200</c:v>
                </c:pt>
                <c:pt idx="589">
                  <c:v>2200</c:v>
                </c:pt>
                <c:pt idx="590">
                  <c:v>2200</c:v>
                </c:pt>
                <c:pt idx="591">
                  <c:v>2200</c:v>
                </c:pt>
                <c:pt idx="592">
                  <c:v>2200</c:v>
                </c:pt>
                <c:pt idx="593">
                  <c:v>2200</c:v>
                </c:pt>
                <c:pt idx="594">
                  <c:v>2200</c:v>
                </c:pt>
                <c:pt idx="595">
                  <c:v>2200</c:v>
                </c:pt>
                <c:pt idx="596">
                  <c:v>2200</c:v>
                </c:pt>
                <c:pt idx="597">
                  <c:v>2200</c:v>
                </c:pt>
                <c:pt idx="598">
                  <c:v>2200</c:v>
                </c:pt>
                <c:pt idx="599">
                  <c:v>2200</c:v>
                </c:pt>
                <c:pt idx="600">
                  <c:v>2200</c:v>
                </c:pt>
                <c:pt idx="601">
                  <c:v>2200</c:v>
                </c:pt>
                <c:pt idx="602">
                  <c:v>2200</c:v>
                </c:pt>
                <c:pt idx="603">
                  <c:v>2200</c:v>
                </c:pt>
                <c:pt idx="604">
                  <c:v>2200</c:v>
                </c:pt>
                <c:pt idx="605">
                  <c:v>2200</c:v>
                </c:pt>
                <c:pt idx="606">
                  <c:v>2200</c:v>
                </c:pt>
                <c:pt idx="607">
                  <c:v>2200</c:v>
                </c:pt>
                <c:pt idx="608">
                  <c:v>2200</c:v>
                </c:pt>
                <c:pt idx="609">
                  <c:v>2200</c:v>
                </c:pt>
                <c:pt idx="610">
                  <c:v>2200</c:v>
                </c:pt>
                <c:pt idx="611">
                  <c:v>2120</c:v>
                </c:pt>
                <c:pt idx="612">
                  <c:v>2120</c:v>
                </c:pt>
                <c:pt idx="613">
                  <c:v>2120</c:v>
                </c:pt>
                <c:pt idx="614">
                  <c:v>2120</c:v>
                </c:pt>
                <c:pt idx="615">
                  <c:v>2120</c:v>
                </c:pt>
                <c:pt idx="616">
                  <c:v>2120</c:v>
                </c:pt>
                <c:pt idx="617">
                  <c:v>2120</c:v>
                </c:pt>
                <c:pt idx="618">
                  <c:v>2120</c:v>
                </c:pt>
                <c:pt idx="619">
                  <c:v>2120</c:v>
                </c:pt>
                <c:pt idx="620">
                  <c:v>2120</c:v>
                </c:pt>
                <c:pt idx="621">
                  <c:v>2120</c:v>
                </c:pt>
                <c:pt idx="622">
                  <c:v>2120</c:v>
                </c:pt>
                <c:pt idx="623">
                  <c:v>2120</c:v>
                </c:pt>
                <c:pt idx="624">
                  <c:v>2120</c:v>
                </c:pt>
                <c:pt idx="625">
                  <c:v>2120</c:v>
                </c:pt>
                <c:pt idx="626">
                  <c:v>2120</c:v>
                </c:pt>
                <c:pt idx="627">
                  <c:v>2120</c:v>
                </c:pt>
                <c:pt idx="628">
                  <c:v>2120</c:v>
                </c:pt>
                <c:pt idx="629">
                  <c:v>2120</c:v>
                </c:pt>
                <c:pt idx="630">
                  <c:v>2120</c:v>
                </c:pt>
                <c:pt idx="631">
                  <c:v>2120</c:v>
                </c:pt>
                <c:pt idx="632">
                  <c:v>2120</c:v>
                </c:pt>
                <c:pt idx="633">
                  <c:v>2120</c:v>
                </c:pt>
                <c:pt idx="634">
                  <c:v>2120</c:v>
                </c:pt>
                <c:pt idx="635">
                  <c:v>2120</c:v>
                </c:pt>
                <c:pt idx="636">
                  <c:v>2120</c:v>
                </c:pt>
                <c:pt idx="637">
                  <c:v>2120</c:v>
                </c:pt>
                <c:pt idx="638">
                  <c:v>2120</c:v>
                </c:pt>
                <c:pt idx="639">
                  <c:v>2120</c:v>
                </c:pt>
                <c:pt idx="640">
                  <c:v>2120</c:v>
                </c:pt>
                <c:pt idx="641">
                  <c:v>2120</c:v>
                </c:pt>
                <c:pt idx="642">
                  <c:v>2120</c:v>
                </c:pt>
                <c:pt idx="643">
                  <c:v>2120</c:v>
                </c:pt>
                <c:pt idx="644">
                  <c:v>2080</c:v>
                </c:pt>
                <c:pt idx="645">
                  <c:v>1630</c:v>
                </c:pt>
                <c:pt idx="646">
                  <c:v>1630</c:v>
                </c:pt>
                <c:pt idx="647">
                  <c:v>1630</c:v>
                </c:pt>
                <c:pt idx="648">
                  <c:v>1630</c:v>
                </c:pt>
                <c:pt idx="649">
                  <c:v>1630</c:v>
                </c:pt>
                <c:pt idx="650">
                  <c:v>1630</c:v>
                </c:pt>
                <c:pt idx="651">
                  <c:v>1630</c:v>
                </c:pt>
                <c:pt idx="652">
                  <c:v>1630</c:v>
                </c:pt>
                <c:pt idx="653">
                  <c:v>1630</c:v>
                </c:pt>
                <c:pt idx="654">
                  <c:v>1630</c:v>
                </c:pt>
                <c:pt idx="655">
                  <c:v>1630</c:v>
                </c:pt>
                <c:pt idx="656">
                  <c:v>1630</c:v>
                </c:pt>
                <c:pt idx="657">
                  <c:v>1630</c:v>
                </c:pt>
                <c:pt idx="658">
                  <c:v>1630</c:v>
                </c:pt>
                <c:pt idx="659">
                  <c:v>1630</c:v>
                </c:pt>
                <c:pt idx="660">
                  <c:v>1630</c:v>
                </c:pt>
                <c:pt idx="661">
                  <c:v>1630</c:v>
                </c:pt>
                <c:pt idx="662">
                  <c:v>1630</c:v>
                </c:pt>
                <c:pt idx="663">
                  <c:v>1630</c:v>
                </c:pt>
                <c:pt idx="664">
                  <c:v>1630</c:v>
                </c:pt>
                <c:pt idx="665">
                  <c:v>1630</c:v>
                </c:pt>
                <c:pt idx="666">
                  <c:v>1600</c:v>
                </c:pt>
                <c:pt idx="667">
                  <c:v>1600</c:v>
                </c:pt>
                <c:pt idx="668">
                  <c:v>1600</c:v>
                </c:pt>
                <c:pt idx="669">
                  <c:v>1600</c:v>
                </c:pt>
                <c:pt idx="670">
                  <c:v>1600</c:v>
                </c:pt>
                <c:pt idx="671">
                  <c:v>1600</c:v>
                </c:pt>
                <c:pt idx="672">
                  <c:v>1600</c:v>
                </c:pt>
                <c:pt idx="673">
                  <c:v>1600</c:v>
                </c:pt>
                <c:pt idx="674">
                  <c:v>1600</c:v>
                </c:pt>
                <c:pt idx="675">
                  <c:v>1600</c:v>
                </c:pt>
                <c:pt idx="676">
                  <c:v>1600</c:v>
                </c:pt>
                <c:pt idx="677">
                  <c:v>1600</c:v>
                </c:pt>
                <c:pt idx="678">
                  <c:v>1600</c:v>
                </c:pt>
                <c:pt idx="679">
                  <c:v>1600</c:v>
                </c:pt>
                <c:pt idx="680">
                  <c:v>1600</c:v>
                </c:pt>
                <c:pt idx="681">
                  <c:v>1600</c:v>
                </c:pt>
                <c:pt idx="682">
                  <c:v>1600</c:v>
                </c:pt>
                <c:pt idx="683">
                  <c:v>1600</c:v>
                </c:pt>
                <c:pt idx="684">
                  <c:v>1600</c:v>
                </c:pt>
                <c:pt idx="685">
                  <c:v>1600</c:v>
                </c:pt>
                <c:pt idx="686">
                  <c:v>1600</c:v>
                </c:pt>
                <c:pt idx="687">
                  <c:v>1600</c:v>
                </c:pt>
                <c:pt idx="688">
                  <c:v>1600</c:v>
                </c:pt>
                <c:pt idx="689">
                  <c:v>1600</c:v>
                </c:pt>
                <c:pt idx="690">
                  <c:v>1600</c:v>
                </c:pt>
                <c:pt idx="691">
                  <c:v>1600</c:v>
                </c:pt>
                <c:pt idx="692">
                  <c:v>1600</c:v>
                </c:pt>
                <c:pt idx="693">
                  <c:v>1600</c:v>
                </c:pt>
                <c:pt idx="694">
                  <c:v>1600</c:v>
                </c:pt>
                <c:pt idx="695">
                  <c:v>1600</c:v>
                </c:pt>
                <c:pt idx="696">
                  <c:v>1600</c:v>
                </c:pt>
                <c:pt idx="697">
                  <c:v>1600</c:v>
                </c:pt>
                <c:pt idx="698">
                  <c:v>1600</c:v>
                </c:pt>
                <c:pt idx="699">
                  <c:v>1600</c:v>
                </c:pt>
                <c:pt idx="700">
                  <c:v>1600</c:v>
                </c:pt>
                <c:pt idx="701">
                  <c:v>1600</c:v>
                </c:pt>
                <c:pt idx="702">
                  <c:v>1600</c:v>
                </c:pt>
                <c:pt idx="703">
                  <c:v>1600</c:v>
                </c:pt>
                <c:pt idx="704">
                  <c:v>1600</c:v>
                </c:pt>
                <c:pt idx="705">
                  <c:v>1600</c:v>
                </c:pt>
                <c:pt idx="706">
                  <c:v>1600</c:v>
                </c:pt>
                <c:pt idx="707">
                  <c:v>1600</c:v>
                </c:pt>
                <c:pt idx="708">
                  <c:v>1600</c:v>
                </c:pt>
                <c:pt idx="709">
                  <c:v>1600</c:v>
                </c:pt>
                <c:pt idx="710">
                  <c:v>1600</c:v>
                </c:pt>
                <c:pt idx="711">
                  <c:v>1730</c:v>
                </c:pt>
                <c:pt idx="712">
                  <c:v>1730</c:v>
                </c:pt>
                <c:pt idx="713">
                  <c:v>1730</c:v>
                </c:pt>
                <c:pt idx="714">
                  <c:v>1730</c:v>
                </c:pt>
                <c:pt idx="715">
                  <c:v>1730</c:v>
                </c:pt>
                <c:pt idx="716">
                  <c:v>1730</c:v>
                </c:pt>
                <c:pt idx="717">
                  <c:v>1730</c:v>
                </c:pt>
                <c:pt idx="718">
                  <c:v>1730</c:v>
                </c:pt>
                <c:pt idx="719">
                  <c:v>1730</c:v>
                </c:pt>
                <c:pt idx="720">
                  <c:v>1730</c:v>
                </c:pt>
                <c:pt idx="721">
                  <c:v>1830</c:v>
                </c:pt>
                <c:pt idx="722">
                  <c:v>1830</c:v>
                </c:pt>
                <c:pt idx="723">
                  <c:v>1830</c:v>
                </c:pt>
                <c:pt idx="724">
                  <c:v>1830</c:v>
                </c:pt>
                <c:pt idx="725">
                  <c:v>1830</c:v>
                </c:pt>
                <c:pt idx="726">
                  <c:v>1830</c:v>
                </c:pt>
                <c:pt idx="727">
                  <c:v>1830</c:v>
                </c:pt>
                <c:pt idx="728">
                  <c:v>1830</c:v>
                </c:pt>
                <c:pt idx="729">
                  <c:v>1830</c:v>
                </c:pt>
                <c:pt idx="730">
                  <c:v>1830</c:v>
                </c:pt>
                <c:pt idx="731">
                  <c:v>1830</c:v>
                </c:pt>
                <c:pt idx="732">
                  <c:v>1830</c:v>
                </c:pt>
                <c:pt idx="733">
                  <c:v>1830</c:v>
                </c:pt>
                <c:pt idx="734">
                  <c:v>1830</c:v>
                </c:pt>
                <c:pt idx="735">
                  <c:v>1830</c:v>
                </c:pt>
                <c:pt idx="736">
                  <c:v>1830</c:v>
                </c:pt>
                <c:pt idx="737">
                  <c:v>1830</c:v>
                </c:pt>
                <c:pt idx="738">
                  <c:v>1830</c:v>
                </c:pt>
                <c:pt idx="739">
                  <c:v>1830</c:v>
                </c:pt>
                <c:pt idx="740">
                  <c:v>1830</c:v>
                </c:pt>
                <c:pt idx="741">
                  <c:v>1830</c:v>
                </c:pt>
                <c:pt idx="742">
                  <c:v>1830</c:v>
                </c:pt>
                <c:pt idx="743">
                  <c:v>1830</c:v>
                </c:pt>
                <c:pt idx="744">
                  <c:v>1830</c:v>
                </c:pt>
                <c:pt idx="745">
                  <c:v>1830</c:v>
                </c:pt>
                <c:pt idx="746">
                  <c:v>1600</c:v>
                </c:pt>
                <c:pt idx="747">
                  <c:v>1600</c:v>
                </c:pt>
              </c:numCache>
            </c:numRef>
          </c:val>
          <c:smooth val="0"/>
          <c:extLst>
            <c:ext xmlns:c16="http://schemas.microsoft.com/office/drawing/2014/chart" uri="{C3380CC4-5D6E-409C-BE32-E72D297353CC}">
              <c16:uniqueId val="{00000001-15E9-49B2-BDB8-F7BEB4306C59}"/>
            </c:ext>
          </c:extLst>
        </c:ser>
        <c:ser>
          <c:idx val="2"/>
          <c:order val="2"/>
          <c:tx>
            <c:strRef>
              <c:f>硅煤价格图表!$AF$2</c:f>
              <c:strCache>
                <c:ptCount val="1"/>
                <c:pt idx="0">
                  <c:v>陕西</c:v>
                </c:pt>
              </c:strCache>
            </c:strRef>
          </c:tx>
          <c:spPr>
            <a:ln w="28575" cap="rnd">
              <a:solidFill>
                <a:schemeClr val="bg1">
                  <a:lumMod val="50000"/>
                </a:schemeClr>
              </a:solidFill>
              <a:round/>
            </a:ln>
            <a:effectLst/>
          </c:spPr>
          <c:marker>
            <c:symbol val="none"/>
          </c:marker>
          <c:cat>
            <c:numRef>
              <c:f>硅煤价格图表!$AC$3:$AC$978</c:f>
              <c:numCache>
                <c:formatCode>yyyy\-mm\-dd</c:formatCode>
                <c:ptCount val="976"/>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pt idx="738">
                  <c:v>44739</c:v>
                </c:pt>
                <c:pt idx="739">
                  <c:v>44738</c:v>
                </c:pt>
                <c:pt idx="740">
                  <c:v>44737</c:v>
                </c:pt>
                <c:pt idx="741">
                  <c:v>44736</c:v>
                </c:pt>
                <c:pt idx="742">
                  <c:v>44735</c:v>
                </c:pt>
                <c:pt idx="743">
                  <c:v>44734</c:v>
                </c:pt>
                <c:pt idx="744">
                  <c:v>44733</c:v>
                </c:pt>
                <c:pt idx="745">
                  <c:v>44732</c:v>
                </c:pt>
                <c:pt idx="746">
                  <c:v>44731</c:v>
                </c:pt>
                <c:pt idx="747">
                  <c:v>44730</c:v>
                </c:pt>
              </c:numCache>
            </c:numRef>
          </c:cat>
          <c:val>
            <c:numRef>
              <c:f>硅煤价格图表!$AF$3:$AF$978</c:f>
              <c:numCache>
                <c:formatCode>General</c:formatCode>
                <c:ptCount val="976"/>
                <c:pt idx="0">
                  <c:v>1000</c:v>
                </c:pt>
                <c:pt idx="1">
                  <c:v>1000</c:v>
                </c:pt>
                <c:pt idx="2">
                  <c:v>1000</c:v>
                </c:pt>
                <c:pt idx="3">
                  <c:v>1000</c:v>
                </c:pt>
                <c:pt idx="4">
                  <c:v>1000</c:v>
                </c:pt>
                <c:pt idx="5">
                  <c:v>1000</c:v>
                </c:pt>
                <c:pt idx="6">
                  <c:v>1000</c:v>
                </c:pt>
                <c:pt idx="7">
                  <c:v>1000</c:v>
                </c:pt>
                <c:pt idx="8">
                  <c:v>1000</c:v>
                </c:pt>
                <c:pt idx="9">
                  <c:v>1000</c:v>
                </c:pt>
                <c:pt idx="10">
                  <c:v>1000</c:v>
                </c:pt>
                <c:pt idx="11">
                  <c:v>1000</c:v>
                </c:pt>
                <c:pt idx="12">
                  <c:v>1000</c:v>
                </c:pt>
                <c:pt idx="13">
                  <c:v>1000</c:v>
                </c:pt>
                <c:pt idx="14">
                  <c:v>1000</c:v>
                </c:pt>
                <c:pt idx="15">
                  <c:v>1000</c:v>
                </c:pt>
                <c:pt idx="16">
                  <c:v>1000</c:v>
                </c:pt>
                <c:pt idx="17">
                  <c:v>1000</c:v>
                </c:pt>
                <c:pt idx="18">
                  <c:v>1000</c:v>
                </c:pt>
                <c:pt idx="19">
                  <c:v>1000</c:v>
                </c:pt>
                <c:pt idx="20">
                  <c:v>1000</c:v>
                </c:pt>
                <c:pt idx="21">
                  <c:v>1000</c:v>
                </c:pt>
                <c:pt idx="22">
                  <c:v>1000</c:v>
                </c:pt>
                <c:pt idx="23">
                  <c:v>1000</c:v>
                </c:pt>
                <c:pt idx="24">
                  <c:v>1000</c:v>
                </c:pt>
                <c:pt idx="25">
                  <c:v>1000</c:v>
                </c:pt>
                <c:pt idx="26">
                  <c:v>1000</c:v>
                </c:pt>
                <c:pt idx="27">
                  <c:v>1000</c:v>
                </c:pt>
                <c:pt idx="28">
                  <c:v>1000</c:v>
                </c:pt>
                <c:pt idx="29">
                  <c:v>1000</c:v>
                </c:pt>
                <c:pt idx="30">
                  <c:v>1000</c:v>
                </c:pt>
                <c:pt idx="31">
                  <c:v>1000</c:v>
                </c:pt>
                <c:pt idx="32">
                  <c:v>1000</c:v>
                </c:pt>
                <c:pt idx="33">
                  <c:v>1000</c:v>
                </c:pt>
                <c:pt idx="34">
                  <c:v>1000</c:v>
                </c:pt>
                <c:pt idx="35">
                  <c:v>1000</c:v>
                </c:pt>
                <c:pt idx="36">
                  <c:v>1000</c:v>
                </c:pt>
                <c:pt idx="37">
                  <c:v>1000</c:v>
                </c:pt>
                <c:pt idx="38">
                  <c:v>1000</c:v>
                </c:pt>
                <c:pt idx="39">
                  <c:v>1000</c:v>
                </c:pt>
                <c:pt idx="40">
                  <c:v>1000</c:v>
                </c:pt>
                <c:pt idx="41">
                  <c:v>1000</c:v>
                </c:pt>
                <c:pt idx="42">
                  <c:v>1000</c:v>
                </c:pt>
                <c:pt idx="43">
                  <c:v>1000</c:v>
                </c:pt>
                <c:pt idx="44">
                  <c:v>1000</c:v>
                </c:pt>
                <c:pt idx="45">
                  <c:v>1000</c:v>
                </c:pt>
                <c:pt idx="46">
                  <c:v>1000</c:v>
                </c:pt>
                <c:pt idx="47">
                  <c:v>1000</c:v>
                </c:pt>
                <c:pt idx="48">
                  <c:v>1000</c:v>
                </c:pt>
                <c:pt idx="49">
                  <c:v>1000</c:v>
                </c:pt>
                <c:pt idx="50">
                  <c:v>1000</c:v>
                </c:pt>
                <c:pt idx="51">
                  <c:v>1000</c:v>
                </c:pt>
                <c:pt idx="52">
                  <c:v>1000</c:v>
                </c:pt>
                <c:pt idx="53">
                  <c:v>1000</c:v>
                </c:pt>
                <c:pt idx="54">
                  <c:v>1000</c:v>
                </c:pt>
                <c:pt idx="55">
                  <c:v>1000</c:v>
                </c:pt>
                <c:pt idx="56">
                  <c:v>1000</c:v>
                </c:pt>
                <c:pt idx="57">
                  <c:v>1000</c:v>
                </c:pt>
                <c:pt idx="58">
                  <c:v>1000</c:v>
                </c:pt>
                <c:pt idx="59">
                  <c:v>1000</c:v>
                </c:pt>
                <c:pt idx="60">
                  <c:v>1000</c:v>
                </c:pt>
                <c:pt idx="61">
                  <c:v>1000</c:v>
                </c:pt>
                <c:pt idx="62">
                  <c:v>1000</c:v>
                </c:pt>
                <c:pt idx="63">
                  <c:v>1000</c:v>
                </c:pt>
                <c:pt idx="64">
                  <c:v>1000</c:v>
                </c:pt>
                <c:pt idx="65">
                  <c:v>1000</c:v>
                </c:pt>
                <c:pt idx="66">
                  <c:v>1000</c:v>
                </c:pt>
                <c:pt idx="67">
                  <c:v>1000</c:v>
                </c:pt>
                <c:pt idx="68">
                  <c:v>1000</c:v>
                </c:pt>
                <c:pt idx="69">
                  <c:v>1000</c:v>
                </c:pt>
                <c:pt idx="70">
                  <c:v>1000</c:v>
                </c:pt>
                <c:pt idx="71">
                  <c:v>1000</c:v>
                </c:pt>
                <c:pt idx="72">
                  <c:v>1000</c:v>
                </c:pt>
                <c:pt idx="73">
                  <c:v>1000</c:v>
                </c:pt>
                <c:pt idx="74">
                  <c:v>1000</c:v>
                </c:pt>
                <c:pt idx="75">
                  <c:v>1000</c:v>
                </c:pt>
                <c:pt idx="76">
                  <c:v>1000</c:v>
                </c:pt>
                <c:pt idx="77">
                  <c:v>950</c:v>
                </c:pt>
                <c:pt idx="78">
                  <c:v>950</c:v>
                </c:pt>
                <c:pt idx="79">
                  <c:v>950</c:v>
                </c:pt>
                <c:pt idx="80">
                  <c:v>950</c:v>
                </c:pt>
                <c:pt idx="81">
                  <c:v>950</c:v>
                </c:pt>
                <c:pt idx="82">
                  <c:v>950</c:v>
                </c:pt>
                <c:pt idx="83">
                  <c:v>950</c:v>
                </c:pt>
                <c:pt idx="84">
                  <c:v>950</c:v>
                </c:pt>
                <c:pt idx="85">
                  <c:v>950</c:v>
                </c:pt>
                <c:pt idx="86">
                  <c:v>950</c:v>
                </c:pt>
                <c:pt idx="87">
                  <c:v>950</c:v>
                </c:pt>
                <c:pt idx="88">
                  <c:v>950</c:v>
                </c:pt>
                <c:pt idx="89">
                  <c:v>950</c:v>
                </c:pt>
                <c:pt idx="90">
                  <c:v>950</c:v>
                </c:pt>
                <c:pt idx="91">
                  <c:v>950</c:v>
                </c:pt>
                <c:pt idx="92">
                  <c:v>950</c:v>
                </c:pt>
                <c:pt idx="93">
                  <c:v>950</c:v>
                </c:pt>
                <c:pt idx="94">
                  <c:v>950</c:v>
                </c:pt>
                <c:pt idx="95">
                  <c:v>950</c:v>
                </c:pt>
                <c:pt idx="96">
                  <c:v>950</c:v>
                </c:pt>
                <c:pt idx="97">
                  <c:v>950</c:v>
                </c:pt>
                <c:pt idx="98">
                  <c:v>950</c:v>
                </c:pt>
                <c:pt idx="99">
                  <c:v>950</c:v>
                </c:pt>
                <c:pt idx="100">
                  <c:v>950</c:v>
                </c:pt>
                <c:pt idx="101">
                  <c:v>950</c:v>
                </c:pt>
                <c:pt idx="102">
                  <c:v>950</c:v>
                </c:pt>
                <c:pt idx="103">
                  <c:v>950</c:v>
                </c:pt>
                <c:pt idx="104">
                  <c:v>950</c:v>
                </c:pt>
                <c:pt idx="105">
                  <c:v>950</c:v>
                </c:pt>
                <c:pt idx="106">
                  <c:v>1100</c:v>
                </c:pt>
                <c:pt idx="107">
                  <c:v>1100</c:v>
                </c:pt>
                <c:pt idx="108">
                  <c:v>1100</c:v>
                </c:pt>
                <c:pt idx="109">
                  <c:v>1100</c:v>
                </c:pt>
                <c:pt idx="110">
                  <c:v>1100</c:v>
                </c:pt>
                <c:pt idx="111">
                  <c:v>1100</c:v>
                </c:pt>
                <c:pt idx="112">
                  <c:v>1100</c:v>
                </c:pt>
                <c:pt idx="113">
                  <c:v>1100</c:v>
                </c:pt>
                <c:pt idx="114">
                  <c:v>1100</c:v>
                </c:pt>
                <c:pt idx="115">
                  <c:v>1100</c:v>
                </c:pt>
                <c:pt idx="116">
                  <c:v>1100</c:v>
                </c:pt>
                <c:pt idx="117">
                  <c:v>1100</c:v>
                </c:pt>
                <c:pt idx="118">
                  <c:v>1100</c:v>
                </c:pt>
                <c:pt idx="119">
                  <c:v>1100</c:v>
                </c:pt>
                <c:pt idx="120">
                  <c:v>1100</c:v>
                </c:pt>
                <c:pt idx="121">
                  <c:v>1100</c:v>
                </c:pt>
                <c:pt idx="122">
                  <c:v>1050</c:v>
                </c:pt>
                <c:pt idx="123">
                  <c:v>1050</c:v>
                </c:pt>
                <c:pt idx="124">
                  <c:v>1050</c:v>
                </c:pt>
                <c:pt idx="125">
                  <c:v>1050</c:v>
                </c:pt>
                <c:pt idx="126">
                  <c:v>1050</c:v>
                </c:pt>
                <c:pt idx="127">
                  <c:v>1050</c:v>
                </c:pt>
                <c:pt idx="128">
                  <c:v>1050</c:v>
                </c:pt>
                <c:pt idx="129">
                  <c:v>1050</c:v>
                </c:pt>
                <c:pt idx="130">
                  <c:v>1050</c:v>
                </c:pt>
                <c:pt idx="131">
                  <c:v>1050</c:v>
                </c:pt>
                <c:pt idx="132">
                  <c:v>1050</c:v>
                </c:pt>
                <c:pt idx="133">
                  <c:v>1050</c:v>
                </c:pt>
                <c:pt idx="134">
                  <c:v>1050</c:v>
                </c:pt>
                <c:pt idx="135">
                  <c:v>1050</c:v>
                </c:pt>
                <c:pt idx="136">
                  <c:v>1050</c:v>
                </c:pt>
                <c:pt idx="137">
                  <c:v>1050</c:v>
                </c:pt>
                <c:pt idx="138">
                  <c:v>1050</c:v>
                </c:pt>
                <c:pt idx="139">
                  <c:v>1050</c:v>
                </c:pt>
                <c:pt idx="140">
                  <c:v>1050</c:v>
                </c:pt>
                <c:pt idx="141">
                  <c:v>1050</c:v>
                </c:pt>
                <c:pt idx="142">
                  <c:v>1050</c:v>
                </c:pt>
                <c:pt idx="143">
                  <c:v>1050</c:v>
                </c:pt>
                <c:pt idx="144">
                  <c:v>1050</c:v>
                </c:pt>
                <c:pt idx="145">
                  <c:v>1050</c:v>
                </c:pt>
                <c:pt idx="146">
                  <c:v>1050</c:v>
                </c:pt>
                <c:pt idx="147">
                  <c:v>1050</c:v>
                </c:pt>
                <c:pt idx="148">
                  <c:v>1050</c:v>
                </c:pt>
                <c:pt idx="149">
                  <c:v>1050</c:v>
                </c:pt>
                <c:pt idx="150">
                  <c:v>1050</c:v>
                </c:pt>
                <c:pt idx="151">
                  <c:v>1050</c:v>
                </c:pt>
                <c:pt idx="152">
                  <c:v>1050</c:v>
                </c:pt>
                <c:pt idx="153">
                  <c:v>1050</c:v>
                </c:pt>
                <c:pt idx="154">
                  <c:v>1050</c:v>
                </c:pt>
                <c:pt idx="155">
                  <c:v>1050</c:v>
                </c:pt>
                <c:pt idx="156">
                  <c:v>1050</c:v>
                </c:pt>
                <c:pt idx="157">
                  <c:v>1050</c:v>
                </c:pt>
                <c:pt idx="158">
                  <c:v>1050</c:v>
                </c:pt>
                <c:pt idx="159">
                  <c:v>1050</c:v>
                </c:pt>
                <c:pt idx="160">
                  <c:v>1050</c:v>
                </c:pt>
                <c:pt idx="161">
                  <c:v>1050</c:v>
                </c:pt>
                <c:pt idx="162">
                  <c:v>1050</c:v>
                </c:pt>
                <c:pt idx="163">
                  <c:v>1050</c:v>
                </c:pt>
                <c:pt idx="164">
                  <c:v>1050</c:v>
                </c:pt>
                <c:pt idx="165">
                  <c:v>1050</c:v>
                </c:pt>
                <c:pt idx="166">
                  <c:v>1050</c:v>
                </c:pt>
                <c:pt idx="167">
                  <c:v>1050</c:v>
                </c:pt>
                <c:pt idx="168">
                  <c:v>1050</c:v>
                </c:pt>
                <c:pt idx="169">
                  <c:v>1050</c:v>
                </c:pt>
                <c:pt idx="170">
                  <c:v>1050</c:v>
                </c:pt>
                <c:pt idx="171">
                  <c:v>1050</c:v>
                </c:pt>
                <c:pt idx="172">
                  <c:v>1050</c:v>
                </c:pt>
                <c:pt idx="173">
                  <c:v>1050</c:v>
                </c:pt>
                <c:pt idx="174">
                  <c:v>1050</c:v>
                </c:pt>
                <c:pt idx="175">
                  <c:v>1050</c:v>
                </c:pt>
                <c:pt idx="176">
                  <c:v>1050</c:v>
                </c:pt>
                <c:pt idx="177">
                  <c:v>1050</c:v>
                </c:pt>
                <c:pt idx="178">
                  <c:v>1050</c:v>
                </c:pt>
                <c:pt idx="179">
                  <c:v>1050</c:v>
                </c:pt>
                <c:pt idx="180">
                  <c:v>1050</c:v>
                </c:pt>
                <c:pt idx="181">
                  <c:v>1050</c:v>
                </c:pt>
                <c:pt idx="182">
                  <c:v>1050</c:v>
                </c:pt>
                <c:pt idx="183">
                  <c:v>1050</c:v>
                </c:pt>
                <c:pt idx="184">
                  <c:v>1050</c:v>
                </c:pt>
                <c:pt idx="185">
                  <c:v>1050</c:v>
                </c:pt>
                <c:pt idx="186">
                  <c:v>1050</c:v>
                </c:pt>
                <c:pt idx="187">
                  <c:v>1050</c:v>
                </c:pt>
                <c:pt idx="188">
                  <c:v>1050</c:v>
                </c:pt>
                <c:pt idx="189">
                  <c:v>1050</c:v>
                </c:pt>
                <c:pt idx="190">
                  <c:v>1050</c:v>
                </c:pt>
                <c:pt idx="191">
                  <c:v>1050</c:v>
                </c:pt>
                <c:pt idx="192">
                  <c:v>1050</c:v>
                </c:pt>
                <c:pt idx="193">
                  <c:v>1050</c:v>
                </c:pt>
                <c:pt idx="194">
                  <c:v>1050</c:v>
                </c:pt>
                <c:pt idx="195">
                  <c:v>1050</c:v>
                </c:pt>
                <c:pt idx="196">
                  <c:v>1050</c:v>
                </c:pt>
                <c:pt idx="197">
                  <c:v>1050</c:v>
                </c:pt>
                <c:pt idx="198">
                  <c:v>1050</c:v>
                </c:pt>
                <c:pt idx="199">
                  <c:v>1050</c:v>
                </c:pt>
                <c:pt idx="200">
                  <c:v>1100</c:v>
                </c:pt>
                <c:pt idx="201">
                  <c:v>1100</c:v>
                </c:pt>
                <c:pt idx="202">
                  <c:v>1100</c:v>
                </c:pt>
                <c:pt idx="203">
                  <c:v>1100</c:v>
                </c:pt>
                <c:pt idx="204">
                  <c:v>1100</c:v>
                </c:pt>
                <c:pt idx="205">
                  <c:v>1100</c:v>
                </c:pt>
                <c:pt idx="206">
                  <c:v>1100</c:v>
                </c:pt>
                <c:pt idx="207">
                  <c:v>1100</c:v>
                </c:pt>
                <c:pt idx="208">
                  <c:v>1100</c:v>
                </c:pt>
                <c:pt idx="209">
                  <c:v>1100</c:v>
                </c:pt>
                <c:pt idx="210">
                  <c:v>1100</c:v>
                </c:pt>
                <c:pt idx="211">
                  <c:v>1100</c:v>
                </c:pt>
                <c:pt idx="212">
                  <c:v>1100</c:v>
                </c:pt>
                <c:pt idx="213">
                  <c:v>1100</c:v>
                </c:pt>
                <c:pt idx="214">
                  <c:v>1100</c:v>
                </c:pt>
                <c:pt idx="215">
                  <c:v>1100</c:v>
                </c:pt>
                <c:pt idx="216">
                  <c:v>1100</c:v>
                </c:pt>
                <c:pt idx="217">
                  <c:v>1100</c:v>
                </c:pt>
                <c:pt idx="218">
                  <c:v>1100</c:v>
                </c:pt>
                <c:pt idx="219">
                  <c:v>1100</c:v>
                </c:pt>
                <c:pt idx="220">
                  <c:v>1100</c:v>
                </c:pt>
                <c:pt idx="221">
                  <c:v>1100</c:v>
                </c:pt>
                <c:pt idx="222">
                  <c:v>1100</c:v>
                </c:pt>
                <c:pt idx="223">
                  <c:v>1100</c:v>
                </c:pt>
                <c:pt idx="224">
                  <c:v>1100</c:v>
                </c:pt>
                <c:pt idx="225">
                  <c:v>1100</c:v>
                </c:pt>
                <c:pt idx="226">
                  <c:v>1100</c:v>
                </c:pt>
                <c:pt idx="227">
                  <c:v>1100</c:v>
                </c:pt>
                <c:pt idx="228">
                  <c:v>1100</c:v>
                </c:pt>
                <c:pt idx="229">
                  <c:v>1100</c:v>
                </c:pt>
                <c:pt idx="230">
                  <c:v>1100</c:v>
                </c:pt>
                <c:pt idx="231">
                  <c:v>1100</c:v>
                </c:pt>
                <c:pt idx="232">
                  <c:v>1100</c:v>
                </c:pt>
                <c:pt idx="233">
                  <c:v>1100</c:v>
                </c:pt>
                <c:pt idx="234">
                  <c:v>1100</c:v>
                </c:pt>
                <c:pt idx="235">
                  <c:v>1100</c:v>
                </c:pt>
                <c:pt idx="236">
                  <c:v>1100</c:v>
                </c:pt>
                <c:pt idx="237">
                  <c:v>1100</c:v>
                </c:pt>
                <c:pt idx="238">
                  <c:v>1100</c:v>
                </c:pt>
                <c:pt idx="239">
                  <c:v>1100</c:v>
                </c:pt>
                <c:pt idx="240">
                  <c:v>1100</c:v>
                </c:pt>
                <c:pt idx="241">
                  <c:v>1100</c:v>
                </c:pt>
                <c:pt idx="242">
                  <c:v>1100</c:v>
                </c:pt>
                <c:pt idx="243">
                  <c:v>1100</c:v>
                </c:pt>
                <c:pt idx="244">
                  <c:v>1100</c:v>
                </c:pt>
                <c:pt idx="245">
                  <c:v>1100</c:v>
                </c:pt>
                <c:pt idx="246">
                  <c:v>1100</c:v>
                </c:pt>
                <c:pt idx="247">
                  <c:v>1100</c:v>
                </c:pt>
                <c:pt idx="248">
                  <c:v>1100</c:v>
                </c:pt>
                <c:pt idx="249">
                  <c:v>1100</c:v>
                </c:pt>
                <c:pt idx="250">
                  <c:v>1100</c:v>
                </c:pt>
                <c:pt idx="251">
                  <c:v>1100</c:v>
                </c:pt>
                <c:pt idx="252">
                  <c:v>1100</c:v>
                </c:pt>
                <c:pt idx="253">
                  <c:v>1100</c:v>
                </c:pt>
                <c:pt idx="254">
                  <c:v>1100</c:v>
                </c:pt>
                <c:pt idx="255">
                  <c:v>1100</c:v>
                </c:pt>
                <c:pt idx="256">
                  <c:v>1100</c:v>
                </c:pt>
                <c:pt idx="257">
                  <c:v>1100</c:v>
                </c:pt>
                <c:pt idx="258">
                  <c:v>1100</c:v>
                </c:pt>
                <c:pt idx="259">
                  <c:v>1100</c:v>
                </c:pt>
                <c:pt idx="260">
                  <c:v>1250</c:v>
                </c:pt>
                <c:pt idx="261">
                  <c:v>1250</c:v>
                </c:pt>
                <c:pt idx="262">
                  <c:v>1250</c:v>
                </c:pt>
                <c:pt idx="263">
                  <c:v>1250</c:v>
                </c:pt>
                <c:pt idx="264">
                  <c:v>1250</c:v>
                </c:pt>
                <c:pt idx="265">
                  <c:v>1250</c:v>
                </c:pt>
                <c:pt idx="266">
                  <c:v>1250</c:v>
                </c:pt>
                <c:pt idx="267">
                  <c:v>1250</c:v>
                </c:pt>
                <c:pt idx="268">
                  <c:v>1250</c:v>
                </c:pt>
                <c:pt idx="269">
                  <c:v>1250</c:v>
                </c:pt>
                <c:pt idx="270">
                  <c:v>1250</c:v>
                </c:pt>
                <c:pt idx="271">
                  <c:v>1250</c:v>
                </c:pt>
                <c:pt idx="272">
                  <c:v>1250</c:v>
                </c:pt>
                <c:pt idx="273">
                  <c:v>1250</c:v>
                </c:pt>
                <c:pt idx="274">
                  <c:v>1250</c:v>
                </c:pt>
                <c:pt idx="275">
                  <c:v>1250</c:v>
                </c:pt>
                <c:pt idx="276">
                  <c:v>1250</c:v>
                </c:pt>
                <c:pt idx="277">
                  <c:v>1250</c:v>
                </c:pt>
                <c:pt idx="278">
                  <c:v>1250</c:v>
                </c:pt>
                <c:pt idx="279">
                  <c:v>1250</c:v>
                </c:pt>
                <c:pt idx="280">
                  <c:v>1250</c:v>
                </c:pt>
                <c:pt idx="281">
                  <c:v>1250</c:v>
                </c:pt>
                <c:pt idx="282">
                  <c:v>1350</c:v>
                </c:pt>
                <c:pt idx="283">
                  <c:v>1350</c:v>
                </c:pt>
                <c:pt idx="284">
                  <c:v>1220</c:v>
                </c:pt>
                <c:pt idx="285">
                  <c:v>1220</c:v>
                </c:pt>
                <c:pt idx="286">
                  <c:v>1220</c:v>
                </c:pt>
                <c:pt idx="287">
                  <c:v>1220</c:v>
                </c:pt>
                <c:pt idx="288">
                  <c:v>1220</c:v>
                </c:pt>
                <c:pt idx="289">
                  <c:v>1220</c:v>
                </c:pt>
                <c:pt idx="290">
                  <c:v>1220</c:v>
                </c:pt>
                <c:pt idx="291">
                  <c:v>1220</c:v>
                </c:pt>
                <c:pt idx="292">
                  <c:v>1220</c:v>
                </c:pt>
                <c:pt idx="293">
                  <c:v>1220</c:v>
                </c:pt>
                <c:pt idx="294">
                  <c:v>1200</c:v>
                </c:pt>
                <c:pt idx="295">
                  <c:v>1200</c:v>
                </c:pt>
                <c:pt idx="296">
                  <c:v>1200</c:v>
                </c:pt>
                <c:pt idx="297">
                  <c:v>1200</c:v>
                </c:pt>
                <c:pt idx="298">
                  <c:v>1200</c:v>
                </c:pt>
                <c:pt idx="299">
                  <c:v>1200</c:v>
                </c:pt>
                <c:pt idx="300">
                  <c:v>1200</c:v>
                </c:pt>
                <c:pt idx="301">
                  <c:v>1200</c:v>
                </c:pt>
                <c:pt idx="302">
                  <c:v>1150</c:v>
                </c:pt>
                <c:pt idx="303">
                  <c:v>1150</c:v>
                </c:pt>
                <c:pt idx="304">
                  <c:v>1150</c:v>
                </c:pt>
                <c:pt idx="305">
                  <c:v>1100</c:v>
                </c:pt>
                <c:pt idx="306">
                  <c:v>1100</c:v>
                </c:pt>
                <c:pt idx="307">
                  <c:v>1100</c:v>
                </c:pt>
                <c:pt idx="308">
                  <c:v>1100</c:v>
                </c:pt>
                <c:pt idx="309">
                  <c:v>1100</c:v>
                </c:pt>
                <c:pt idx="310">
                  <c:v>1100</c:v>
                </c:pt>
                <c:pt idx="311">
                  <c:v>1100</c:v>
                </c:pt>
                <c:pt idx="312">
                  <c:v>1100</c:v>
                </c:pt>
                <c:pt idx="313">
                  <c:v>1100</c:v>
                </c:pt>
                <c:pt idx="314">
                  <c:v>1100</c:v>
                </c:pt>
                <c:pt idx="315">
                  <c:v>1100</c:v>
                </c:pt>
                <c:pt idx="316">
                  <c:v>1100</c:v>
                </c:pt>
                <c:pt idx="317">
                  <c:v>1100</c:v>
                </c:pt>
                <c:pt idx="318">
                  <c:v>1100</c:v>
                </c:pt>
                <c:pt idx="319">
                  <c:v>#N/A</c:v>
                </c:pt>
                <c:pt idx="320">
                  <c:v>#N/A</c:v>
                </c:pt>
                <c:pt idx="321">
                  <c:v>1100</c:v>
                </c:pt>
                <c:pt idx="322">
                  <c:v>1100</c:v>
                </c:pt>
                <c:pt idx="323">
                  <c:v>1100</c:v>
                </c:pt>
                <c:pt idx="324">
                  <c:v>1100</c:v>
                </c:pt>
                <c:pt idx="325">
                  <c:v>1100</c:v>
                </c:pt>
                <c:pt idx="326">
                  <c:v>1100</c:v>
                </c:pt>
                <c:pt idx="327">
                  <c:v>1100</c:v>
                </c:pt>
                <c:pt idx="328">
                  <c:v>1100</c:v>
                </c:pt>
                <c:pt idx="329">
                  <c:v>1100</c:v>
                </c:pt>
                <c:pt idx="330">
                  <c:v>1250</c:v>
                </c:pt>
                <c:pt idx="331">
                  <c:v>1250</c:v>
                </c:pt>
                <c:pt idx="332">
                  <c:v>1250</c:v>
                </c:pt>
                <c:pt idx="333">
                  <c:v>1250</c:v>
                </c:pt>
                <c:pt idx="334">
                  <c:v>1250</c:v>
                </c:pt>
                <c:pt idx="335">
                  <c:v>1250</c:v>
                </c:pt>
                <c:pt idx="336">
                  <c:v>1250</c:v>
                </c:pt>
                <c:pt idx="337">
                  <c:v>1250</c:v>
                </c:pt>
                <c:pt idx="338">
                  <c:v>1250</c:v>
                </c:pt>
                <c:pt idx="339">
                  <c:v>1250</c:v>
                </c:pt>
                <c:pt idx="340">
                  <c:v>1250</c:v>
                </c:pt>
                <c:pt idx="341">
                  <c:v>1250</c:v>
                </c:pt>
                <c:pt idx="342">
                  <c:v>1250</c:v>
                </c:pt>
                <c:pt idx="343">
                  <c:v>1250</c:v>
                </c:pt>
                <c:pt idx="344">
                  <c:v>1250</c:v>
                </c:pt>
                <c:pt idx="345">
                  <c:v>1250</c:v>
                </c:pt>
                <c:pt idx="346">
                  <c:v>1250</c:v>
                </c:pt>
                <c:pt idx="347">
                  <c:v>1250</c:v>
                </c:pt>
                <c:pt idx="348">
                  <c:v>1250</c:v>
                </c:pt>
                <c:pt idx="349">
                  <c:v>1250</c:v>
                </c:pt>
                <c:pt idx="350">
                  <c:v>1250</c:v>
                </c:pt>
                <c:pt idx="351">
                  <c:v>1250</c:v>
                </c:pt>
                <c:pt idx="352">
                  <c:v>1250</c:v>
                </c:pt>
                <c:pt idx="353">
                  <c:v>1250</c:v>
                </c:pt>
                <c:pt idx="354">
                  <c:v>1250</c:v>
                </c:pt>
                <c:pt idx="355">
                  <c:v>1250</c:v>
                </c:pt>
                <c:pt idx="356">
                  <c:v>1250</c:v>
                </c:pt>
                <c:pt idx="357">
                  <c:v>1250</c:v>
                </c:pt>
                <c:pt idx="358">
                  <c:v>1250</c:v>
                </c:pt>
                <c:pt idx="359">
                  <c:v>1250</c:v>
                </c:pt>
                <c:pt idx="360">
                  <c:v>1250</c:v>
                </c:pt>
                <c:pt idx="361">
                  <c:v>1250</c:v>
                </c:pt>
                <c:pt idx="362">
                  <c:v>1250</c:v>
                </c:pt>
                <c:pt idx="363">
                  <c:v>1250</c:v>
                </c:pt>
                <c:pt idx="364">
                  <c:v>1250</c:v>
                </c:pt>
                <c:pt idx="365">
                  <c:v>1250</c:v>
                </c:pt>
                <c:pt idx="366">
                  <c:v>1250</c:v>
                </c:pt>
                <c:pt idx="367">
                  <c:v>1250</c:v>
                </c:pt>
                <c:pt idx="368">
                  <c:v>1250</c:v>
                </c:pt>
                <c:pt idx="369">
                  <c:v>1250</c:v>
                </c:pt>
                <c:pt idx="370">
                  <c:v>1250</c:v>
                </c:pt>
                <c:pt idx="371">
                  <c:v>1250</c:v>
                </c:pt>
                <c:pt idx="372">
                  <c:v>1250</c:v>
                </c:pt>
                <c:pt idx="373">
                  <c:v>1250</c:v>
                </c:pt>
                <c:pt idx="374">
                  <c:v>1250</c:v>
                </c:pt>
                <c:pt idx="375">
                  <c:v>1250</c:v>
                </c:pt>
                <c:pt idx="376">
                  <c:v>1250</c:v>
                </c:pt>
                <c:pt idx="377">
                  <c:v>1250</c:v>
                </c:pt>
                <c:pt idx="378">
                  <c:v>1250</c:v>
                </c:pt>
                <c:pt idx="379">
                  <c:v>1250</c:v>
                </c:pt>
                <c:pt idx="380">
                  <c:v>1250</c:v>
                </c:pt>
                <c:pt idx="381">
                  <c:v>1250</c:v>
                </c:pt>
                <c:pt idx="382">
                  <c:v>1250</c:v>
                </c:pt>
                <c:pt idx="383">
                  <c:v>1250</c:v>
                </c:pt>
                <c:pt idx="384">
                  <c:v>1250</c:v>
                </c:pt>
                <c:pt idx="385">
                  <c:v>1250</c:v>
                </c:pt>
                <c:pt idx="386">
                  <c:v>1250</c:v>
                </c:pt>
                <c:pt idx="387">
                  <c:v>1250</c:v>
                </c:pt>
                <c:pt idx="388">
                  <c:v>1250</c:v>
                </c:pt>
                <c:pt idx="389">
                  <c:v>1250</c:v>
                </c:pt>
                <c:pt idx="390">
                  <c:v>1250</c:v>
                </c:pt>
                <c:pt idx="391">
                  <c:v>1250</c:v>
                </c:pt>
                <c:pt idx="392">
                  <c:v>1250</c:v>
                </c:pt>
                <c:pt idx="393">
                  <c:v>1250</c:v>
                </c:pt>
                <c:pt idx="394">
                  <c:v>1250</c:v>
                </c:pt>
                <c:pt idx="395">
                  <c:v>1250</c:v>
                </c:pt>
                <c:pt idx="396">
                  <c:v>1550</c:v>
                </c:pt>
                <c:pt idx="397">
                  <c:v>1550</c:v>
                </c:pt>
                <c:pt idx="398">
                  <c:v>1550</c:v>
                </c:pt>
                <c:pt idx="399">
                  <c:v>1550</c:v>
                </c:pt>
                <c:pt idx="400">
                  <c:v>1550</c:v>
                </c:pt>
                <c:pt idx="401">
                  <c:v>1550</c:v>
                </c:pt>
                <c:pt idx="402">
                  <c:v>1550</c:v>
                </c:pt>
                <c:pt idx="403">
                  <c:v>1550</c:v>
                </c:pt>
                <c:pt idx="404">
                  <c:v>1550</c:v>
                </c:pt>
                <c:pt idx="405">
                  <c:v>1550</c:v>
                </c:pt>
                <c:pt idx="406">
                  <c:v>1550</c:v>
                </c:pt>
                <c:pt idx="407">
                  <c:v>1550</c:v>
                </c:pt>
                <c:pt idx="408">
                  <c:v>1550</c:v>
                </c:pt>
                <c:pt idx="409">
                  <c:v>1550</c:v>
                </c:pt>
                <c:pt idx="410">
                  <c:v>1550</c:v>
                </c:pt>
                <c:pt idx="411">
                  <c:v>1550</c:v>
                </c:pt>
                <c:pt idx="412">
                  <c:v>1550</c:v>
                </c:pt>
                <c:pt idx="413">
                  <c:v>1550</c:v>
                </c:pt>
                <c:pt idx="414">
                  <c:v>1780</c:v>
                </c:pt>
                <c:pt idx="415">
                  <c:v>1780</c:v>
                </c:pt>
                <c:pt idx="416">
                  <c:v>1780</c:v>
                </c:pt>
                <c:pt idx="417">
                  <c:v>1780</c:v>
                </c:pt>
                <c:pt idx="418">
                  <c:v>1780</c:v>
                </c:pt>
                <c:pt idx="419">
                  <c:v>1780</c:v>
                </c:pt>
                <c:pt idx="420">
                  <c:v>1780</c:v>
                </c:pt>
                <c:pt idx="421">
                  <c:v>1780</c:v>
                </c:pt>
                <c:pt idx="422">
                  <c:v>1780</c:v>
                </c:pt>
                <c:pt idx="423">
                  <c:v>1780</c:v>
                </c:pt>
                <c:pt idx="424">
                  <c:v>1780</c:v>
                </c:pt>
                <c:pt idx="425">
                  <c:v>1780</c:v>
                </c:pt>
                <c:pt idx="426">
                  <c:v>1780</c:v>
                </c:pt>
                <c:pt idx="427">
                  <c:v>1780</c:v>
                </c:pt>
                <c:pt idx="428">
                  <c:v>1780</c:v>
                </c:pt>
                <c:pt idx="429">
                  <c:v>1780</c:v>
                </c:pt>
                <c:pt idx="430">
                  <c:v>1780</c:v>
                </c:pt>
                <c:pt idx="431">
                  <c:v>1780</c:v>
                </c:pt>
                <c:pt idx="432">
                  <c:v>1780</c:v>
                </c:pt>
                <c:pt idx="433">
                  <c:v>1780</c:v>
                </c:pt>
                <c:pt idx="434">
                  <c:v>1780</c:v>
                </c:pt>
                <c:pt idx="435">
                  <c:v>1780</c:v>
                </c:pt>
                <c:pt idx="436">
                  <c:v>1780</c:v>
                </c:pt>
                <c:pt idx="437">
                  <c:v>1780</c:v>
                </c:pt>
                <c:pt idx="438">
                  <c:v>1780</c:v>
                </c:pt>
                <c:pt idx="439">
                  <c:v>1780</c:v>
                </c:pt>
                <c:pt idx="440">
                  <c:v>1780</c:v>
                </c:pt>
                <c:pt idx="441">
                  <c:v>1780</c:v>
                </c:pt>
                <c:pt idx="442">
                  <c:v>1780</c:v>
                </c:pt>
                <c:pt idx="443">
                  <c:v>1780</c:v>
                </c:pt>
                <c:pt idx="444">
                  <c:v>1780</c:v>
                </c:pt>
                <c:pt idx="445">
                  <c:v>1780</c:v>
                </c:pt>
                <c:pt idx="446">
                  <c:v>1780</c:v>
                </c:pt>
                <c:pt idx="447">
                  <c:v>1780</c:v>
                </c:pt>
                <c:pt idx="448">
                  <c:v>1780</c:v>
                </c:pt>
                <c:pt idx="449">
                  <c:v>1780</c:v>
                </c:pt>
                <c:pt idx="450">
                  <c:v>1780</c:v>
                </c:pt>
                <c:pt idx="451">
                  <c:v>1780</c:v>
                </c:pt>
                <c:pt idx="452">
                  <c:v>1780</c:v>
                </c:pt>
                <c:pt idx="453">
                  <c:v>1780</c:v>
                </c:pt>
                <c:pt idx="454">
                  <c:v>1780</c:v>
                </c:pt>
                <c:pt idx="455">
                  <c:v>1780</c:v>
                </c:pt>
                <c:pt idx="456">
                  <c:v>1780</c:v>
                </c:pt>
                <c:pt idx="457">
                  <c:v>1780</c:v>
                </c:pt>
                <c:pt idx="458">
                  <c:v>1780</c:v>
                </c:pt>
                <c:pt idx="459">
                  <c:v>1780</c:v>
                </c:pt>
                <c:pt idx="460">
                  <c:v>1780</c:v>
                </c:pt>
                <c:pt idx="461">
                  <c:v>1780</c:v>
                </c:pt>
                <c:pt idx="462">
                  <c:v>1780</c:v>
                </c:pt>
                <c:pt idx="463">
                  <c:v>1780</c:v>
                </c:pt>
                <c:pt idx="464">
                  <c:v>1780</c:v>
                </c:pt>
                <c:pt idx="465">
                  <c:v>1780</c:v>
                </c:pt>
                <c:pt idx="466">
                  <c:v>1780</c:v>
                </c:pt>
                <c:pt idx="467">
                  <c:v>1780</c:v>
                </c:pt>
                <c:pt idx="468">
                  <c:v>1780</c:v>
                </c:pt>
                <c:pt idx="469">
                  <c:v>1780</c:v>
                </c:pt>
                <c:pt idx="470">
                  <c:v>1780</c:v>
                </c:pt>
                <c:pt idx="471">
                  <c:v>1780</c:v>
                </c:pt>
                <c:pt idx="472">
                  <c:v>1780</c:v>
                </c:pt>
                <c:pt idx="473">
                  <c:v>1780</c:v>
                </c:pt>
                <c:pt idx="474">
                  <c:v>1780</c:v>
                </c:pt>
                <c:pt idx="475">
                  <c:v>1780</c:v>
                </c:pt>
                <c:pt idx="476">
                  <c:v>1780</c:v>
                </c:pt>
                <c:pt idx="477">
                  <c:v>1780</c:v>
                </c:pt>
                <c:pt idx="478">
                  <c:v>1780</c:v>
                </c:pt>
                <c:pt idx="479">
                  <c:v>1780</c:v>
                </c:pt>
                <c:pt idx="480">
                  <c:v>1780</c:v>
                </c:pt>
                <c:pt idx="481">
                  <c:v>1780</c:v>
                </c:pt>
                <c:pt idx="482">
                  <c:v>1780</c:v>
                </c:pt>
                <c:pt idx="483">
                  <c:v>1780</c:v>
                </c:pt>
                <c:pt idx="484">
                  <c:v>1880</c:v>
                </c:pt>
                <c:pt idx="485">
                  <c:v>1880</c:v>
                </c:pt>
                <c:pt idx="486">
                  <c:v>1880</c:v>
                </c:pt>
                <c:pt idx="487">
                  <c:v>1880</c:v>
                </c:pt>
                <c:pt idx="488">
                  <c:v>1880</c:v>
                </c:pt>
                <c:pt idx="489">
                  <c:v>1880</c:v>
                </c:pt>
                <c:pt idx="490">
                  <c:v>1880</c:v>
                </c:pt>
                <c:pt idx="491">
                  <c:v>1880</c:v>
                </c:pt>
                <c:pt idx="492">
                  <c:v>1880</c:v>
                </c:pt>
                <c:pt idx="493">
                  <c:v>1880</c:v>
                </c:pt>
                <c:pt idx="494">
                  <c:v>1880</c:v>
                </c:pt>
                <c:pt idx="495">
                  <c:v>1880</c:v>
                </c:pt>
                <c:pt idx="496">
                  <c:v>1880</c:v>
                </c:pt>
                <c:pt idx="497">
                  <c:v>1880</c:v>
                </c:pt>
                <c:pt idx="498">
                  <c:v>1880</c:v>
                </c:pt>
                <c:pt idx="499">
                  <c:v>1880</c:v>
                </c:pt>
                <c:pt idx="500">
                  <c:v>1880</c:v>
                </c:pt>
                <c:pt idx="501">
                  <c:v>1880</c:v>
                </c:pt>
                <c:pt idx="502">
                  <c:v>1880</c:v>
                </c:pt>
                <c:pt idx="503">
                  <c:v>1880</c:v>
                </c:pt>
                <c:pt idx="504">
                  <c:v>1880</c:v>
                </c:pt>
                <c:pt idx="505">
                  <c:v>1880</c:v>
                </c:pt>
                <c:pt idx="506">
                  <c:v>1880</c:v>
                </c:pt>
                <c:pt idx="507">
                  <c:v>1880</c:v>
                </c:pt>
                <c:pt idx="508">
                  <c:v>1880</c:v>
                </c:pt>
                <c:pt idx="509">
                  <c:v>1880</c:v>
                </c:pt>
                <c:pt idx="510">
                  <c:v>1880</c:v>
                </c:pt>
                <c:pt idx="511">
                  <c:v>1880</c:v>
                </c:pt>
                <c:pt idx="512">
                  <c:v>1880</c:v>
                </c:pt>
                <c:pt idx="513">
                  <c:v>1880</c:v>
                </c:pt>
                <c:pt idx="514">
                  <c:v>1880</c:v>
                </c:pt>
                <c:pt idx="515">
                  <c:v>1880</c:v>
                </c:pt>
                <c:pt idx="516">
                  <c:v>1880</c:v>
                </c:pt>
                <c:pt idx="517">
                  <c:v>1880</c:v>
                </c:pt>
                <c:pt idx="518">
                  <c:v>1880</c:v>
                </c:pt>
                <c:pt idx="519">
                  <c:v>1880</c:v>
                </c:pt>
                <c:pt idx="520">
                  <c:v>1880</c:v>
                </c:pt>
                <c:pt idx="521">
                  <c:v>1880</c:v>
                </c:pt>
                <c:pt idx="522">
                  <c:v>1880</c:v>
                </c:pt>
                <c:pt idx="523">
                  <c:v>1880</c:v>
                </c:pt>
                <c:pt idx="524">
                  <c:v>1880</c:v>
                </c:pt>
                <c:pt idx="525">
                  <c:v>1880</c:v>
                </c:pt>
                <c:pt idx="526">
                  <c:v>1880</c:v>
                </c:pt>
                <c:pt idx="527">
                  <c:v>1880</c:v>
                </c:pt>
                <c:pt idx="528">
                  <c:v>1880</c:v>
                </c:pt>
                <c:pt idx="529">
                  <c:v>1880</c:v>
                </c:pt>
                <c:pt idx="530">
                  <c:v>1880</c:v>
                </c:pt>
                <c:pt idx="531">
                  <c:v>1880</c:v>
                </c:pt>
                <c:pt idx="532">
                  <c:v>1880</c:v>
                </c:pt>
                <c:pt idx="533">
                  <c:v>1880</c:v>
                </c:pt>
                <c:pt idx="534">
                  <c:v>1880</c:v>
                </c:pt>
                <c:pt idx="535">
                  <c:v>1880</c:v>
                </c:pt>
                <c:pt idx="536">
                  <c:v>1880</c:v>
                </c:pt>
                <c:pt idx="537">
                  <c:v>1880</c:v>
                </c:pt>
                <c:pt idx="538">
                  <c:v>1880</c:v>
                </c:pt>
                <c:pt idx="539">
                  <c:v>1880</c:v>
                </c:pt>
                <c:pt idx="540">
                  <c:v>1880</c:v>
                </c:pt>
                <c:pt idx="541">
                  <c:v>1980</c:v>
                </c:pt>
                <c:pt idx="542">
                  <c:v>1980</c:v>
                </c:pt>
                <c:pt idx="543">
                  <c:v>1980</c:v>
                </c:pt>
                <c:pt idx="544">
                  <c:v>1980</c:v>
                </c:pt>
                <c:pt idx="545">
                  <c:v>1980</c:v>
                </c:pt>
                <c:pt idx="546">
                  <c:v>1980</c:v>
                </c:pt>
                <c:pt idx="547">
                  <c:v>1980</c:v>
                </c:pt>
                <c:pt idx="548">
                  <c:v>1980</c:v>
                </c:pt>
                <c:pt idx="549">
                  <c:v>1980</c:v>
                </c:pt>
                <c:pt idx="550">
                  <c:v>1980</c:v>
                </c:pt>
                <c:pt idx="551">
                  <c:v>1980</c:v>
                </c:pt>
                <c:pt idx="552">
                  <c:v>1980</c:v>
                </c:pt>
                <c:pt idx="553">
                  <c:v>1980</c:v>
                </c:pt>
                <c:pt idx="554">
                  <c:v>1980</c:v>
                </c:pt>
                <c:pt idx="555">
                  <c:v>1980</c:v>
                </c:pt>
                <c:pt idx="556">
                  <c:v>1980</c:v>
                </c:pt>
                <c:pt idx="557">
                  <c:v>1980</c:v>
                </c:pt>
                <c:pt idx="558">
                  <c:v>1980</c:v>
                </c:pt>
                <c:pt idx="559">
                  <c:v>1980</c:v>
                </c:pt>
                <c:pt idx="560">
                  <c:v>1980</c:v>
                </c:pt>
                <c:pt idx="561">
                  <c:v>1980</c:v>
                </c:pt>
                <c:pt idx="562">
                  <c:v>1980</c:v>
                </c:pt>
                <c:pt idx="563">
                  <c:v>1980</c:v>
                </c:pt>
                <c:pt idx="564">
                  <c:v>1980</c:v>
                </c:pt>
                <c:pt idx="565">
                  <c:v>1980</c:v>
                </c:pt>
                <c:pt idx="566">
                  <c:v>1980</c:v>
                </c:pt>
                <c:pt idx="567">
                  <c:v>1980</c:v>
                </c:pt>
                <c:pt idx="568">
                  <c:v>1980</c:v>
                </c:pt>
                <c:pt idx="569">
                  <c:v>1980</c:v>
                </c:pt>
                <c:pt idx="570">
                  <c:v>1980</c:v>
                </c:pt>
                <c:pt idx="571">
                  <c:v>1980</c:v>
                </c:pt>
                <c:pt idx="572">
                  <c:v>1980</c:v>
                </c:pt>
                <c:pt idx="573">
                  <c:v>1980</c:v>
                </c:pt>
                <c:pt idx="574">
                  <c:v>1980</c:v>
                </c:pt>
                <c:pt idx="575">
                  <c:v>1980</c:v>
                </c:pt>
                <c:pt idx="576">
                  <c:v>1980</c:v>
                </c:pt>
                <c:pt idx="577">
                  <c:v>1980</c:v>
                </c:pt>
                <c:pt idx="578">
                  <c:v>1980</c:v>
                </c:pt>
                <c:pt idx="579">
                  <c:v>1980</c:v>
                </c:pt>
                <c:pt idx="580">
                  <c:v>1980</c:v>
                </c:pt>
                <c:pt idx="581">
                  <c:v>1980</c:v>
                </c:pt>
                <c:pt idx="582">
                  <c:v>1980</c:v>
                </c:pt>
                <c:pt idx="583">
                  <c:v>1980</c:v>
                </c:pt>
                <c:pt idx="584">
                  <c:v>1980</c:v>
                </c:pt>
                <c:pt idx="585">
                  <c:v>1980</c:v>
                </c:pt>
                <c:pt idx="586">
                  <c:v>1980</c:v>
                </c:pt>
                <c:pt idx="587">
                  <c:v>1980</c:v>
                </c:pt>
                <c:pt idx="588">
                  <c:v>1980</c:v>
                </c:pt>
                <c:pt idx="589">
                  <c:v>1980</c:v>
                </c:pt>
                <c:pt idx="590">
                  <c:v>1980</c:v>
                </c:pt>
                <c:pt idx="591">
                  <c:v>1980</c:v>
                </c:pt>
                <c:pt idx="592">
                  <c:v>1980</c:v>
                </c:pt>
                <c:pt idx="593">
                  <c:v>1980</c:v>
                </c:pt>
                <c:pt idx="594">
                  <c:v>1980</c:v>
                </c:pt>
                <c:pt idx="595">
                  <c:v>1980</c:v>
                </c:pt>
                <c:pt idx="596">
                  <c:v>1980</c:v>
                </c:pt>
                <c:pt idx="597">
                  <c:v>1980</c:v>
                </c:pt>
                <c:pt idx="598">
                  <c:v>1980</c:v>
                </c:pt>
                <c:pt idx="599">
                  <c:v>1980</c:v>
                </c:pt>
                <c:pt idx="600">
                  <c:v>1980</c:v>
                </c:pt>
                <c:pt idx="601">
                  <c:v>1980</c:v>
                </c:pt>
                <c:pt idx="602">
                  <c:v>1980</c:v>
                </c:pt>
                <c:pt idx="603">
                  <c:v>1980</c:v>
                </c:pt>
                <c:pt idx="604">
                  <c:v>1980</c:v>
                </c:pt>
                <c:pt idx="605">
                  <c:v>1980</c:v>
                </c:pt>
                <c:pt idx="606">
                  <c:v>1980</c:v>
                </c:pt>
                <c:pt idx="607">
                  <c:v>1980</c:v>
                </c:pt>
                <c:pt idx="608">
                  <c:v>1980</c:v>
                </c:pt>
                <c:pt idx="609">
                  <c:v>1980</c:v>
                </c:pt>
                <c:pt idx="610">
                  <c:v>1980</c:v>
                </c:pt>
                <c:pt idx="611">
                  <c:v>1980</c:v>
                </c:pt>
                <c:pt idx="612">
                  <c:v>1980</c:v>
                </c:pt>
                <c:pt idx="613">
                  <c:v>1980</c:v>
                </c:pt>
                <c:pt idx="614">
                  <c:v>1980</c:v>
                </c:pt>
                <c:pt idx="615">
                  <c:v>1980</c:v>
                </c:pt>
                <c:pt idx="616">
                  <c:v>1980</c:v>
                </c:pt>
                <c:pt idx="617">
                  <c:v>1980</c:v>
                </c:pt>
                <c:pt idx="618">
                  <c:v>1980</c:v>
                </c:pt>
                <c:pt idx="619">
                  <c:v>1980</c:v>
                </c:pt>
                <c:pt idx="620">
                  <c:v>1980</c:v>
                </c:pt>
                <c:pt idx="621">
                  <c:v>1980</c:v>
                </c:pt>
                <c:pt idx="622">
                  <c:v>1980</c:v>
                </c:pt>
                <c:pt idx="623">
                  <c:v>1980</c:v>
                </c:pt>
                <c:pt idx="624">
                  <c:v>1980</c:v>
                </c:pt>
                <c:pt idx="625">
                  <c:v>1980</c:v>
                </c:pt>
                <c:pt idx="626">
                  <c:v>1980</c:v>
                </c:pt>
                <c:pt idx="627">
                  <c:v>1980</c:v>
                </c:pt>
                <c:pt idx="628">
                  <c:v>1980</c:v>
                </c:pt>
                <c:pt idx="629">
                  <c:v>1980</c:v>
                </c:pt>
                <c:pt idx="630">
                  <c:v>1980</c:v>
                </c:pt>
                <c:pt idx="631">
                  <c:v>1980</c:v>
                </c:pt>
                <c:pt idx="632">
                  <c:v>1980</c:v>
                </c:pt>
                <c:pt idx="633">
                  <c:v>1980</c:v>
                </c:pt>
                <c:pt idx="634">
                  <c:v>1980</c:v>
                </c:pt>
                <c:pt idx="635">
                  <c:v>1980</c:v>
                </c:pt>
                <c:pt idx="636">
                  <c:v>1980</c:v>
                </c:pt>
                <c:pt idx="637">
                  <c:v>1980</c:v>
                </c:pt>
                <c:pt idx="638">
                  <c:v>1980</c:v>
                </c:pt>
                <c:pt idx="639">
                  <c:v>1980</c:v>
                </c:pt>
                <c:pt idx="640">
                  <c:v>1980</c:v>
                </c:pt>
                <c:pt idx="641">
                  <c:v>1980</c:v>
                </c:pt>
                <c:pt idx="642">
                  <c:v>1980</c:v>
                </c:pt>
                <c:pt idx="643">
                  <c:v>1980</c:v>
                </c:pt>
                <c:pt idx="644">
                  <c:v>1980</c:v>
                </c:pt>
                <c:pt idx="645">
                  <c:v>1650</c:v>
                </c:pt>
                <c:pt idx="646">
                  <c:v>1650</c:v>
                </c:pt>
                <c:pt idx="647">
                  <c:v>1650</c:v>
                </c:pt>
                <c:pt idx="648">
                  <c:v>1650</c:v>
                </c:pt>
                <c:pt idx="649">
                  <c:v>1650</c:v>
                </c:pt>
                <c:pt idx="650">
                  <c:v>1650</c:v>
                </c:pt>
                <c:pt idx="651">
                  <c:v>1650</c:v>
                </c:pt>
                <c:pt idx="652">
                  <c:v>1650</c:v>
                </c:pt>
                <c:pt idx="653">
                  <c:v>1650</c:v>
                </c:pt>
                <c:pt idx="654">
                  <c:v>1650</c:v>
                </c:pt>
                <c:pt idx="655">
                  <c:v>1650</c:v>
                </c:pt>
                <c:pt idx="656">
                  <c:v>1650</c:v>
                </c:pt>
                <c:pt idx="657">
                  <c:v>1650</c:v>
                </c:pt>
                <c:pt idx="658">
                  <c:v>1650</c:v>
                </c:pt>
                <c:pt idx="659">
                  <c:v>1650</c:v>
                </c:pt>
                <c:pt idx="660">
                  <c:v>1650</c:v>
                </c:pt>
                <c:pt idx="661">
                  <c:v>1650</c:v>
                </c:pt>
                <c:pt idx="662">
                  <c:v>1650</c:v>
                </c:pt>
                <c:pt idx="663">
                  <c:v>1650</c:v>
                </c:pt>
                <c:pt idx="664">
                  <c:v>1650</c:v>
                </c:pt>
                <c:pt idx="665">
                  <c:v>1650</c:v>
                </c:pt>
                <c:pt idx="666">
                  <c:v>1400</c:v>
                </c:pt>
                <c:pt idx="667">
                  <c:v>1400</c:v>
                </c:pt>
                <c:pt idx="668">
                  <c:v>1400</c:v>
                </c:pt>
                <c:pt idx="669">
                  <c:v>1400</c:v>
                </c:pt>
                <c:pt idx="670">
                  <c:v>1400</c:v>
                </c:pt>
                <c:pt idx="671">
                  <c:v>1400</c:v>
                </c:pt>
                <c:pt idx="672">
                  <c:v>1400</c:v>
                </c:pt>
                <c:pt idx="673">
                  <c:v>1400</c:v>
                </c:pt>
                <c:pt idx="674">
                  <c:v>1400</c:v>
                </c:pt>
                <c:pt idx="675">
                  <c:v>1400</c:v>
                </c:pt>
                <c:pt idx="676">
                  <c:v>1400</c:v>
                </c:pt>
                <c:pt idx="677">
                  <c:v>1400</c:v>
                </c:pt>
                <c:pt idx="678">
                  <c:v>1400</c:v>
                </c:pt>
                <c:pt idx="679">
                  <c:v>1400</c:v>
                </c:pt>
                <c:pt idx="680">
                  <c:v>1400</c:v>
                </c:pt>
                <c:pt idx="681">
                  <c:v>1400</c:v>
                </c:pt>
                <c:pt idx="682">
                  <c:v>1400</c:v>
                </c:pt>
                <c:pt idx="683">
                  <c:v>1400</c:v>
                </c:pt>
                <c:pt idx="684">
                  <c:v>1400</c:v>
                </c:pt>
                <c:pt idx="685">
                  <c:v>1400</c:v>
                </c:pt>
                <c:pt idx="686">
                  <c:v>1400</c:v>
                </c:pt>
                <c:pt idx="687">
                  <c:v>1400</c:v>
                </c:pt>
                <c:pt idx="688">
                  <c:v>1400</c:v>
                </c:pt>
                <c:pt idx="689">
                  <c:v>1400</c:v>
                </c:pt>
                <c:pt idx="690">
                  <c:v>1300</c:v>
                </c:pt>
                <c:pt idx="691">
                  <c:v>1300</c:v>
                </c:pt>
                <c:pt idx="692">
                  <c:v>1300</c:v>
                </c:pt>
                <c:pt idx="693">
                  <c:v>1300</c:v>
                </c:pt>
                <c:pt idx="694">
                  <c:v>1300</c:v>
                </c:pt>
                <c:pt idx="695">
                  <c:v>1300</c:v>
                </c:pt>
                <c:pt idx="696">
                  <c:v>1300</c:v>
                </c:pt>
                <c:pt idx="697">
                  <c:v>1300</c:v>
                </c:pt>
                <c:pt idx="698">
                  <c:v>1300</c:v>
                </c:pt>
                <c:pt idx="699">
                  <c:v>1300</c:v>
                </c:pt>
                <c:pt idx="700">
                  <c:v>1300</c:v>
                </c:pt>
                <c:pt idx="701">
                  <c:v>1300</c:v>
                </c:pt>
                <c:pt idx="702">
                  <c:v>1300</c:v>
                </c:pt>
                <c:pt idx="703">
                  <c:v>1300</c:v>
                </c:pt>
                <c:pt idx="704">
                  <c:v>1300</c:v>
                </c:pt>
                <c:pt idx="705">
                  <c:v>1300</c:v>
                </c:pt>
                <c:pt idx="706">
                  <c:v>1300</c:v>
                </c:pt>
                <c:pt idx="707">
                  <c:v>1300</c:v>
                </c:pt>
                <c:pt idx="708">
                  <c:v>1300</c:v>
                </c:pt>
                <c:pt idx="709">
                  <c:v>1300</c:v>
                </c:pt>
                <c:pt idx="710">
                  <c:v>1300</c:v>
                </c:pt>
                <c:pt idx="711">
                  <c:v>1500</c:v>
                </c:pt>
                <c:pt idx="712">
                  <c:v>1500</c:v>
                </c:pt>
                <c:pt idx="713">
                  <c:v>1500</c:v>
                </c:pt>
                <c:pt idx="714">
                  <c:v>1500</c:v>
                </c:pt>
                <c:pt idx="715">
                  <c:v>1500</c:v>
                </c:pt>
                <c:pt idx="716">
                  <c:v>1500</c:v>
                </c:pt>
                <c:pt idx="717">
                  <c:v>1500</c:v>
                </c:pt>
                <c:pt idx="718">
                  <c:v>1500</c:v>
                </c:pt>
                <c:pt idx="719">
                  <c:v>1500</c:v>
                </c:pt>
                <c:pt idx="720">
                  <c:v>1500</c:v>
                </c:pt>
                <c:pt idx="721">
                  <c:v>1600</c:v>
                </c:pt>
                <c:pt idx="722">
                  <c:v>1600</c:v>
                </c:pt>
                <c:pt idx="723">
                  <c:v>1600</c:v>
                </c:pt>
                <c:pt idx="724">
                  <c:v>1600</c:v>
                </c:pt>
                <c:pt idx="725">
                  <c:v>1600</c:v>
                </c:pt>
                <c:pt idx="726">
                  <c:v>1600</c:v>
                </c:pt>
                <c:pt idx="727">
                  <c:v>1600</c:v>
                </c:pt>
                <c:pt idx="728">
                  <c:v>1600</c:v>
                </c:pt>
                <c:pt idx="729">
                  <c:v>1600</c:v>
                </c:pt>
                <c:pt idx="730">
                  <c:v>1600</c:v>
                </c:pt>
                <c:pt idx="731">
                  <c:v>1600</c:v>
                </c:pt>
                <c:pt idx="732">
                  <c:v>1600</c:v>
                </c:pt>
                <c:pt idx="733">
                  <c:v>1600</c:v>
                </c:pt>
                <c:pt idx="734">
                  <c:v>1600</c:v>
                </c:pt>
                <c:pt idx="735">
                  <c:v>1600</c:v>
                </c:pt>
                <c:pt idx="736">
                  <c:v>1600</c:v>
                </c:pt>
                <c:pt idx="737">
                  <c:v>1600</c:v>
                </c:pt>
                <c:pt idx="738">
                  <c:v>1600</c:v>
                </c:pt>
                <c:pt idx="739">
                  <c:v>1600</c:v>
                </c:pt>
                <c:pt idx="740">
                  <c:v>1600</c:v>
                </c:pt>
                <c:pt idx="741">
                  <c:v>1600</c:v>
                </c:pt>
                <c:pt idx="742">
                  <c:v>1600</c:v>
                </c:pt>
                <c:pt idx="743">
                  <c:v>1600</c:v>
                </c:pt>
                <c:pt idx="744">
                  <c:v>1600</c:v>
                </c:pt>
                <c:pt idx="745">
                  <c:v>1600</c:v>
                </c:pt>
                <c:pt idx="746">
                  <c:v>1600</c:v>
                </c:pt>
                <c:pt idx="747">
                  <c:v>1600</c:v>
                </c:pt>
              </c:numCache>
            </c:numRef>
          </c:val>
          <c:smooth val="0"/>
          <c:extLst>
            <c:ext xmlns:c16="http://schemas.microsoft.com/office/drawing/2014/chart" uri="{C3380CC4-5D6E-409C-BE32-E72D297353CC}">
              <c16:uniqueId val="{00000002-15E9-49B2-BDB8-F7BEB4306C59}"/>
            </c:ext>
          </c:extLst>
        </c:ser>
        <c:ser>
          <c:idx val="3"/>
          <c:order val="3"/>
          <c:tx>
            <c:strRef>
              <c:f>硅煤价格图表!$AG$2</c:f>
              <c:strCache>
                <c:ptCount val="1"/>
                <c:pt idx="0">
                  <c:v>新疆</c:v>
                </c:pt>
              </c:strCache>
            </c:strRef>
          </c:tx>
          <c:spPr>
            <a:ln w="28575" cap="rnd">
              <a:solidFill>
                <a:schemeClr val="accent4"/>
              </a:solidFill>
              <a:round/>
            </a:ln>
            <a:effectLst/>
          </c:spPr>
          <c:marker>
            <c:symbol val="none"/>
          </c:marker>
          <c:cat>
            <c:numRef>
              <c:f>硅煤价格图表!$AC$3:$AC$978</c:f>
              <c:numCache>
                <c:formatCode>yyyy\-mm\-dd</c:formatCode>
                <c:ptCount val="976"/>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pt idx="738">
                  <c:v>44739</c:v>
                </c:pt>
                <c:pt idx="739">
                  <c:v>44738</c:v>
                </c:pt>
                <c:pt idx="740">
                  <c:v>44737</c:v>
                </c:pt>
                <c:pt idx="741">
                  <c:v>44736</c:v>
                </c:pt>
                <c:pt idx="742">
                  <c:v>44735</c:v>
                </c:pt>
                <c:pt idx="743">
                  <c:v>44734</c:v>
                </c:pt>
                <c:pt idx="744">
                  <c:v>44733</c:v>
                </c:pt>
                <c:pt idx="745">
                  <c:v>44732</c:v>
                </c:pt>
                <c:pt idx="746">
                  <c:v>44731</c:v>
                </c:pt>
                <c:pt idx="747">
                  <c:v>44730</c:v>
                </c:pt>
              </c:numCache>
            </c:numRef>
          </c:cat>
          <c:val>
            <c:numRef>
              <c:f>硅煤价格图表!$AG$3:$AG$978</c:f>
              <c:numCache>
                <c:formatCode>General</c:formatCode>
                <c:ptCount val="976"/>
                <c:pt idx="0">
                  <c:v>2200</c:v>
                </c:pt>
                <c:pt idx="1">
                  <c:v>2200</c:v>
                </c:pt>
                <c:pt idx="2">
                  <c:v>2200</c:v>
                </c:pt>
                <c:pt idx="3">
                  <c:v>2200</c:v>
                </c:pt>
                <c:pt idx="4">
                  <c:v>2200</c:v>
                </c:pt>
                <c:pt idx="5">
                  <c:v>2200</c:v>
                </c:pt>
                <c:pt idx="6">
                  <c:v>2200</c:v>
                </c:pt>
                <c:pt idx="7">
                  <c:v>2200</c:v>
                </c:pt>
                <c:pt idx="8">
                  <c:v>2300</c:v>
                </c:pt>
                <c:pt idx="9">
                  <c:v>2300</c:v>
                </c:pt>
                <c:pt idx="10">
                  <c:v>2300</c:v>
                </c:pt>
                <c:pt idx="11">
                  <c:v>2300</c:v>
                </c:pt>
                <c:pt idx="12">
                  <c:v>2300</c:v>
                </c:pt>
                <c:pt idx="13">
                  <c:v>2300</c:v>
                </c:pt>
                <c:pt idx="14">
                  <c:v>2300</c:v>
                </c:pt>
                <c:pt idx="15">
                  <c:v>2300</c:v>
                </c:pt>
                <c:pt idx="16">
                  <c:v>2300</c:v>
                </c:pt>
                <c:pt idx="17">
                  <c:v>2300</c:v>
                </c:pt>
                <c:pt idx="18">
                  <c:v>2300</c:v>
                </c:pt>
                <c:pt idx="19">
                  <c:v>2300</c:v>
                </c:pt>
                <c:pt idx="20">
                  <c:v>2300</c:v>
                </c:pt>
                <c:pt idx="21">
                  <c:v>2300</c:v>
                </c:pt>
                <c:pt idx="22">
                  <c:v>2300</c:v>
                </c:pt>
                <c:pt idx="23">
                  <c:v>2300</c:v>
                </c:pt>
                <c:pt idx="24">
                  <c:v>2300</c:v>
                </c:pt>
                <c:pt idx="25">
                  <c:v>2300</c:v>
                </c:pt>
                <c:pt idx="26">
                  <c:v>2300</c:v>
                </c:pt>
                <c:pt idx="27">
                  <c:v>2300</c:v>
                </c:pt>
                <c:pt idx="28">
                  <c:v>2300</c:v>
                </c:pt>
                <c:pt idx="29">
                  <c:v>2300</c:v>
                </c:pt>
                <c:pt idx="30">
                  <c:v>2300</c:v>
                </c:pt>
                <c:pt idx="31">
                  <c:v>2300</c:v>
                </c:pt>
                <c:pt idx="32">
                  <c:v>2300</c:v>
                </c:pt>
                <c:pt idx="33">
                  <c:v>2300</c:v>
                </c:pt>
                <c:pt idx="34">
                  <c:v>2300</c:v>
                </c:pt>
                <c:pt idx="35">
                  <c:v>2300</c:v>
                </c:pt>
                <c:pt idx="36">
                  <c:v>2300</c:v>
                </c:pt>
                <c:pt idx="37">
                  <c:v>2300</c:v>
                </c:pt>
                <c:pt idx="38">
                  <c:v>2300</c:v>
                </c:pt>
                <c:pt idx="39">
                  <c:v>2300</c:v>
                </c:pt>
                <c:pt idx="40">
                  <c:v>2300</c:v>
                </c:pt>
                <c:pt idx="41">
                  <c:v>2300</c:v>
                </c:pt>
                <c:pt idx="42">
                  <c:v>2300</c:v>
                </c:pt>
                <c:pt idx="43">
                  <c:v>2300</c:v>
                </c:pt>
                <c:pt idx="44">
                  <c:v>2300</c:v>
                </c:pt>
                <c:pt idx="45">
                  <c:v>2300</c:v>
                </c:pt>
                <c:pt idx="46">
                  <c:v>2300</c:v>
                </c:pt>
                <c:pt idx="47">
                  <c:v>2300</c:v>
                </c:pt>
                <c:pt idx="48">
                  <c:v>2300</c:v>
                </c:pt>
                <c:pt idx="49">
                  <c:v>2300</c:v>
                </c:pt>
                <c:pt idx="50">
                  <c:v>2300</c:v>
                </c:pt>
                <c:pt idx="51">
                  <c:v>2300</c:v>
                </c:pt>
                <c:pt idx="52">
                  <c:v>2300</c:v>
                </c:pt>
                <c:pt idx="53">
                  <c:v>2300</c:v>
                </c:pt>
                <c:pt idx="54">
                  <c:v>2300</c:v>
                </c:pt>
                <c:pt idx="55">
                  <c:v>2300</c:v>
                </c:pt>
                <c:pt idx="56">
                  <c:v>2300</c:v>
                </c:pt>
                <c:pt idx="57">
                  <c:v>2300</c:v>
                </c:pt>
                <c:pt idx="58">
                  <c:v>2300</c:v>
                </c:pt>
                <c:pt idx="59">
                  <c:v>2300</c:v>
                </c:pt>
                <c:pt idx="60">
                  <c:v>2300</c:v>
                </c:pt>
                <c:pt idx="61">
                  <c:v>2300</c:v>
                </c:pt>
                <c:pt idx="62">
                  <c:v>2300</c:v>
                </c:pt>
                <c:pt idx="63">
                  <c:v>2300</c:v>
                </c:pt>
                <c:pt idx="64">
                  <c:v>2300</c:v>
                </c:pt>
                <c:pt idx="65">
                  <c:v>2300</c:v>
                </c:pt>
                <c:pt idx="66">
                  <c:v>2300</c:v>
                </c:pt>
                <c:pt idx="67">
                  <c:v>2300</c:v>
                </c:pt>
                <c:pt idx="68">
                  <c:v>2300</c:v>
                </c:pt>
                <c:pt idx="69">
                  <c:v>2300</c:v>
                </c:pt>
                <c:pt idx="70">
                  <c:v>2300</c:v>
                </c:pt>
                <c:pt idx="71">
                  <c:v>2300</c:v>
                </c:pt>
                <c:pt idx="72">
                  <c:v>2300</c:v>
                </c:pt>
                <c:pt idx="73">
                  <c:v>2300</c:v>
                </c:pt>
                <c:pt idx="74">
                  <c:v>2300</c:v>
                </c:pt>
                <c:pt idx="75">
                  <c:v>2300</c:v>
                </c:pt>
                <c:pt idx="76">
                  <c:v>2300</c:v>
                </c:pt>
                <c:pt idx="77">
                  <c:v>2300</c:v>
                </c:pt>
                <c:pt idx="78">
                  <c:v>2300</c:v>
                </c:pt>
                <c:pt idx="79">
                  <c:v>2300</c:v>
                </c:pt>
                <c:pt idx="80">
                  <c:v>2300</c:v>
                </c:pt>
                <c:pt idx="81">
                  <c:v>2300</c:v>
                </c:pt>
                <c:pt idx="82">
                  <c:v>2300</c:v>
                </c:pt>
                <c:pt idx="83">
                  <c:v>2300</c:v>
                </c:pt>
                <c:pt idx="84">
                  <c:v>2300</c:v>
                </c:pt>
                <c:pt idx="85">
                  <c:v>2300</c:v>
                </c:pt>
                <c:pt idx="86">
                  <c:v>2300</c:v>
                </c:pt>
                <c:pt idx="87">
                  <c:v>2300</c:v>
                </c:pt>
                <c:pt idx="88">
                  <c:v>2300</c:v>
                </c:pt>
                <c:pt idx="89">
                  <c:v>2300</c:v>
                </c:pt>
                <c:pt idx="90">
                  <c:v>2300</c:v>
                </c:pt>
                <c:pt idx="91">
                  <c:v>2300</c:v>
                </c:pt>
                <c:pt idx="92">
                  <c:v>2300</c:v>
                </c:pt>
                <c:pt idx="93">
                  <c:v>2300</c:v>
                </c:pt>
                <c:pt idx="94">
                  <c:v>2300</c:v>
                </c:pt>
                <c:pt idx="95">
                  <c:v>2300</c:v>
                </c:pt>
                <c:pt idx="96">
                  <c:v>2300</c:v>
                </c:pt>
                <c:pt idx="97">
                  <c:v>2300</c:v>
                </c:pt>
                <c:pt idx="98">
                  <c:v>2300</c:v>
                </c:pt>
                <c:pt idx="99">
                  <c:v>2300</c:v>
                </c:pt>
                <c:pt idx="100">
                  <c:v>2300</c:v>
                </c:pt>
                <c:pt idx="101">
                  <c:v>2300</c:v>
                </c:pt>
                <c:pt idx="102">
                  <c:v>2300</c:v>
                </c:pt>
                <c:pt idx="103">
                  <c:v>2300</c:v>
                </c:pt>
                <c:pt idx="104">
                  <c:v>2300</c:v>
                </c:pt>
                <c:pt idx="105">
                  <c:v>2300</c:v>
                </c:pt>
                <c:pt idx="106">
                  <c:v>2550</c:v>
                </c:pt>
                <c:pt idx="107">
                  <c:v>2550</c:v>
                </c:pt>
                <c:pt idx="108">
                  <c:v>2550</c:v>
                </c:pt>
                <c:pt idx="109">
                  <c:v>2550</c:v>
                </c:pt>
                <c:pt idx="110">
                  <c:v>2550</c:v>
                </c:pt>
                <c:pt idx="111">
                  <c:v>2550</c:v>
                </c:pt>
                <c:pt idx="112">
                  <c:v>2550</c:v>
                </c:pt>
                <c:pt idx="113">
                  <c:v>2550</c:v>
                </c:pt>
                <c:pt idx="114">
                  <c:v>2550</c:v>
                </c:pt>
                <c:pt idx="115">
                  <c:v>2550</c:v>
                </c:pt>
                <c:pt idx="116">
                  <c:v>2550</c:v>
                </c:pt>
                <c:pt idx="117">
                  <c:v>2550</c:v>
                </c:pt>
                <c:pt idx="118">
                  <c:v>2550</c:v>
                </c:pt>
                <c:pt idx="119">
                  <c:v>2550</c:v>
                </c:pt>
                <c:pt idx="120">
                  <c:v>2550</c:v>
                </c:pt>
                <c:pt idx="121">
                  <c:v>2550</c:v>
                </c:pt>
                <c:pt idx="122">
                  <c:v>2550</c:v>
                </c:pt>
                <c:pt idx="123">
                  <c:v>2550</c:v>
                </c:pt>
                <c:pt idx="124">
                  <c:v>2550</c:v>
                </c:pt>
                <c:pt idx="125">
                  <c:v>2550</c:v>
                </c:pt>
                <c:pt idx="126">
                  <c:v>2550</c:v>
                </c:pt>
                <c:pt idx="127">
                  <c:v>2550</c:v>
                </c:pt>
                <c:pt idx="128">
                  <c:v>2550</c:v>
                </c:pt>
                <c:pt idx="129">
                  <c:v>2550</c:v>
                </c:pt>
                <c:pt idx="130">
                  <c:v>2550</c:v>
                </c:pt>
                <c:pt idx="131">
                  <c:v>2550</c:v>
                </c:pt>
                <c:pt idx="132">
                  <c:v>2550</c:v>
                </c:pt>
                <c:pt idx="133">
                  <c:v>2550</c:v>
                </c:pt>
                <c:pt idx="134">
                  <c:v>2550</c:v>
                </c:pt>
                <c:pt idx="135">
                  <c:v>2550</c:v>
                </c:pt>
                <c:pt idx="136">
                  <c:v>2550</c:v>
                </c:pt>
                <c:pt idx="137">
                  <c:v>2550</c:v>
                </c:pt>
                <c:pt idx="138">
                  <c:v>2550</c:v>
                </c:pt>
                <c:pt idx="139">
                  <c:v>2550</c:v>
                </c:pt>
                <c:pt idx="140">
                  <c:v>2550</c:v>
                </c:pt>
                <c:pt idx="141">
                  <c:v>2550</c:v>
                </c:pt>
                <c:pt idx="142">
                  <c:v>2550</c:v>
                </c:pt>
                <c:pt idx="143">
                  <c:v>2550</c:v>
                </c:pt>
                <c:pt idx="144">
                  <c:v>2550</c:v>
                </c:pt>
                <c:pt idx="145">
                  <c:v>2550</c:v>
                </c:pt>
                <c:pt idx="146">
                  <c:v>2550</c:v>
                </c:pt>
                <c:pt idx="147">
                  <c:v>2550</c:v>
                </c:pt>
                <c:pt idx="148">
                  <c:v>2550</c:v>
                </c:pt>
                <c:pt idx="149">
                  <c:v>2550</c:v>
                </c:pt>
                <c:pt idx="150">
                  <c:v>2550</c:v>
                </c:pt>
                <c:pt idx="151">
                  <c:v>2550</c:v>
                </c:pt>
                <c:pt idx="152">
                  <c:v>2550</c:v>
                </c:pt>
                <c:pt idx="153">
                  <c:v>2550</c:v>
                </c:pt>
                <c:pt idx="154">
                  <c:v>2550</c:v>
                </c:pt>
                <c:pt idx="155">
                  <c:v>2550</c:v>
                </c:pt>
                <c:pt idx="156">
                  <c:v>2550</c:v>
                </c:pt>
                <c:pt idx="157">
                  <c:v>2550</c:v>
                </c:pt>
                <c:pt idx="158">
                  <c:v>2550</c:v>
                </c:pt>
                <c:pt idx="159">
                  <c:v>2550</c:v>
                </c:pt>
                <c:pt idx="160">
                  <c:v>2550</c:v>
                </c:pt>
                <c:pt idx="161">
                  <c:v>2550</c:v>
                </c:pt>
                <c:pt idx="162">
                  <c:v>2550</c:v>
                </c:pt>
                <c:pt idx="163">
                  <c:v>2550</c:v>
                </c:pt>
                <c:pt idx="164">
                  <c:v>2550</c:v>
                </c:pt>
                <c:pt idx="165">
                  <c:v>2550</c:v>
                </c:pt>
                <c:pt idx="166">
                  <c:v>2550</c:v>
                </c:pt>
                <c:pt idx="167">
                  <c:v>2550</c:v>
                </c:pt>
                <c:pt idx="168">
                  <c:v>2550</c:v>
                </c:pt>
                <c:pt idx="169">
                  <c:v>2550</c:v>
                </c:pt>
                <c:pt idx="170">
                  <c:v>2550</c:v>
                </c:pt>
                <c:pt idx="171">
                  <c:v>2550</c:v>
                </c:pt>
                <c:pt idx="172">
                  <c:v>2550</c:v>
                </c:pt>
                <c:pt idx="173">
                  <c:v>2550</c:v>
                </c:pt>
                <c:pt idx="174">
                  <c:v>2550</c:v>
                </c:pt>
                <c:pt idx="175">
                  <c:v>2550</c:v>
                </c:pt>
                <c:pt idx="176">
                  <c:v>2550</c:v>
                </c:pt>
                <c:pt idx="177">
                  <c:v>2550</c:v>
                </c:pt>
                <c:pt idx="178">
                  <c:v>2550</c:v>
                </c:pt>
                <c:pt idx="179">
                  <c:v>2550</c:v>
                </c:pt>
                <c:pt idx="180">
                  <c:v>2550</c:v>
                </c:pt>
                <c:pt idx="181">
                  <c:v>2550</c:v>
                </c:pt>
                <c:pt idx="182">
                  <c:v>2550</c:v>
                </c:pt>
                <c:pt idx="183">
                  <c:v>2550</c:v>
                </c:pt>
                <c:pt idx="184">
                  <c:v>2550</c:v>
                </c:pt>
                <c:pt idx="185">
                  <c:v>2550</c:v>
                </c:pt>
                <c:pt idx="186">
                  <c:v>2550</c:v>
                </c:pt>
                <c:pt idx="187">
                  <c:v>2550</c:v>
                </c:pt>
                <c:pt idx="188">
                  <c:v>2550</c:v>
                </c:pt>
                <c:pt idx="189">
                  <c:v>2550</c:v>
                </c:pt>
                <c:pt idx="190">
                  <c:v>2550</c:v>
                </c:pt>
                <c:pt idx="191">
                  <c:v>2550</c:v>
                </c:pt>
                <c:pt idx="192">
                  <c:v>2550</c:v>
                </c:pt>
                <c:pt idx="193">
                  <c:v>2550</c:v>
                </c:pt>
                <c:pt idx="194">
                  <c:v>2550</c:v>
                </c:pt>
                <c:pt idx="195">
                  <c:v>2550</c:v>
                </c:pt>
                <c:pt idx="196">
                  <c:v>2550</c:v>
                </c:pt>
                <c:pt idx="197">
                  <c:v>2550</c:v>
                </c:pt>
                <c:pt idx="198">
                  <c:v>2550</c:v>
                </c:pt>
                <c:pt idx="199">
                  <c:v>2550</c:v>
                </c:pt>
                <c:pt idx="200">
                  <c:v>2400</c:v>
                </c:pt>
                <c:pt idx="201">
                  <c:v>2400</c:v>
                </c:pt>
                <c:pt idx="202">
                  <c:v>2400</c:v>
                </c:pt>
                <c:pt idx="203">
                  <c:v>2400</c:v>
                </c:pt>
                <c:pt idx="204">
                  <c:v>2400</c:v>
                </c:pt>
                <c:pt idx="205">
                  <c:v>2400</c:v>
                </c:pt>
                <c:pt idx="206">
                  <c:v>2400</c:v>
                </c:pt>
                <c:pt idx="207">
                  <c:v>2400</c:v>
                </c:pt>
                <c:pt idx="208">
                  <c:v>2400</c:v>
                </c:pt>
                <c:pt idx="209">
                  <c:v>2400</c:v>
                </c:pt>
                <c:pt idx="210">
                  <c:v>2400</c:v>
                </c:pt>
                <c:pt idx="211">
                  <c:v>2200</c:v>
                </c:pt>
                <c:pt idx="212">
                  <c:v>2200</c:v>
                </c:pt>
                <c:pt idx="213">
                  <c:v>2200</c:v>
                </c:pt>
                <c:pt idx="214">
                  <c:v>2200</c:v>
                </c:pt>
                <c:pt idx="215">
                  <c:v>2200</c:v>
                </c:pt>
                <c:pt idx="216">
                  <c:v>2200</c:v>
                </c:pt>
                <c:pt idx="217">
                  <c:v>2200</c:v>
                </c:pt>
                <c:pt idx="218">
                  <c:v>2200</c:v>
                </c:pt>
                <c:pt idx="219">
                  <c:v>2200</c:v>
                </c:pt>
                <c:pt idx="220">
                  <c:v>2200</c:v>
                </c:pt>
                <c:pt idx="221">
                  <c:v>2200</c:v>
                </c:pt>
                <c:pt idx="222">
                  <c:v>2200</c:v>
                </c:pt>
                <c:pt idx="223">
                  <c:v>2200</c:v>
                </c:pt>
                <c:pt idx="224">
                  <c:v>2200</c:v>
                </c:pt>
                <c:pt idx="225">
                  <c:v>2200</c:v>
                </c:pt>
                <c:pt idx="226">
                  <c:v>2200</c:v>
                </c:pt>
                <c:pt idx="227">
                  <c:v>2200</c:v>
                </c:pt>
                <c:pt idx="228">
                  <c:v>2200</c:v>
                </c:pt>
                <c:pt idx="229">
                  <c:v>2200</c:v>
                </c:pt>
                <c:pt idx="230">
                  <c:v>2200</c:v>
                </c:pt>
                <c:pt idx="231">
                  <c:v>2200</c:v>
                </c:pt>
                <c:pt idx="232">
                  <c:v>2150</c:v>
                </c:pt>
                <c:pt idx="233">
                  <c:v>2150</c:v>
                </c:pt>
                <c:pt idx="234">
                  <c:v>2150</c:v>
                </c:pt>
                <c:pt idx="235">
                  <c:v>2150</c:v>
                </c:pt>
                <c:pt idx="236">
                  <c:v>2150</c:v>
                </c:pt>
                <c:pt idx="237">
                  <c:v>2150</c:v>
                </c:pt>
                <c:pt idx="238">
                  <c:v>2150</c:v>
                </c:pt>
                <c:pt idx="239">
                  <c:v>2150</c:v>
                </c:pt>
                <c:pt idx="240">
                  <c:v>2150</c:v>
                </c:pt>
                <c:pt idx="241">
                  <c:v>2150</c:v>
                </c:pt>
                <c:pt idx="242">
                  <c:v>2150</c:v>
                </c:pt>
                <c:pt idx="243">
                  <c:v>2150</c:v>
                </c:pt>
                <c:pt idx="244">
                  <c:v>2150</c:v>
                </c:pt>
                <c:pt idx="245">
                  <c:v>2150</c:v>
                </c:pt>
                <c:pt idx="246">
                  <c:v>2150</c:v>
                </c:pt>
                <c:pt idx="247">
                  <c:v>2150</c:v>
                </c:pt>
                <c:pt idx="248">
                  <c:v>2150</c:v>
                </c:pt>
                <c:pt idx="249">
                  <c:v>2150</c:v>
                </c:pt>
                <c:pt idx="250">
                  <c:v>2150</c:v>
                </c:pt>
                <c:pt idx="251">
                  <c:v>2150</c:v>
                </c:pt>
                <c:pt idx="252">
                  <c:v>2150</c:v>
                </c:pt>
                <c:pt idx="253">
                  <c:v>2150</c:v>
                </c:pt>
                <c:pt idx="254">
                  <c:v>2150</c:v>
                </c:pt>
                <c:pt idx="255">
                  <c:v>2150</c:v>
                </c:pt>
                <c:pt idx="256">
                  <c:v>2150</c:v>
                </c:pt>
                <c:pt idx="257">
                  <c:v>2150</c:v>
                </c:pt>
                <c:pt idx="258">
                  <c:v>2150</c:v>
                </c:pt>
                <c:pt idx="259">
                  <c:v>2150</c:v>
                </c:pt>
                <c:pt idx="260">
                  <c:v>1950</c:v>
                </c:pt>
                <c:pt idx="261">
                  <c:v>1950</c:v>
                </c:pt>
                <c:pt idx="262">
                  <c:v>1950</c:v>
                </c:pt>
                <c:pt idx="263">
                  <c:v>1950</c:v>
                </c:pt>
                <c:pt idx="264">
                  <c:v>1950</c:v>
                </c:pt>
                <c:pt idx="265">
                  <c:v>1950</c:v>
                </c:pt>
                <c:pt idx="266">
                  <c:v>1950</c:v>
                </c:pt>
                <c:pt idx="267">
                  <c:v>1950</c:v>
                </c:pt>
                <c:pt idx="268">
                  <c:v>1950</c:v>
                </c:pt>
                <c:pt idx="269">
                  <c:v>1950</c:v>
                </c:pt>
                <c:pt idx="270">
                  <c:v>1950</c:v>
                </c:pt>
                <c:pt idx="271">
                  <c:v>1950</c:v>
                </c:pt>
                <c:pt idx="272">
                  <c:v>1950</c:v>
                </c:pt>
                <c:pt idx="273">
                  <c:v>1950</c:v>
                </c:pt>
                <c:pt idx="274">
                  <c:v>1950</c:v>
                </c:pt>
                <c:pt idx="275">
                  <c:v>1950</c:v>
                </c:pt>
                <c:pt idx="276">
                  <c:v>1950</c:v>
                </c:pt>
                <c:pt idx="277">
                  <c:v>1950</c:v>
                </c:pt>
                <c:pt idx="278">
                  <c:v>1950</c:v>
                </c:pt>
                <c:pt idx="279">
                  <c:v>1950</c:v>
                </c:pt>
                <c:pt idx="280">
                  <c:v>1950</c:v>
                </c:pt>
                <c:pt idx="281">
                  <c:v>1950</c:v>
                </c:pt>
                <c:pt idx="282">
                  <c:v>1950</c:v>
                </c:pt>
                <c:pt idx="283">
                  <c:v>1950</c:v>
                </c:pt>
                <c:pt idx="284">
                  <c:v>1800</c:v>
                </c:pt>
                <c:pt idx="285">
                  <c:v>1800</c:v>
                </c:pt>
                <c:pt idx="286">
                  <c:v>1800</c:v>
                </c:pt>
                <c:pt idx="287">
                  <c:v>1800</c:v>
                </c:pt>
                <c:pt idx="288">
                  <c:v>1800</c:v>
                </c:pt>
                <c:pt idx="289">
                  <c:v>1800</c:v>
                </c:pt>
                <c:pt idx="290">
                  <c:v>1800</c:v>
                </c:pt>
                <c:pt idx="291">
                  <c:v>1800</c:v>
                </c:pt>
                <c:pt idx="292">
                  <c:v>1800</c:v>
                </c:pt>
                <c:pt idx="293">
                  <c:v>1800</c:v>
                </c:pt>
                <c:pt idx="294">
                  <c:v>1800</c:v>
                </c:pt>
                <c:pt idx="295">
                  <c:v>1800</c:v>
                </c:pt>
                <c:pt idx="296">
                  <c:v>1800</c:v>
                </c:pt>
                <c:pt idx="297">
                  <c:v>1800</c:v>
                </c:pt>
                <c:pt idx="298">
                  <c:v>1800</c:v>
                </c:pt>
                <c:pt idx="299">
                  <c:v>1800</c:v>
                </c:pt>
                <c:pt idx="300">
                  <c:v>1800</c:v>
                </c:pt>
                <c:pt idx="301">
                  <c:v>1800</c:v>
                </c:pt>
                <c:pt idx="302">
                  <c:v>1800</c:v>
                </c:pt>
                <c:pt idx="303">
                  <c:v>1800</c:v>
                </c:pt>
                <c:pt idx="304">
                  <c:v>1800</c:v>
                </c:pt>
                <c:pt idx="305">
                  <c:v>1800</c:v>
                </c:pt>
                <c:pt idx="306">
                  <c:v>1800</c:v>
                </c:pt>
                <c:pt idx="307">
                  <c:v>1800</c:v>
                </c:pt>
                <c:pt idx="308">
                  <c:v>1800</c:v>
                </c:pt>
                <c:pt idx="309">
                  <c:v>1800</c:v>
                </c:pt>
                <c:pt idx="310">
                  <c:v>1800</c:v>
                </c:pt>
                <c:pt idx="311">
                  <c:v>1800</c:v>
                </c:pt>
                <c:pt idx="312">
                  <c:v>1800</c:v>
                </c:pt>
                <c:pt idx="313">
                  <c:v>1800</c:v>
                </c:pt>
                <c:pt idx="314">
                  <c:v>1800</c:v>
                </c:pt>
                <c:pt idx="315">
                  <c:v>1800</c:v>
                </c:pt>
                <c:pt idx="316">
                  <c:v>1800</c:v>
                </c:pt>
                <c:pt idx="317">
                  <c:v>1800</c:v>
                </c:pt>
                <c:pt idx="318">
                  <c:v>1800</c:v>
                </c:pt>
                <c:pt idx="319">
                  <c:v>#N/A</c:v>
                </c:pt>
                <c:pt idx="320">
                  <c:v>#N/A</c:v>
                </c:pt>
                <c:pt idx="321">
                  <c:v>1800</c:v>
                </c:pt>
                <c:pt idx="322">
                  <c:v>1800</c:v>
                </c:pt>
                <c:pt idx="323">
                  <c:v>1800</c:v>
                </c:pt>
                <c:pt idx="324">
                  <c:v>1800</c:v>
                </c:pt>
                <c:pt idx="325">
                  <c:v>1800</c:v>
                </c:pt>
                <c:pt idx="326">
                  <c:v>1800</c:v>
                </c:pt>
                <c:pt idx="327">
                  <c:v>1800</c:v>
                </c:pt>
                <c:pt idx="328">
                  <c:v>1800</c:v>
                </c:pt>
                <c:pt idx="329">
                  <c:v>1800</c:v>
                </c:pt>
                <c:pt idx="330">
                  <c:v>1800</c:v>
                </c:pt>
                <c:pt idx="331">
                  <c:v>1800</c:v>
                </c:pt>
                <c:pt idx="332">
                  <c:v>1800</c:v>
                </c:pt>
                <c:pt idx="333">
                  <c:v>1800</c:v>
                </c:pt>
                <c:pt idx="334">
                  <c:v>1800</c:v>
                </c:pt>
                <c:pt idx="335">
                  <c:v>1800</c:v>
                </c:pt>
                <c:pt idx="336">
                  <c:v>1800</c:v>
                </c:pt>
                <c:pt idx="337">
                  <c:v>1800</c:v>
                </c:pt>
                <c:pt idx="338">
                  <c:v>1800</c:v>
                </c:pt>
                <c:pt idx="339">
                  <c:v>1800</c:v>
                </c:pt>
                <c:pt idx="340">
                  <c:v>1800</c:v>
                </c:pt>
                <c:pt idx="341">
                  <c:v>1800</c:v>
                </c:pt>
                <c:pt idx="342">
                  <c:v>1800</c:v>
                </c:pt>
                <c:pt idx="343">
                  <c:v>1800</c:v>
                </c:pt>
                <c:pt idx="344">
                  <c:v>1800</c:v>
                </c:pt>
                <c:pt idx="345">
                  <c:v>1800</c:v>
                </c:pt>
                <c:pt idx="346">
                  <c:v>1800</c:v>
                </c:pt>
                <c:pt idx="347">
                  <c:v>1800</c:v>
                </c:pt>
                <c:pt idx="348">
                  <c:v>1800</c:v>
                </c:pt>
                <c:pt idx="349">
                  <c:v>1800</c:v>
                </c:pt>
                <c:pt idx="350">
                  <c:v>1800</c:v>
                </c:pt>
                <c:pt idx="351">
                  <c:v>1800</c:v>
                </c:pt>
                <c:pt idx="352">
                  <c:v>1800</c:v>
                </c:pt>
                <c:pt idx="353">
                  <c:v>1800</c:v>
                </c:pt>
                <c:pt idx="354">
                  <c:v>1800</c:v>
                </c:pt>
                <c:pt idx="355">
                  <c:v>1800</c:v>
                </c:pt>
                <c:pt idx="356">
                  <c:v>1800</c:v>
                </c:pt>
                <c:pt idx="357">
                  <c:v>1800</c:v>
                </c:pt>
                <c:pt idx="358">
                  <c:v>1800</c:v>
                </c:pt>
                <c:pt idx="359">
                  <c:v>1800</c:v>
                </c:pt>
                <c:pt idx="360">
                  <c:v>1800</c:v>
                </c:pt>
                <c:pt idx="361">
                  <c:v>1800</c:v>
                </c:pt>
                <c:pt idx="362">
                  <c:v>1800</c:v>
                </c:pt>
                <c:pt idx="363">
                  <c:v>1800</c:v>
                </c:pt>
                <c:pt idx="364">
                  <c:v>1800</c:v>
                </c:pt>
                <c:pt idx="365">
                  <c:v>1800</c:v>
                </c:pt>
                <c:pt idx="366">
                  <c:v>1800</c:v>
                </c:pt>
                <c:pt idx="367">
                  <c:v>1800</c:v>
                </c:pt>
                <c:pt idx="368">
                  <c:v>1800</c:v>
                </c:pt>
                <c:pt idx="369">
                  <c:v>1800</c:v>
                </c:pt>
                <c:pt idx="370">
                  <c:v>1800</c:v>
                </c:pt>
                <c:pt idx="371">
                  <c:v>1800</c:v>
                </c:pt>
                <c:pt idx="372">
                  <c:v>1800</c:v>
                </c:pt>
                <c:pt idx="373">
                  <c:v>1800</c:v>
                </c:pt>
                <c:pt idx="374">
                  <c:v>1800</c:v>
                </c:pt>
                <c:pt idx="375">
                  <c:v>1800</c:v>
                </c:pt>
                <c:pt idx="376">
                  <c:v>1800</c:v>
                </c:pt>
                <c:pt idx="377">
                  <c:v>1800</c:v>
                </c:pt>
                <c:pt idx="378">
                  <c:v>1800</c:v>
                </c:pt>
                <c:pt idx="379">
                  <c:v>1800</c:v>
                </c:pt>
                <c:pt idx="380">
                  <c:v>1800</c:v>
                </c:pt>
                <c:pt idx="381">
                  <c:v>1800</c:v>
                </c:pt>
                <c:pt idx="382">
                  <c:v>1800</c:v>
                </c:pt>
                <c:pt idx="383">
                  <c:v>1800</c:v>
                </c:pt>
                <c:pt idx="384">
                  <c:v>1800</c:v>
                </c:pt>
                <c:pt idx="385">
                  <c:v>1800</c:v>
                </c:pt>
                <c:pt idx="386">
                  <c:v>1900</c:v>
                </c:pt>
                <c:pt idx="387">
                  <c:v>1900</c:v>
                </c:pt>
                <c:pt idx="388">
                  <c:v>1900</c:v>
                </c:pt>
                <c:pt idx="389">
                  <c:v>1900</c:v>
                </c:pt>
                <c:pt idx="390">
                  <c:v>1900</c:v>
                </c:pt>
                <c:pt idx="391">
                  <c:v>1900</c:v>
                </c:pt>
                <c:pt idx="392">
                  <c:v>1900</c:v>
                </c:pt>
                <c:pt idx="393">
                  <c:v>1900</c:v>
                </c:pt>
                <c:pt idx="394">
                  <c:v>1900</c:v>
                </c:pt>
                <c:pt idx="395">
                  <c:v>1900</c:v>
                </c:pt>
                <c:pt idx="396">
                  <c:v>1950</c:v>
                </c:pt>
                <c:pt idx="397">
                  <c:v>1950</c:v>
                </c:pt>
                <c:pt idx="398">
                  <c:v>1950</c:v>
                </c:pt>
                <c:pt idx="399">
                  <c:v>1950</c:v>
                </c:pt>
                <c:pt idx="400">
                  <c:v>1950</c:v>
                </c:pt>
                <c:pt idx="401">
                  <c:v>1950</c:v>
                </c:pt>
                <c:pt idx="402">
                  <c:v>1950</c:v>
                </c:pt>
                <c:pt idx="403">
                  <c:v>1950</c:v>
                </c:pt>
                <c:pt idx="404">
                  <c:v>1950</c:v>
                </c:pt>
                <c:pt idx="405">
                  <c:v>1950</c:v>
                </c:pt>
                <c:pt idx="406">
                  <c:v>1950</c:v>
                </c:pt>
                <c:pt idx="407">
                  <c:v>1950</c:v>
                </c:pt>
                <c:pt idx="408">
                  <c:v>1950</c:v>
                </c:pt>
                <c:pt idx="409">
                  <c:v>1950</c:v>
                </c:pt>
                <c:pt idx="410">
                  <c:v>1950</c:v>
                </c:pt>
                <c:pt idx="411">
                  <c:v>1950</c:v>
                </c:pt>
                <c:pt idx="412">
                  <c:v>1950</c:v>
                </c:pt>
                <c:pt idx="413">
                  <c:v>1950</c:v>
                </c:pt>
                <c:pt idx="414">
                  <c:v>2050</c:v>
                </c:pt>
                <c:pt idx="415">
                  <c:v>2050</c:v>
                </c:pt>
                <c:pt idx="416">
                  <c:v>2050</c:v>
                </c:pt>
                <c:pt idx="417">
                  <c:v>2050</c:v>
                </c:pt>
                <c:pt idx="418">
                  <c:v>2050</c:v>
                </c:pt>
                <c:pt idx="419">
                  <c:v>2050</c:v>
                </c:pt>
                <c:pt idx="420">
                  <c:v>2050</c:v>
                </c:pt>
                <c:pt idx="421">
                  <c:v>2050</c:v>
                </c:pt>
                <c:pt idx="422">
                  <c:v>2050</c:v>
                </c:pt>
                <c:pt idx="423">
                  <c:v>2050</c:v>
                </c:pt>
                <c:pt idx="424">
                  <c:v>2050</c:v>
                </c:pt>
                <c:pt idx="425">
                  <c:v>2050</c:v>
                </c:pt>
                <c:pt idx="426">
                  <c:v>2050</c:v>
                </c:pt>
                <c:pt idx="427">
                  <c:v>2050</c:v>
                </c:pt>
                <c:pt idx="428">
                  <c:v>2050</c:v>
                </c:pt>
                <c:pt idx="429">
                  <c:v>2050</c:v>
                </c:pt>
                <c:pt idx="430">
                  <c:v>2050</c:v>
                </c:pt>
                <c:pt idx="431">
                  <c:v>2050</c:v>
                </c:pt>
                <c:pt idx="432">
                  <c:v>2050</c:v>
                </c:pt>
                <c:pt idx="433">
                  <c:v>2050</c:v>
                </c:pt>
                <c:pt idx="434">
                  <c:v>2050</c:v>
                </c:pt>
                <c:pt idx="435">
                  <c:v>2050</c:v>
                </c:pt>
                <c:pt idx="436">
                  <c:v>2050</c:v>
                </c:pt>
                <c:pt idx="437">
                  <c:v>2050</c:v>
                </c:pt>
                <c:pt idx="438">
                  <c:v>2050</c:v>
                </c:pt>
                <c:pt idx="439">
                  <c:v>2050</c:v>
                </c:pt>
                <c:pt idx="440">
                  <c:v>2050</c:v>
                </c:pt>
                <c:pt idx="441">
                  <c:v>2050</c:v>
                </c:pt>
                <c:pt idx="442">
                  <c:v>2050</c:v>
                </c:pt>
                <c:pt idx="443">
                  <c:v>2200</c:v>
                </c:pt>
                <c:pt idx="444">
                  <c:v>2200</c:v>
                </c:pt>
                <c:pt idx="445">
                  <c:v>2200</c:v>
                </c:pt>
                <c:pt idx="446">
                  <c:v>2200</c:v>
                </c:pt>
                <c:pt idx="447">
                  <c:v>2200</c:v>
                </c:pt>
                <c:pt idx="448">
                  <c:v>2200</c:v>
                </c:pt>
                <c:pt idx="449">
                  <c:v>2200</c:v>
                </c:pt>
                <c:pt idx="450">
                  <c:v>2200</c:v>
                </c:pt>
                <c:pt idx="451">
                  <c:v>2200</c:v>
                </c:pt>
                <c:pt idx="452">
                  <c:v>2200</c:v>
                </c:pt>
                <c:pt idx="453">
                  <c:v>2200</c:v>
                </c:pt>
                <c:pt idx="454">
                  <c:v>2200</c:v>
                </c:pt>
                <c:pt idx="455">
                  <c:v>2200</c:v>
                </c:pt>
                <c:pt idx="456">
                  <c:v>2200</c:v>
                </c:pt>
                <c:pt idx="457">
                  <c:v>2200</c:v>
                </c:pt>
                <c:pt idx="458">
                  <c:v>2200</c:v>
                </c:pt>
                <c:pt idx="459">
                  <c:v>2200</c:v>
                </c:pt>
                <c:pt idx="460">
                  <c:v>2200</c:v>
                </c:pt>
                <c:pt idx="461">
                  <c:v>2200</c:v>
                </c:pt>
                <c:pt idx="462">
                  <c:v>2200</c:v>
                </c:pt>
                <c:pt idx="463">
                  <c:v>2200</c:v>
                </c:pt>
                <c:pt idx="464">
                  <c:v>2200</c:v>
                </c:pt>
                <c:pt idx="465">
                  <c:v>2200</c:v>
                </c:pt>
                <c:pt idx="466">
                  <c:v>2200</c:v>
                </c:pt>
                <c:pt idx="467">
                  <c:v>2200</c:v>
                </c:pt>
                <c:pt idx="468">
                  <c:v>2200</c:v>
                </c:pt>
                <c:pt idx="469">
                  <c:v>2200</c:v>
                </c:pt>
                <c:pt idx="470">
                  <c:v>2200</c:v>
                </c:pt>
                <c:pt idx="471">
                  <c:v>2200</c:v>
                </c:pt>
                <c:pt idx="472">
                  <c:v>2200</c:v>
                </c:pt>
                <c:pt idx="473">
                  <c:v>2200</c:v>
                </c:pt>
                <c:pt idx="474">
                  <c:v>2200</c:v>
                </c:pt>
                <c:pt idx="475">
                  <c:v>2200</c:v>
                </c:pt>
                <c:pt idx="476">
                  <c:v>2200</c:v>
                </c:pt>
                <c:pt idx="477">
                  <c:v>2200</c:v>
                </c:pt>
                <c:pt idx="478">
                  <c:v>2200</c:v>
                </c:pt>
                <c:pt idx="479">
                  <c:v>2200</c:v>
                </c:pt>
                <c:pt idx="480">
                  <c:v>2200</c:v>
                </c:pt>
                <c:pt idx="481">
                  <c:v>2200</c:v>
                </c:pt>
                <c:pt idx="482">
                  <c:v>2200</c:v>
                </c:pt>
                <c:pt idx="483">
                  <c:v>2200</c:v>
                </c:pt>
                <c:pt idx="484">
                  <c:v>2200</c:v>
                </c:pt>
                <c:pt idx="485">
                  <c:v>2200</c:v>
                </c:pt>
                <c:pt idx="486">
                  <c:v>2200</c:v>
                </c:pt>
                <c:pt idx="487">
                  <c:v>2200</c:v>
                </c:pt>
                <c:pt idx="488">
                  <c:v>2200</c:v>
                </c:pt>
                <c:pt idx="489">
                  <c:v>2200</c:v>
                </c:pt>
                <c:pt idx="490">
                  <c:v>2200</c:v>
                </c:pt>
                <c:pt idx="491">
                  <c:v>2200</c:v>
                </c:pt>
                <c:pt idx="492">
                  <c:v>2200</c:v>
                </c:pt>
                <c:pt idx="493">
                  <c:v>2200</c:v>
                </c:pt>
                <c:pt idx="494">
                  <c:v>2200</c:v>
                </c:pt>
                <c:pt idx="495">
                  <c:v>2200</c:v>
                </c:pt>
                <c:pt idx="496">
                  <c:v>2200</c:v>
                </c:pt>
                <c:pt idx="497">
                  <c:v>2200</c:v>
                </c:pt>
                <c:pt idx="498">
                  <c:v>2200</c:v>
                </c:pt>
                <c:pt idx="499">
                  <c:v>2200</c:v>
                </c:pt>
                <c:pt idx="500">
                  <c:v>2200</c:v>
                </c:pt>
                <c:pt idx="501">
                  <c:v>2200</c:v>
                </c:pt>
                <c:pt idx="502">
                  <c:v>2200</c:v>
                </c:pt>
                <c:pt idx="503">
                  <c:v>2200</c:v>
                </c:pt>
                <c:pt idx="504">
                  <c:v>2200</c:v>
                </c:pt>
                <c:pt idx="505">
                  <c:v>2200</c:v>
                </c:pt>
                <c:pt idx="506">
                  <c:v>2200</c:v>
                </c:pt>
                <c:pt idx="507">
                  <c:v>2200</c:v>
                </c:pt>
                <c:pt idx="508">
                  <c:v>2200</c:v>
                </c:pt>
                <c:pt idx="509">
                  <c:v>2200</c:v>
                </c:pt>
                <c:pt idx="510">
                  <c:v>2200</c:v>
                </c:pt>
                <c:pt idx="511">
                  <c:v>2200</c:v>
                </c:pt>
                <c:pt idx="512">
                  <c:v>2200</c:v>
                </c:pt>
                <c:pt idx="513">
                  <c:v>2200</c:v>
                </c:pt>
                <c:pt idx="514">
                  <c:v>2200</c:v>
                </c:pt>
                <c:pt idx="515">
                  <c:v>2200</c:v>
                </c:pt>
                <c:pt idx="516">
                  <c:v>2200</c:v>
                </c:pt>
                <c:pt idx="517">
                  <c:v>2200</c:v>
                </c:pt>
                <c:pt idx="518">
                  <c:v>2200</c:v>
                </c:pt>
                <c:pt idx="519">
                  <c:v>2200</c:v>
                </c:pt>
                <c:pt idx="520">
                  <c:v>2200</c:v>
                </c:pt>
                <c:pt idx="521">
                  <c:v>2200</c:v>
                </c:pt>
                <c:pt idx="522">
                  <c:v>2200</c:v>
                </c:pt>
                <c:pt idx="523">
                  <c:v>2200</c:v>
                </c:pt>
                <c:pt idx="524">
                  <c:v>2200</c:v>
                </c:pt>
                <c:pt idx="525">
                  <c:v>2200</c:v>
                </c:pt>
                <c:pt idx="526">
                  <c:v>2200</c:v>
                </c:pt>
                <c:pt idx="527">
                  <c:v>2200</c:v>
                </c:pt>
                <c:pt idx="528">
                  <c:v>2200</c:v>
                </c:pt>
                <c:pt idx="529">
                  <c:v>2200</c:v>
                </c:pt>
                <c:pt idx="530">
                  <c:v>2200</c:v>
                </c:pt>
                <c:pt idx="531">
                  <c:v>2200</c:v>
                </c:pt>
                <c:pt idx="532">
                  <c:v>2200</c:v>
                </c:pt>
                <c:pt idx="533">
                  <c:v>2200</c:v>
                </c:pt>
                <c:pt idx="534">
                  <c:v>2200</c:v>
                </c:pt>
                <c:pt idx="535">
                  <c:v>2200</c:v>
                </c:pt>
                <c:pt idx="536">
                  <c:v>2200</c:v>
                </c:pt>
                <c:pt idx="537">
                  <c:v>2200</c:v>
                </c:pt>
                <c:pt idx="538">
                  <c:v>2200</c:v>
                </c:pt>
                <c:pt idx="539">
                  <c:v>2200</c:v>
                </c:pt>
                <c:pt idx="540">
                  <c:v>2200</c:v>
                </c:pt>
                <c:pt idx="541">
                  <c:v>2400</c:v>
                </c:pt>
                <c:pt idx="542">
                  <c:v>2400</c:v>
                </c:pt>
                <c:pt idx="543">
                  <c:v>2400</c:v>
                </c:pt>
                <c:pt idx="544">
                  <c:v>2400</c:v>
                </c:pt>
                <c:pt idx="545">
                  <c:v>2400</c:v>
                </c:pt>
                <c:pt idx="546">
                  <c:v>2400</c:v>
                </c:pt>
                <c:pt idx="547">
                  <c:v>2400</c:v>
                </c:pt>
                <c:pt idx="548">
                  <c:v>2400</c:v>
                </c:pt>
                <c:pt idx="549">
                  <c:v>2400</c:v>
                </c:pt>
                <c:pt idx="550">
                  <c:v>2400</c:v>
                </c:pt>
                <c:pt idx="551">
                  <c:v>2400</c:v>
                </c:pt>
                <c:pt idx="552">
                  <c:v>2400</c:v>
                </c:pt>
                <c:pt idx="553">
                  <c:v>2400</c:v>
                </c:pt>
                <c:pt idx="554">
                  <c:v>2400</c:v>
                </c:pt>
                <c:pt idx="555">
                  <c:v>2400</c:v>
                </c:pt>
                <c:pt idx="556">
                  <c:v>2400</c:v>
                </c:pt>
                <c:pt idx="557">
                  <c:v>2400</c:v>
                </c:pt>
                <c:pt idx="558">
                  <c:v>2400</c:v>
                </c:pt>
                <c:pt idx="559">
                  <c:v>2400</c:v>
                </c:pt>
                <c:pt idx="560">
                  <c:v>2400</c:v>
                </c:pt>
                <c:pt idx="561">
                  <c:v>2400</c:v>
                </c:pt>
                <c:pt idx="562">
                  <c:v>2400</c:v>
                </c:pt>
                <c:pt idx="563">
                  <c:v>2400</c:v>
                </c:pt>
                <c:pt idx="564">
                  <c:v>2400</c:v>
                </c:pt>
                <c:pt idx="565">
                  <c:v>2400</c:v>
                </c:pt>
                <c:pt idx="566">
                  <c:v>2400</c:v>
                </c:pt>
                <c:pt idx="567">
                  <c:v>2400</c:v>
                </c:pt>
                <c:pt idx="568">
                  <c:v>2400</c:v>
                </c:pt>
                <c:pt idx="569">
                  <c:v>2400</c:v>
                </c:pt>
                <c:pt idx="570">
                  <c:v>2400</c:v>
                </c:pt>
                <c:pt idx="571">
                  <c:v>2400</c:v>
                </c:pt>
                <c:pt idx="572">
                  <c:v>2400</c:v>
                </c:pt>
                <c:pt idx="573">
                  <c:v>2400</c:v>
                </c:pt>
                <c:pt idx="574">
                  <c:v>2400</c:v>
                </c:pt>
                <c:pt idx="575">
                  <c:v>2400</c:v>
                </c:pt>
                <c:pt idx="576">
                  <c:v>2400</c:v>
                </c:pt>
                <c:pt idx="577">
                  <c:v>2400</c:v>
                </c:pt>
                <c:pt idx="578">
                  <c:v>2400</c:v>
                </c:pt>
                <c:pt idx="579">
                  <c:v>2400</c:v>
                </c:pt>
                <c:pt idx="580">
                  <c:v>2400</c:v>
                </c:pt>
                <c:pt idx="581">
                  <c:v>2400</c:v>
                </c:pt>
                <c:pt idx="582">
                  <c:v>2400</c:v>
                </c:pt>
                <c:pt idx="583">
                  <c:v>2400</c:v>
                </c:pt>
                <c:pt idx="584">
                  <c:v>2400</c:v>
                </c:pt>
                <c:pt idx="585">
                  <c:v>2400</c:v>
                </c:pt>
                <c:pt idx="586">
                  <c:v>2400</c:v>
                </c:pt>
                <c:pt idx="587">
                  <c:v>2400</c:v>
                </c:pt>
                <c:pt idx="588">
                  <c:v>2400</c:v>
                </c:pt>
                <c:pt idx="589">
                  <c:v>2400</c:v>
                </c:pt>
                <c:pt idx="590">
                  <c:v>2400</c:v>
                </c:pt>
                <c:pt idx="591">
                  <c:v>2400</c:v>
                </c:pt>
                <c:pt idx="592">
                  <c:v>2400</c:v>
                </c:pt>
                <c:pt idx="593">
                  <c:v>2400</c:v>
                </c:pt>
                <c:pt idx="594">
                  <c:v>2400</c:v>
                </c:pt>
                <c:pt idx="595">
                  <c:v>2400</c:v>
                </c:pt>
                <c:pt idx="596">
                  <c:v>2400</c:v>
                </c:pt>
                <c:pt idx="597">
                  <c:v>2400</c:v>
                </c:pt>
                <c:pt idx="598">
                  <c:v>2400</c:v>
                </c:pt>
                <c:pt idx="599">
                  <c:v>2400</c:v>
                </c:pt>
                <c:pt idx="600">
                  <c:v>2400</c:v>
                </c:pt>
                <c:pt idx="601">
                  <c:v>2400</c:v>
                </c:pt>
                <c:pt idx="602">
                  <c:v>2400</c:v>
                </c:pt>
                <c:pt idx="603">
                  <c:v>2400</c:v>
                </c:pt>
                <c:pt idx="604">
                  <c:v>2400</c:v>
                </c:pt>
                <c:pt idx="605">
                  <c:v>2400</c:v>
                </c:pt>
                <c:pt idx="606">
                  <c:v>2400</c:v>
                </c:pt>
                <c:pt idx="607">
                  <c:v>2400</c:v>
                </c:pt>
                <c:pt idx="608">
                  <c:v>2400</c:v>
                </c:pt>
                <c:pt idx="609">
                  <c:v>2400</c:v>
                </c:pt>
                <c:pt idx="610">
                  <c:v>2400</c:v>
                </c:pt>
                <c:pt idx="611">
                  <c:v>2300</c:v>
                </c:pt>
                <c:pt idx="612">
                  <c:v>2300</c:v>
                </c:pt>
                <c:pt idx="613">
                  <c:v>2300</c:v>
                </c:pt>
                <c:pt idx="614">
                  <c:v>2300</c:v>
                </c:pt>
                <c:pt idx="615">
                  <c:v>2300</c:v>
                </c:pt>
                <c:pt idx="616">
                  <c:v>2300</c:v>
                </c:pt>
                <c:pt idx="617">
                  <c:v>2300</c:v>
                </c:pt>
                <c:pt idx="618">
                  <c:v>2300</c:v>
                </c:pt>
                <c:pt idx="619">
                  <c:v>2300</c:v>
                </c:pt>
                <c:pt idx="620">
                  <c:v>2300</c:v>
                </c:pt>
                <c:pt idx="621">
                  <c:v>2300</c:v>
                </c:pt>
                <c:pt idx="622">
                  <c:v>2300</c:v>
                </c:pt>
                <c:pt idx="623">
                  <c:v>2300</c:v>
                </c:pt>
                <c:pt idx="624">
                  <c:v>2300</c:v>
                </c:pt>
                <c:pt idx="625">
                  <c:v>2300</c:v>
                </c:pt>
                <c:pt idx="626">
                  <c:v>2300</c:v>
                </c:pt>
                <c:pt idx="627">
                  <c:v>2300</c:v>
                </c:pt>
                <c:pt idx="628">
                  <c:v>2300</c:v>
                </c:pt>
                <c:pt idx="629">
                  <c:v>2300</c:v>
                </c:pt>
                <c:pt idx="630">
                  <c:v>2300</c:v>
                </c:pt>
                <c:pt idx="631">
                  <c:v>2300</c:v>
                </c:pt>
                <c:pt idx="632">
                  <c:v>2200</c:v>
                </c:pt>
                <c:pt idx="633">
                  <c:v>2200</c:v>
                </c:pt>
                <c:pt idx="634">
                  <c:v>2200</c:v>
                </c:pt>
                <c:pt idx="635">
                  <c:v>2200</c:v>
                </c:pt>
                <c:pt idx="636">
                  <c:v>2200</c:v>
                </c:pt>
                <c:pt idx="637">
                  <c:v>2200</c:v>
                </c:pt>
                <c:pt idx="638">
                  <c:v>2200</c:v>
                </c:pt>
                <c:pt idx="639">
                  <c:v>2200</c:v>
                </c:pt>
                <c:pt idx="640">
                  <c:v>2200</c:v>
                </c:pt>
                <c:pt idx="641">
                  <c:v>2200</c:v>
                </c:pt>
                <c:pt idx="642">
                  <c:v>2200</c:v>
                </c:pt>
                <c:pt idx="643">
                  <c:v>2200</c:v>
                </c:pt>
                <c:pt idx="644">
                  <c:v>2200</c:v>
                </c:pt>
                <c:pt idx="645">
                  <c:v>2000</c:v>
                </c:pt>
                <c:pt idx="646">
                  <c:v>2000</c:v>
                </c:pt>
                <c:pt idx="647">
                  <c:v>2000</c:v>
                </c:pt>
                <c:pt idx="648">
                  <c:v>2000</c:v>
                </c:pt>
                <c:pt idx="649">
                  <c:v>2000</c:v>
                </c:pt>
                <c:pt idx="650">
                  <c:v>2000</c:v>
                </c:pt>
                <c:pt idx="651">
                  <c:v>2000</c:v>
                </c:pt>
                <c:pt idx="652">
                  <c:v>2000</c:v>
                </c:pt>
                <c:pt idx="653">
                  <c:v>2000</c:v>
                </c:pt>
                <c:pt idx="654">
                  <c:v>2000</c:v>
                </c:pt>
                <c:pt idx="655">
                  <c:v>2000</c:v>
                </c:pt>
                <c:pt idx="656">
                  <c:v>2000</c:v>
                </c:pt>
                <c:pt idx="657">
                  <c:v>2000</c:v>
                </c:pt>
                <c:pt idx="658">
                  <c:v>2000</c:v>
                </c:pt>
                <c:pt idx="659">
                  <c:v>2000</c:v>
                </c:pt>
                <c:pt idx="660">
                  <c:v>2000</c:v>
                </c:pt>
                <c:pt idx="661">
                  <c:v>2000</c:v>
                </c:pt>
                <c:pt idx="662">
                  <c:v>2000</c:v>
                </c:pt>
                <c:pt idx="663">
                  <c:v>2000</c:v>
                </c:pt>
                <c:pt idx="664">
                  <c:v>2000</c:v>
                </c:pt>
                <c:pt idx="665">
                  <c:v>2000</c:v>
                </c:pt>
                <c:pt idx="666">
                  <c:v>2000</c:v>
                </c:pt>
                <c:pt idx="667">
                  <c:v>2000</c:v>
                </c:pt>
                <c:pt idx="668">
                  <c:v>2000</c:v>
                </c:pt>
                <c:pt idx="669">
                  <c:v>2000</c:v>
                </c:pt>
                <c:pt idx="670">
                  <c:v>2000</c:v>
                </c:pt>
                <c:pt idx="671">
                  <c:v>2000</c:v>
                </c:pt>
                <c:pt idx="672">
                  <c:v>2000</c:v>
                </c:pt>
                <c:pt idx="673">
                  <c:v>2000</c:v>
                </c:pt>
                <c:pt idx="674">
                  <c:v>2000</c:v>
                </c:pt>
                <c:pt idx="675">
                  <c:v>2000</c:v>
                </c:pt>
                <c:pt idx="676">
                  <c:v>2000</c:v>
                </c:pt>
                <c:pt idx="677">
                  <c:v>2000</c:v>
                </c:pt>
                <c:pt idx="678">
                  <c:v>2000</c:v>
                </c:pt>
                <c:pt idx="679">
                  <c:v>2000</c:v>
                </c:pt>
                <c:pt idx="680">
                  <c:v>2000</c:v>
                </c:pt>
                <c:pt idx="681">
                  <c:v>2000</c:v>
                </c:pt>
                <c:pt idx="682">
                  <c:v>2000</c:v>
                </c:pt>
                <c:pt idx="683">
                  <c:v>2000</c:v>
                </c:pt>
                <c:pt idx="684">
                  <c:v>2000</c:v>
                </c:pt>
                <c:pt idx="685">
                  <c:v>2000</c:v>
                </c:pt>
                <c:pt idx="686">
                  <c:v>2000</c:v>
                </c:pt>
                <c:pt idx="687">
                  <c:v>2000</c:v>
                </c:pt>
                <c:pt idx="688">
                  <c:v>2000</c:v>
                </c:pt>
                <c:pt idx="689">
                  <c:v>2000</c:v>
                </c:pt>
                <c:pt idx="690">
                  <c:v>2000</c:v>
                </c:pt>
                <c:pt idx="691">
                  <c:v>2000</c:v>
                </c:pt>
                <c:pt idx="692">
                  <c:v>2000</c:v>
                </c:pt>
                <c:pt idx="693">
                  <c:v>2000</c:v>
                </c:pt>
                <c:pt idx="694">
                  <c:v>2000</c:v>
                </c:pt>
                <c:pt idx="695">
                  <c:v>2000</c:v>
                </c:pt>
                <c:pt idx="696">
                  <c:v>2000</c:v>
                </c:pt>
                <c:pt idx="697">
                  <c:v>2000</c:v>
                </c:pt>
                <c:pt idx="698">
                  <c:v>2000</c:v>
                </c:pt>
                <c:pt idx="699">
                  <c:v>2000</c:v>
                </c:pt>
                <c:pt idx="700">
                  <c:v>2000</c:v>
                </c:pt>
                <c:pt idx="701">
                  <c:v>2000</c:v>
                </c:pt>
                <c:pt idx="702">
                  <c:v>2000</c:v>
                </c:pt>
                <c:pt idx="703">
                  <c:v>2000</c:v>
                </c:pt>
                <c:pt idx="704">
                  <c:v>2000</c:v>
                </c:pt>
                <c:pt idx="705">
                  <c:v>2000</c:v>
                </c:pt>
                <c:pt idx="706">
                  <c:v>2000</c:v>
                </c:pt>
                <c:pt idx="707">
                  <c:v>2000</c:v>
                </c:pt>
                <c:pt idx="708">
                  <c:v>2000</c:v>
                </c:pt>
                <c:pt idx="709">
                  <c:v>2000</c:v>
                </c:pt>
                <c:pt idx="710">
                  <c:v>2000</c:v>
                </c:pt>
                <c:pt idx="711">
                  <c:v>2200</c:v>
                </c:pt>
                <c:pt idx="712">
                  <c:v>2200</c:v>
                </c:pt>
                <c:pt idx="713">
                  <c:v>2200</c:v>
                </c:pt>
                <c:pt idx="714">
                  <c:v>2200</c:v>
                </c:pt>
                <c:pt idx="715">
                  <c:v>2200</c:v>
                </c:pt>
                <c:pt idx="716">
                  <c:v>2200</c:v>
                </c:pt>
                <c:pt idx="717">
                  <c:v>2200</c:v>
                </c:pt>
                <c:pt idx="718">
                  <c:v>2550</c:v>
                </c:pt>
                <c:pt idx="719">
                  <c:v>2550</c:v>
                </c:pt>
                <c:pt idx="720">
                  <c:v>2550</c:v>
                </c:pt>
                <c:pt idx="721">
                  <c:v>2650</c:v>
                </c:pt>
                <c:pt idx="722">
                  <c:v>2650</c:v>
                </c:pt>
                <c:pt idx="723">
                  <c:v>2650</c:v>
                </c:pt>
                <c:pt idx="724">
                  <c:v>2650</c:v>
                </c:pt>
                <c:pt idx="725">
                  <c:v>2650</c:v>
                </c:pt>
                <c:pt idx="726">
                  <c:v>2650</c:v>
                </c:pt>
                <c:pt idx="727">
                  <c:v>2650</c:v>
                </c:pt>
                <c:pt idx="728">
                  <c:v>2650</c:v>
                </c:pt>
                <c:pt idx="729">
                  <c:v>2650</c:v>
                </c:pt>
                <c:pt idx="730">
                  <c:v>2950</c:v>
                </c:pt>
                <c:pt idx="731">
                  <c:v>2950</c:v>
                </c:pt>
                <c:pt idx="732">
                  <c:v>2950</c:v>
                </c:pt>
                <c:pt idx="733">
                  <c:v>2950</c:v>
                </c:pt>
                <c:pt idx="734">
                  <c:v>2950</c:v>
                </c:pt>
                <c:pt idx="735">
                  <c:v>2950</c:v>
                </c:pt>
                <c:pt idx="736">
                  <c:v>2950</c:v>
                </c:pt>
                <c:pt idx="737">
                  <c:v>2950</c:v>
                </c:pt>
                <c:pt idx="738">
                  <c:v>2950</c:v>
                </c:pt>
                <c:pt idx="739">
                  <c:v>2950</c:v>
                </c:pt>
                <c:pt idx="740">
                  <c:v>2950</c:v>
                </c:pt>
                <c:pt idx="741">
                  <c:v>2950</c:v>
                </c:pt>
                <c:pt idx="742">
                  <c:v>2950</c:v>
                </c:pt>
                <c:pt idx="743">
                  <c:v>2950</c:v>
                </c:pt>
                <c:pt idx="744">
                  <c:v>2950</c:v>
                </c:pt>
                <c:pt idx="745">
                  <c:v>2950</c:v>
                </c:pt>
                <c:pt idx="746">
                  <c:v>2950</c:v>
                </c:pt>
                <c:pt idx="747">
                  <c:v>2950</c:v>
                </c:pt>
              </c:numCache>
            </c:numRef>
          </c:val>
          <c:smooth val="0"/>
          <c:extLst>
            <c:ext xmlns:c16="http://schemas.microsoft.com/office/drawing/2014/chart" uri="{C3380CC4-5D6E-409C-BE32-E72D297353CC}">
              <c16:uniqueId val="{00000003-15E9-49B2-BDB8-F7BEB4306C59}"/>
            </c:ext>
          </c:extLst>
        </c:ser>
        <c:dLbls>
          <c:showLegendKey val="0"/>
          <c:showVal val="0"/>
          <c:showCatName val="0"/>
          <c:showSerName val="0"/>
          <c:showPercent val="0"/>
          <c:showBubbleSize val="0"/>
        </c:dLbls>
        <c:smooth val="0"/>
        <c:axId val="74564288"/>
        <c:axId val="74559296"/>
      </c:lineChart>
      <c:dateAx>
        <c:axId val="74564288"/>
        <c:scaling>
          <c:orientation val="minMax"/>
          <c:min val="44927"/>
        </c:scaling>
        <c:delete val="0"/>
        <c:axPos val="b"/>
        <c:numFmt formatCode="yy/m" sourceLinked="0"/>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ea"/>
                <a:sym typeface="+mn-lt"/>
              </a:defRPr>
            </a:pPr>
            <a:endParaRPr lang="zh-CN"/>
          </a:p>
        </c:txPr>
        <c:crossAx val="74559296"/>
        <c:crosses val="autoZero"/>
        <c:auto val="1"/>
        <c:lblOffset val="100"/>
        <c:baseTimeUnit val="days"/>
      </c:dateAx>
      <c:valAx>
        <c:axId val="74559296"/>
        <c:scaling>
          <c:orientation val="minMax"/>
          <c:min val="8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74564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zh-CN"/>
              <a:t>木炭价格</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木炭价格图表!$O$3</c:f>
              <c:strCache>
                <c:ptCount val="1"/>
                <c:pt idx="0">
                  <c:v>云南木炭价格</c:v>
                </c:pt>
              </c:strCache>
            </c:strRef>
          </c:tx>
          <c:spPr>
            <a:ln w="28575" cap="rnd">
              <a:solidFill>
                <a:schemeClr val="bg1">
                  <a:lumMod val="50000"/>
                </a:schemeClr>
              </a:solidFill>
              <a:round/>
            </a:ln>
            <a:effectLst/>
          </c:spPr>
          <c:marker>
            <c:symbol val="none"/>
          </c:marker>
          <c:cat>
            <c:numRef>
              <c:f>木炭价格图表!$N$4:$N$741</c:f>
              <c:numCache>
                <c:formatCode>m/d/yyyy</c:formatCode>
                <c:ptCount val="738"/>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numCache>
            </c:numRef>
          </c:cat>
          <c:val>
            <c:numRef>
              <c:f>木炭价格图表!$O$4:$O$741</c:f>
              <c:numCache>
                <c:formatCode>General</c:formatCode>
                <c:ptCount val="738"/>
                <c:pt idx="0">
                  <c:v>3500</c:v>
                </c:pt>
                <c:pt idx="1">
                  <c:v>3500</c:v>
                </c:pt>
                <c:pt idx="2">
                  <c:v>3500</c:v>
                </c:pt>
                <c:pt idx="3">
                  <c:v>3500</c:v>
                </c:pt>
                <c:pt idx="4">
                  <c:v>3500</c:v>
                </c:pt>
                <c:pt idx="5">
                  <c:v>3500</c:v>
                </c:pt>
                <c:pt idx="6">
                  <c:v>3500</c:v>
                </c:pt>
                <c:pt idx="7">
                  <c:v>3500</c:v>
                </c:pt>
                <c:pt idx="8">
                  <c:v>3500</c:v>
                </c:pt>
                <c:pt idx="9">
                  <c:v>3500</c:v>
                </c:pt>
                <c:pt idx="10">
                  <c:v>3500</c:v>
                </c:pt>
                <c:pt idx="11">
                  <c:v>3500</c:v>
                </c:pt>
                <c:pt idx="12">
                  <c:v>3500</c:v>
                </c:pt>
                <c:pt idx="13">
                  <c:v>3500</c:v>
                </c:pt>
                <c:pt idx="14">
                  <c:v>3500</c:v>
                </c:pt>
                <c:pt idx="15">
                  <c:v>3500</c:v>
                </c:pt>
                <c:pt idx="16">
                  <c:v>3500</c:v>
                </c:pt>
                <c:pt idx="17">
                  <c:v>3500</c:v>
                </c:pt>
                <c:pt idx="18">
                  <c:v>3500</c:v>
                </c:pt>
                <c:pt idx="19">
                  <c:v>3500</c:v>
                </c:pt>
                <c:pt idx="20">
                  <c:v>3500</c:v>
                </c:pt>
                <c:pt idx="21">
                  <c:v>3500</c:v>
                </c:pt>
                <c:pt idx="22">
                  <c:v>3500</c:v>
                </c:pt>
                <c:pt idx="23">
                  <c:v>3500</c:v>
                </c:pt>
                <c:pt idx="24">
                  <c:v>3500</c:v>
                </c:pt>
                <c:pt idx="25">
                  <c:v>3500</c:v>
                </c:pt>
                <c:pt idx="26">
                  <c:v>3500</c:v>
                </c:pt>
                <c:pt idx="27">
                  <c:v>3500</c:v>
                </c:pt>
                <c:pt idx="28">
                  <c:v>3500</c:v>
                </c:pt>
                <c:pt idx="29">
                  <c:v>3500</c:v>
                </c:pt>
                <c:pt idx="30">
                  <c:v>3500</c:v>
                </c:pt>
                <c:pt idx="31">
                  <c:v>3500</c:v>
                </c:pt>
                <c:pt idx="32">
                  <c:v>3500</c:v>
                </c:pt>
                <c:pt idx="33">
                  <c:v>3500</c:v>
                </c:pt>
                <c:pt idx="34">
                  <c:v>3500</c:v>
                </c:pt>
                <c:pt idx="35">
                  <c:v>3500</c:v>
                </c:pt>
                <c:pt idx="36">
                  <c:v>3500</c:v>
                </c:pt>
                <c:pt idx="37">
                  <c:v>3500</c:v>
                </c:pt>
                <c:pt idx="38">
                  <c:v>3500</c:v>
                </c:pt>
                <c:pt idx="39">
                  <c:v>3500</c:v>
                </c:pt>
                <c:pt idx="40">
                  <c:v>3500</c:v>
                </c:pt>
                <c:pt idx="41">
                  <c:v>3500</c:v>
                </c:pt>
                <c:pt idx="42">
                  <c:v>3500</c:v>
                </c:pt>
                <c:pt idx="43">
                  <c:v>3500</c:v>
                </c:pt>
                <c:pt idx="44">
                  <c:v>3500</c:v>
                </c:pt>
                <c:pt idx="45">
                  <c:v>3500</c:v>
                </c:pt>
                <c:pt idx="46">
                  <c:v>3500</c:v>
                </c:pt>
                <c:pt idx="47">
                  <c:v>3500</c:v>
                </c:pt>
                <c:pt idx="48">
                  <c:v>3500</c:v>
                </c:pt>
                <c:pt idx="49">
                  <c:v>3500</c:v>
                </c:pt>
                <c:pt idx="50">
                  <c:v>3500</c:v>
                </c:pt>
                <c:pt idx="51">
                  <c:v>3500</c:v>
                </c:pt>
                <c:pt idx="52">
                  <c:v>3500</c:v>
                </c:pt>
                <c:pt idx="53">
                  <c:v>3500</c:v>
                </c:pt>
                <c:pt idx="54">
                  <c:v>3500</c:v>
                </c:pt>
                <c:pt idx="55">
                  <c:v>3500</c:v>
                </c:pt>
                <c:pt idx="56">
                  <c:v>3500</c:v>
                </c:pt>
                <c:pt idx="57">
                  <c:v>3500</c:v>
                </c:pt>
                <c:pt idx="58">
                  <c:v>3500</c:v>
                </c:pt>
                <c:pt idx="59">
                  <c:v>3500</c:v>
                </c:pt>
                <c:pt idx="60">
                  <c:v>3500</c:v>
                </c:pt>
                <c:pt idx="61">
                  <c:v>3500</c:v>
                </c:pt>
                <c:pt idx="62">
                  <c:v>3500</c:v>
                </c:pt>
                <c:pt idx="63">
                  <c:v>3500</c:v>
                </c:pt>
                <c:pt idx="64">
                  <c:v>3500</c:v>
                </c:pt>
                <c:pt idx="65">
                  <c:v>3500</c:v>
                </c:pt>
                <c:pt idx="66">
                  <c:v>3500</c:v>
                </c:pt>
                <c:pt idx="67">
                  <c:v>3500</c:v>
                </c:pt>
                <c:pt idx="68">
                  <c:v>3500</c:v>
                </c:pt>
                <c:pt idx="69">
                  <c:v>3500</c:v>
                </c:pt>
                <c:pt idx="70">
                  <c:v>3500</c:v>
                </c:pt>
                <c:pt idx="71">
                  <c:v>3500</c:v>
                </c:pt>
                <c:pt idx="72">
                  <c:v>3500</c:v>
                </c:pt>
                <c:pt idx="73">
                  <c:v>3500</c:v>
                </c:pt>
                <c:pt idx="74">
                  <c:v>3500</c:v>
                </c:pt>
                <c:pt idx="75">
                  <c:v>3500</c:v>
                </c:pt>
                <c:pt idx="76">
                  <c:v>3500</c:v>
                </c:pt>
                <c:pt idx="77">
                  <c:v>3500</c:v>
                </c:pt>
                <c:pt idx="78">
                  <c:v>3500</c:v>
                </c:pt>
                <c:pt idx="79">
                  <c:v>3500</c:v>
                </c:pt>
                <c:pt idx="80">
                  <c:v>3500</c:v>
                </c:pt>
                <c:pt idx="81">
                  <c:v>3500</c:v>
                </c:pt>
                <c:pt idx="82">
                  <c:v>3500</c:v>
                </c:pt>
                <c:pt idx="83">
                  <c:v>3500</c:v>
                </c:pt>
                <c:pt idx="84">
                  <c:v>3500</c:v>
                </c:pt>
                <c:pt idx="85">
                  <c:v>3500</c:v>
                </c:pt>
                <c:pt idx="86">
                  <c:v>3500</c:v>
                </c:pt>
                <c:pt idx="87">
                  <c:v>3500</c:v>
                </c:pt>
                <c:pt idx="88">
                  <c:v>3500</c:v>
                </c:pt>
                <c:pt idx="89">
                  <c:v>3500</c:v>
                </c:pt>
                <c:pt idx="90">
                  <c:v>3500</c:v>
                </c:pt>
                <c:pt idx="91">
                  <c:v>3500</c:v>
                </c:pt>
                <c:pt idx="92">
                  <c:v>3500</c:v>
                </c:pt>
                <c:pt idx="93">
                  <c:v>3500</c:v>
                </c:pt>
                <c:pt idx="94">
                  <c:v>3500</c:v>
                </c:pt>
                <c:pt idx="95">
                  <c:v>3500</c:v>
                </c:pt>
                <c:pt idx="96">
                  <c:v>3500</c:v>
                </c:pt>
                <c:pt idx="97">
                  <c:v>3500</c:v>
                </c:pt>
                <c:pt idx="98">
                  <c:v>3500</c:v>
                </c:pt>
                <c:pt idx="99">
                  <c:v>3500</c:v>
                </c:pt>
                <c:pt idx="100">
                  <c:v>3500</c:v>
                </c:pt>
                <c:pt idx="101">
                  <c:v>3500</c:v>
                </c:pt>
                <c:pt idx="102">
                  <c:v>3500</c:v>
                </c:pt>
                <c:pt idx="103">
                  <c:v>3500</c:v>
                </c:pt>
                <c:pt idx="104">
                  <c:v>3500</c:v>
                </c:pt>
                <c:pt idx="105">
                  <c:v>3500</c:v>
                </c:pt>
                <c:pt idx="106">
                  <c:v>3500</c:v>
                </c:pt>
                <c:pt idx="107">
                  <c:v>3500</c:v>
                </c:pt>
                <c:pt idx="108">
                  <c:v>3500</c:v>
                </c:pt>
                <c:pt idx="109">
                  <c:v>3500</c:v>
                </c:pt>
                <c:pt idx="110">
                  <c:v>3500</c:v>
                </c:pt>
                <c:pt idx="111">
                  <c:v>3500</c:v>
                </c:pt>
                <c:pt idx="112">
                  <c:v>3500</c:v>
                </c:pt>
                <c:pt idx="113">
                  <c:v>3500</c:v>
                </c:pt>
                <c:pt idx="114">
                  <c:v>3500</c:v>
                </c:pt>
                <c:pt idx="115">
                  <c:v>3500</c:v>
                </c:pt>
                <c:pt idx="116">
                  <c:v>3500</c:v>
                </c:pt>
                <c:pt idx="117">
                  <c:v>3500</c:v>
                </c:pt>
                <c:pt idx="118">
                  <c:v>3500</c:v>
                </c:pt>
                <c:pt idx="119">
                  <c:v>3500</c:v>
                </c:pt>
                <c:pt idx="120">
                  <c:v>3500</c:v>
                </c:pt>
                <c:pt idx="121">
                  <c:v>3500</c:v>
                </c:pt>
                <c:pt idx="122">
                  <c:v>3500</c:v>
                </c:pt>
                <c:pt idx="123">
                  <c:v>3500</c:v>
                </c:pt>
                <c:pt idx="124">
                  <c:v>3500</c:v>
                </c:pt>
                <c:pt idx="125">
                  <c:v>3500</c:v>
                </c:pt>
                <c:pt idx="126">
                  <c:v>3500</c:v>
                </c:pt>
                <c:pt idx="127">
                  <c:v>3500</c:v>
                </c:pt>
                <c:pt idx="128">
                  <c:v>3500</c:v>
                </c:pt>
                <c:pt idx="129">
                  <c:v>3500</c:v>
                </c:pt>
                <c:pt idx="130">
                  <c:v>3500</c:v>
                </c:pt>
                <c:pt idx="131">
                  <c:v>3500</c:v>
                </c:pt>
                <c:pt idx="132">
                  <c:v>3500</c:v>
                </c:pt>
                <c:pt idx="133">
                  <c:v>3500</c:v>
                </c:pt>
                <c:pt idx="134">
                  <c:v>3500</c:v>
                </c:pt>
                <c:pt idx="135">
                  <c:v>3500</c:v>
                </c:pt>
                <c:pt idx="136">
                  <c:v>3500</c:v>
                </c:pt>
                <c:pt idx="137">
                  <c:v>3500</c:v>
                </c:pt>
                <c:pt idx="138">
                  <c:v>3500</c:v>
                </c:pt>
                <c:pt idx="139">
                  <c:v>3500</c:v>
                </c:pt>
                <c:pt idx="140">
                  <c:v>3500</c:v>
                </c:pt>
                <c:pt idx="141">
                  <c:v>3500</c:v>
                </c:pt>
                <c:pt idx="142">
                  <c:v>3500</c:v>
                </c:pt>
                <c:pt idx="143">
                  <c:v>3500</c:v>
                </c:pt>
                <c:pt idx="144">
                  <c:v>3500</c:v>
                </c:pt>
                <c:pt idx="145">
                  <c:v>3500</c:v>
                </c:pt>
                <c:pt idx="146">
                  <c:v>3500</c:v>
                </c:pt>
                <c:pt idx="147">
                  <c:v>3500</c:v>
                </c:pt>
                <c:pt idx="148">
                  <c:v>3500</c:v>
                </c:pt>
                <c:pt idx="149">
                  <c:v>3500</c:v>
                </c:pt>
                <c:pt idx="150">
                  <c:v>3500</c:v>
                </c:pt>
                <c:pt idx="151">
                  <c:v>3500</c:v>
                </c:pt>
                <c:pt idx="152">
                  <c:v>3500</c:v>
                </c:pt>
                <c:pt idx="153">
                  <c:v>3500</c:v>
                </c:pt>
                <c:pt idx="154">
                  <c:v>3500</c:v>
                </c:pt>
                <c:pt idx="155">
                  <c:v>3500</c:v>
                </c:pt>
                <c:pt idx="156">
                  <c:v>3500</c:v>
                </c:pt>
                <c:pt idx="157">
                  <c:v>3500</c:v>
                </c:pt>
                <c:pt idx="158">
                  <c:v>3500</c:v>
                </c:pt>
                <c:pt idx="159">
                  <c:v>3500</c:v>
                </c:pt>
                <c:pt idx="160">
                  <c:v>3500</c:v>
                </c:pt>
                <c:pt idx="161">
                  <c:v>3500</c:v>
                </c:pt>
                <c:pt idx="162">
                  <c:v>3500</c:v>
                </c:pt>
                <c:pt idx="163">
                  <c:v>3500</c:v>
                </c:pt>
                <c:pt idx="164">
                  <c:v>3500</c:v>
                </c:pt>
                <c:pt idx="165">
                  <c:v>3500</c:v>
                </c:pt>
                <c:pt idx="166">
                  <c:v>3500</c:v>
                </c:pt>
                <c:pt idx="167">
                  <c:v>3500</c:v>
                </c:pt>
                <c:pt idx="168">
                  <c:v>3500</c:v>
                </c:pt>
                <c:pt idx="169">
                  <c:v>3500</c:v>
                </c:pt>
                <c:pt idx="170">
                  <c:v>3500</c:v>
                </c:pt>
                <c:pt idx="171">
                  <c:v>3500</c:v>
                </c:pt>
                <c:pt idx="172">
                  <c:v>3500</c:v>
                </c:pt>
                <c:pt idx="173">
                  <c:v>3500</c:v>
                </c:pt>
                <c:pt idx="174">
                  <c:v>3500</c:v>
                </c:pt>
                <c:pt idx="175">
                  <c:v>3500</c:v>
                </c:pt>
                <c:pt idx="176">
                  <c:v>3500</c:v>
                </c:pt>
                <c:pt idx="177">
                  <c:v>3500</c:v>
                </c:pt>
                <c:pt idx="178">
                  <c:v>3500</c:v>
                </c:pt>
                <c:pt idx="179">
                  <c:v>3500</c:v>
                </c:pt>
                <c:pt idx="180">
                  <c:v>3500</c:v>
                </c:pt>
                <c:pt idx="181">
                  <c:v>3500</c:v>
                </c:pt>
                <c:pt idx="182">
                  <c:v>3500</c:v>
                </c:pt>
                <c:pt idx="183">
                  <c:v>3500</c:v>
                </c:pt>
                <c:pt idx="184">
                  <c:v>3500</c:v>
                </c:pt>
                <c:pt idx="185">
                  <c:v>3500</c:v>
                </c:pt>
                <c:pt idx="186">
                  <c:v>3500</c:v>
                </c:pt>
                <c:pt idx="187">
                  <c:v>3500</c:v>
                </c:pt>
                <c:pt idx="188">
                  <c:v>3500</c:v>
                </c:pt>
                <c:pt idx="189">
                  <c:v>3500</c:v>
                </c:pt>
                <c:pt idx="190">
                  <c:v>3500</c:v>
                </c:pt>
                <c:pt idx="191">
                  <c:v>3500</c:v>
                </c:pt>
                <c:pt idx="192">
                  <c:v>3500</c:v>
                </c:pt>
                <c:pt idx="193">
                  <c:v>3500</c:v>
                </c:pt>
                <c:pt idx="194">
                  <c:v>3500</c:v>
                </c:pt>
                <c:pt idx="195">
                  <c:v>3500</c:v>
                </c:pt>
                <c:pt idx="196">
                  <c:v>3500</c:v>
                </c:pt>
                <c:pt idx="197">
                  <c:v>3500</c:v>
                </c:pt>
                <c:pt idx="198">
                  <c:v>3500</c:v>
                </c:pt>
                <c:pt idx="199">
                  <c:v>3500</c:v>
                </c:pt>
                <c:pt idx="200">
                  <c:v>3500</c:v>
                </c:pt>
                <c:pt idx="201">
                  <c:v>3500</c:v>
                </c:pt>
                <c:pt idx="202">
                  <c:v>3500</c:v>
                </c:pt>
                <c:pt idx="203">
                  <c:v>3500</c:v>
                </c:pt>
                <c:pt idx="204">
                  <c:v>3500</c:v>
                </c:pt>
                <c:pt idx="205">
                  <c:v>3500</c:v>
                </c:pt>
                <c:pt idx="206">
                  <c:v>3500</c:v>
                </c:pt>
                <c:pt idx="207">
                  <c:v>3500</c:v>
                </c:pt>
                <c:pt idx="208">
                  <c:v>3500</c:v>
                </c:pt>
                <c:pt idx="209">
                  <c:v>3500</c:v>
                </c:pt>
                <c:pt idx="210">
                  <c:v>3500</c:v>
                </c:pt>
                <c:pt idx="211">
                  <c:v>3500</c:v>
                </c:pt>
                <c:pt idx="212">
                  <c:v>3500</c:v>
                </c:pt>
                <c:pt idx="213">
                  <c:v>3500</c:v>
                </c:pt>
                <c:pt idx="214">
                  <c:v>3500</c:v>
                </c:pt>
                <c:pt idx="215">
                  <c:v>3500</c:v>
                </c:pt>
                <c:pt idx="216">
                  <c:v>3500</c:v>
                </c:pt>
                <c:pt idx="217">
                  <c:v>3500</c:v>
                </c:pt>
                <c:pt idx="218">
                  <c:v>3500</c:v>
                </c:pt>
                <c:pt idx="219">
                  <c:v>3500</c:v>
                </c:pt>
                <c:pt idx="220">
                  <c:v>3500</c:v>
                </c:pt>
                <c:pt idx="221">
                  <c:v>3500</c:v>
                </c:pt>
                <c:pt idx="222">
                  <c:v>3500</c:v>
                </c:pt>
                <c:pt idx="223">
                  <c:v>3500</c:v>
                </c:pt>
                <c:pt idx="224">
                  <c:v>3500</c:v>
                </c:pt>
                <c:pt idx="225">
                  <c:v>3500</c:v>
                </c:pt>
                <c:pt idx="226">
                  <c:v>3500</c:v>
                </c:pt>
                <c:pt idx="227">
                  <c:v>3500</c:v>
                </c:pt>
                <c:pt idx="228">
                  <c:v>3500</c:v>
                </c:pt>
                <c:pt idx="229">
                  <c:v>3500</c:v>
                </c:pt>
                <c:pt idx="230">
                  <c:v>3500</c:v>
                </c:pt>
                <c:pt idx="231">
                  <c:v>3500</c:v>
                </c:pt>
                <c:pt idx="232">
                  <c:v>3500</c:v>
                </c:pt>
                <c:pt idx="233">
                  <c:v>3500</c:v>
                </c:pt>
                <c:pt idx="234">
                  <c:v>3500</c:v>
                </c:pt>
                <c:pt idx="235">
                  <c:v>3500</c:v>
                </c:pt>
                <c:pt idx="236">
                  <c:v>3500</c:v>
                </c:pt>
                <c:pt idx="237">
                  <c:v>3500</c:v>
                </c:pt>
                <c:pt idx="238">
                  <c:v>3500</c:v>
                </c:pt>
                <c:pt idx="239">
                  <c:v>3500</c:v>
                </c:pt>
                <c:pt idx="240">
                  <c:v>3500</c:v>
                </c:pt>
                <c:pt idx="241">
                  <c:v>3500</c:v>
                </c:pt>
                <c:pt idx="242">
                  <c:v>3500</c:v>
                </c:pt>
                <c:pt idx="243">
                  <c:v>3500</c:v>
                </c:pt>
                <c:pt idx="244">
                  <c:v>3500</c:v>
                </c:pt>
                <c:pt idx="245">
                  <c:v>3500</c:v>
                </c:pt>
                <c:pt idx="246">
                  <c:v>3500</c:v>
                </c:pt>
                <c:pt idx="247">
                  <c:v>3500</c:v>
                </c:pt>
                <c:pt idx="248">
                  <c:v>3500</c:v>
                </c:pt>
                <c:pt idx="249">
                  <c:v>3500</c:v>
                </c:pt>
                <c:pt idx="250">
                  <c:v>3500</c:v>
                </c:pt>
                <c:pt idx="251">
                  <c:v>3500</c:v>
                </c:pt>
                <c:pt idx="252">
                  <c:v>3500</c:v>
                </c:pt>
                <c:pt idx="253">
                  <c:v>3500</c:v>
                </c:pt>
                <c:pt idx="254">
                  <c:v>3500</c:v>
                </c:pt>
                <c:pt idx="255">
                  <c:v>3500</c:v>
                </c:pt>
                <c:pt idx="256">
                  <c:v>3500</c:v>
                </c:pt>
                <c:pt idx="257">
                  <c:v>3500</c:v>
                </c:pt>
                <c:pt idx="258">
                  <c:v>3500</c:v>
                </c:pt>
                <c:pt idx="259">
                  <c:v>3500</c:v>
                </c:pt>
                <c:pt idx="260">
                  <c:v>3500</c:v>
                </c:pt>
                <c:pt idx="261">
                  <c:v>3500</c:v>
                </c:pt>
                <c:pt idx="262">
                  <c:v>3500</c:v>
                </c:pt>
                <c:pt idx="263">
                  <c:v>3500</c:v>
                </c:pt>
                <c:pt idx="264">
                  <c:v>3500</c:v>
                </c:pt>
                <c:pt idx="265">
                  <c:v>3500</c:v>
                </c:pt>
                <c:pt idx="266">
                  <c:v>3500</c:v>
                </c:pt>
                <c:pt idx="267">
                  <c:v>3500</c:v>
                </c:pt>
                <c:pt idx="268">
                  <c:v>3500</c:v>
                </c:pt>
                <c:pt idx="269">
                  <c:v>3500</c:v>
                </c:pt>
                <c:pt idx="270">
                  <c:v>3500</c:v>
                </c:pt>
                <c:pt idx="271">
                  <c:v>3500</c:v>
                </c:pt>
                <c:pt idx="272">
                  <c:v>3500</c:v>
                </c:pt>
                <c:pt idx="273">
                  <c:v>3500</c:v>
                </c:pt>
                <c:pt idx="274">
                  <c:v>3500</c:v>
                </c:pt>
                <c:pt idx="275">
                  <c:v>3500</c:v>
                </c:pt>
                <c:pt idx="276">
                  <c:v>3500</c:v>
                </c:pt>
                <c:pt idx="277">
                  <c:v>3500</c:v>
                </c:pt>
                <c:pt idx="278">
                  <c:v>3500</c:v>
                </c:pt>
                <c:pt idx="279">
                  <c:v>3500</c:v>
                </c:pt>
                <c:pt idx="280">
                  <c:v>3500</c:v>
                </c:pt>
                <c:pt idx="281">
                  <c:v>3500</c:v>
                </c:pt>
                <c:pt idx="282">
                  <c:v>3500</c:v>
                </c:pt>
                <c:pt idx="283">
                  <c:v>3500</c:v>
                </c:pt>
                <c:pt idx="284">
                  <c:v>3500</c:v>
                </c:pt>
                <c:pt idx="285">
                  <c:v>3500</c:v>
                </c:pt>
                <c:pt idx="286">
                  <c:v>3500</c:v>
                </c:pt>
                <c:pt idx="287">
                  <c:v>3500</c:v>
                </c:pt>
                <c:pt idx="288">
                  <c:v>3500</c:v>
                </c:pt>
                <c:pt idx="289">
                  <c:v>3500</c:v>
                </c:pt>
                <c:pt idx="290">
                  <c:v>3500</c:v>
                </c:pt>
                <c:pt idx="291">
                  <c:v>3500</c:v>
                </c:pt>
                <c:pt idx="292">
                  <c:v>3500</c:v>
                </c:pt>
                <c:pt idx="293">
                  <c:v>3500</c:v>
                </c:pt>
                <c:pt idx="294">
                  <c:v>3500</c:v>
                </c:pt>
                <c:pt idx="295">
                  <c:v>3500</c:v>
                </c:pt>
                <c:pt idx="296">
                  <c:v>3500</c:v>
                </c:pt>
                <c:pt idx="297">
                  <c:v>3500</c:v>
                </c:pt>
                <c:pt idx="298">
                  <c:v>3500</c:v>
                </c:pt>
                <c:pt idx="299">
                  <c:v>3500</c:v>
                </c:pt>
                <c:pt idx="300">
                  <c:v>3500</c:v>
                </c:pt>
                <c:pt idx="301">
                  <c:v>3500</c:v>
                </c:pt>
                <c:pt idx="302">
                  <c:v>3500</c:v>
                </c:pt>
                <c:pt idx="303">
                  <c:v>3500</c:v>
                </c:pt>
                <c:pt idx="304">
                  <c:v>3500</c:v>
                </c:pt>
                <c:pt idx="305">
                  <c:v>3500</c:v>
                </c:pt>
                <c:pt idx="306">
                  <c:v>3500</c:v>
                </c:pt>
                <c:pt idx="307">
                  <c:v>3500</c:v>
                </c:pt>
                <c:pt idx="308">
                  <c:v>3500</c:v>
                </c:pt>
                <c:pt idx="309">
                  <c:v>3500</c:v>
                </c:pt>
                <c:pt idx="310">
                  <c:v>3500</c:v>
                </c:pt>
                <c:pt idx="311">
                  <c:v>3500</c:v>
                </c:pt>
                <c:pt idx="312">
                  <c:v>3500</c:v>
                </c:pt>
                <c:pt idx="313">
                  <c:v>3500</c:v>
                </c:pt>
                <c:pt idx="314">
                  <c:v>3500</c:v>
                </c:pt>
                <c:pt idx="315">
                  <c:v>3500</c:v>
                </c:pt>
                <c:pt idx="316">
                  <c:v>3500</c:v>
                </c:pt>
                <c:pt idx="317">
                  <c:v>3500</c:v>
                </c:pt>
                <c:pt idx="318">
                  <c:v>3500</c:v>
                </c:pt>
                <c:pt idx="319">
                  <c:v>#N/A</c:v>
                </c:pt>
                <c:pt idx="320">
                  <c:v>#N/A</c:v>
                </c:pt>
                <c:pt idx="321">
                  <c:v>3500</c:v>
                </c:pt>
                <c:pt idx="322">
                  <c:v>3500</c:v>
                </c:pt>
                <c:pt idx="323">
                  <c:v>3500</c:v>
                </c:pt>
                <c:pt idx="324">
                  <c:v>3500</c:v>
                </c:pt>
                <c:pt idx="325">
                  <c:v>3500</c:v>
                </c:pt>
                <c:pt idx="326">
                  <c:v>3500</c:v>
                </c:pt>
                <c:pt idx="327">
                  <c:v>3500</c:v>
                </c:pt>
                <c:pt idx="328">
                  <c:v>3500</c:v>
                </c:pt>
                <c:pt idx="329">
                  <c:v>3500</c:v>
                </c:pt>
                <c:pt idx="330">
                  <c:v>3500</c:v>
                </c:pt>
                <c:pt idx="331">
                  <c:v>3500</c:v>
                </c:pt>
                <c:pt idx="332">
                  <c:v>3500</c:v>
                </c:pt>
                <c:pt idx="333">
                  <c:v>3500</c:v>
                </c:pt>
                <c:pt idx="334">
                  <c:v>3500</c:v>
                </c:pt>
                <c:pt idx="335">
                  <c:v>3500</c:v>
                </c:pt>
                <c:pt idx="336">
                  <c:v>3500</c:v>
                </c:pt>
                <c:pt idx="337">
                  <c:v>3500</c:v>
                </c:pt>
                <c:pt idx="338">
                  <c:v>3500</c:v>
                </c:pt>
                <c:pt idx="339">
                  <c:v>3500</c:v>
                </c:pt>
                <c:pt idx="340">
                  <c:v>3500</c:v>
                </c:pt>
                <c:pt idx="341">
                  <c:v>3500</c:v>
                </c:pt>
                <c:pt idx="342">
                  <c:v>3500</c:v>
                </c:pt>
                <c:pt idx="343">
                  <c:v>3500</c:v>
                </c:pt>
                <c:pt idx="344">
                  <c:v>3500</c:v>
                </c:pt>
                <c:pt idx="345">
                  <c:v>3500</c:v>
                </c:pt>
                <c:pt idx="346">
                  <c:v>3500</c:v>
                </c:pt>
                <c:pt idx="347">
                  <c:v>3500</c:v>
                </c:pt>
                <c:pt idx="348">
                  <c:v>3500</c:v>
                </c:pt>
                <c:pt idx="349">
                  <c:v>3500</c:v>
                </c:pt>
                <c:pt idx="350">
                  <c:v>3500</c:v>
                </c:pt>
                <c:pt idx="351">
                  <c:v>3500</c:v>
                </c:pt>
                <c:pt idx="352">
                  <c:v>3500</c:v>
                </c:pt>
                <c:pt idx="353">
                  <c:v>3500</c:v>
                </c:pt>
                <c:pt idx="354">
                  <c:v>3500</c:v>
                </c:pt>
                <c:pt idx="355">
                  <c:v>3500</c:v>
                </c:pt>
                <c:pt idx="356">
                  <c:v>3500</c:v>
                </c:pt>
                <c:pt idx="357">
                  <c:v>3500</c:v>
                </c:pt>
                <c:pt idx="358">
                  <c:v>3500</c:v>
                </c:pt>
                <c:pt idx="359">
                  <c:v>3500</c:v>
                </c:pt>
                <c:pt idx="360">
                  <c:v>3500</c:v>
                </c:pt>
                <c:pt idx="361">
                  <c:v>3500</c:v>
                </c:pt>
                <c:pt idx="362">
                  <c:v>3500</c:v>
                </c:pt>
                <c:pt idx="363">
                  <c:v>3500</c:v>
                </c:pt>
                <c:pt idx="364">
                  <c:v>3500</c:v>
                </c:pt>
                <c:pt idx="365">
                  <c:v>3500</c:v>
                </c:pt>
                <c:pt idx="366">
                  <c:v>3500</c:v>
                </c:pt>
                <c:pt idx="367">
                  <c:v>3500</c:v>
                </c:pt>
                <c:pt idx="368">
                  <c:v>3500</c:v>
                </c:pt>
                <c:pt idx="369">
                  <c:v>3500</c:v>
                </c:pt>
                <c:pt idx="370">
                  <c:v>3500</c:v>
                </c:pt>
                <c:pt idx="371">
                  <c:v>3500</c:v>
                </c:pt>
                <c:pt idx="372">
                  <c:v>3500</c:v>
                </c:pt>
                <c:pt idx="373">
                  <c:v>3500</c:v>
                </c:pt>
                <c:pt idx="374">
                  <c:v>3500</c:v>
                </c:pt>
                <c:pt idx="375">
                  <c:v>3500</c:v>
                </c:pt>
                <c:pt idx="376">
                  <c:v>3500</c:v>
                </c:pt>
                <c:pt idx="377">
                  <c:v>3500</c:v>
                </c:pt>
                <c:pt idx="378">
                  <c:v>3500</c:v>
                </c:pt>
                <c:pt idx="379">
                  <c:v>3500</c:v>
                </c:pt>
                <c:pt idx="380">
                  <c:v>3500</c:v>
                </c:pt>
                <c:pt idx="381">
                  <c:v>3500</c:v>
                </c:pt>
                <c:pt idx="382">
                  <c:v>3500</c:v>
                </c:pt>
                <c:pt idx="383">
                  <c:v>3500</c:v>
                </c:pt>
                <c:pt idx="384">
                  <c:v>3500</c:v>
                </c:pt>
                <c:pt idx="385">
                  <c:v>3500</c:v>
                </c:pt>
                <c:pt idx="386">
                  <c:v>3500</c:v>
                </c:pt>
                <c:pt idx="387">
                  <c:v>3500</c:v>
                </c:pt>
                <c:pt idx="388">
                  <c:v>3500</c:v>
                </c:pt>
                <c:pt idx="389">
                  <c:v>3500</c:v>
                </c:pt>
                <c:pt idx="390">
                  <c:v>3500</c:v>
                </c:pt>
                <c:pt idx="391">
                  <c:v>3500</c:v>
                </c:pt>
                <c:pt idx="392">
                  <c:v>3500</c:v>
                </c:pt>
                <c:pt idx="393">
                  <c:v>3500</c:v>
                </c:pt>
                <c:pt idx="394">
                  <c:v>3500</c:v>
                </c:pt>
                <c:pt idx="395">
                  <c:v>3500</c:v>
                </c:pt>
                <c:pt idx="396">
                  <c:v>3500</c:v>
                </c:pt>
                <c:pt idx="397">
                  <c:v>3500</c:v>
                </c:pt>
                <c:pt idx="398">
                  <c:v>3500</c:v>
                </c:pt>
                <c:pt idx="399">
                  <c:v>3500</c:v>
                </c:pt>
                <c:pt idx="400">
                  <c:v>3500</c:v>
                </c:pt>
                <c:pt idx="401">
                  <c:v>3500</c:v>
                </c:pt>
                <c:pt idx="402">
                  <c:v>3500</c:v>
                </c:pt>
                <c:pt idx="403">
                  <c:v>3500</c:v>
                </c:pt>
                <c:pt idx="404">
                  <c:v>3500</c:v>
                </c:pt>
                <c:pt idx="405">
                  <c:v>3500</c:v>
                </c:pt>
                <c:pt idx="406">
                  <c:v>3500</c:v>
                </c:pt>
                <c:pt idx="407">
                  <c:v>3500</c:v>
                </c:pt>
                <c:pt idx="408">
                  <c:v>3500</c:v>
                </c:pt>
                <c:pt idx="409">
                  <c:v>3500</c:v>
                </c:pt>
                <c:pt idx="410">
                  <c:v>3500</c:v>
                </c:pt>
                <c:pt idx="411">
                  <c:v>3500</c:v>
                </c:pt>
                <c:pt idx="412">
                  <c:v>3500</c:v>
                </c:pt>
                <c:pt idx="413">
                  <c:v>3500</c:v>
                </c:pt>
                <c:pt idx="414">
                  <c:v>3500</c:v>
                </c:pt>
                <c:pt idx="415">
                  <c:v>3500</c:v>
                </c:pt>
                <c:pt idx="416">
                  <c:v>3500</c:v>
                </c:pt>
                <c:pt idx="417">
                  <c:v>3500</c:v>
                </c:pt>
                <c:pt idx="418">
                  <c:v>3500</c:v>
                </c:pt>
                <c:pt idx="419">
                  <c:v>3500</c:v>
                </c:pt>
                <c:pt idx="420">
                  <c:v>3500</c:v>
                </c:pt>
                <c:pt idx="421">
                  <c:v>3500</c:v>
                </c:pt>
                <c:pt idx="422">
                  <c:v>3500</c:v>
                </c:pt>
                <c:pt idx="423">
                  <c:v>3500</c:v>
                </c:pt>
                <c:pt idx="424">
                  <c:v>3500</c:v>
                </c:pt>
                <c:pt idx="425">
                  <c:v>3500</c:v>
                </c:pt>
                <c:pt idx="426">
                  <c:v>3500</c:v>
                </c:pt>
                <c:pt idx="427">
                  <c:v>3500</c:v>
                </c:pt>
                <c:pt idx="428">
                  <c:v>3500</c:v>
                </c:pt>
                <c:pt idx="429">
                  <c:v>3500</c:v>
                </c:pt>
                <c:pt idx="430">
                  <c:v>3500</c:v>
                </c:pt>
                <c:pt idx="431">
                  <c:v>3500</c:v>
                </c:pt>
                <c:pt idx="432">
                  <c:v>3500</c:v>
                </c:pt>
                <c:pt idx="433">
                  <c:v>3500</c:v>
                </c:pt>
                <c:pt idx="434">
                  <c:v>3500</c:v>
                </c:pt>
                <c:pt idx="435">
                  <c:v>3500</c:v>
                </c:pt>
                <c:pt idx="436">
                  <c:v>3500</c:v>
                </c:pt>
                <c:pt idx="437">
                  <c:v>3500</c:v>
                </c:pt>
                <c:pt idx="438">
                  <c:v>3500</c:v>
                </c:pt>
                <c:pt idx="439">
                  <c:v>3500</c:v>
                </c:pt>
                <c:pt idx="440">
                  <c:v>3500</c:v>
                </c:pt>
                <c:pt idx="441">
                  <c:v>3500</c:v>
                </c:pt>
                <c:pt idx="442">
                  <c:v>3500</c:v>
                </c:pt>
                <c:pt idx="443">
                  <c:v>3500</c:v>
                </c:pt>
                <c:pt idx="444">
                  <c:v>3500</c:v>
                </c:pt>
                <c:pt idx="445">
                  <c:v>3500</c:v>
                </c:pt>
                <c:pt idx="446">
                  <c:v>3500</c:v>
                </c:pt>
                <c:pt idx="447">
                  <c:v>3500</c:v>
                </c:pt>
                <c:pt idx="448">
                  <c:v>3500</c:v>
                </c:pt>
                <c:pt idx="449">
                  <c:v>3500</c:v>
                </c:pt>
                <c:pt idx="450">
                  <c:v>3500</c:v>
                </c:pt>
                <c:pt idx="451">
                  <c:v>3500</c:v>
                </c:pt>
                <c:pt idx="452">
                  <c:v>3500</c:v>
                </c:pt>
                <c:pt idx="453">
                  <c:v>3500</c:v>
                </c:pt>
                <c:pt idx="454">
                  <c:v>3500</c:v>
                </c:pt>
                <c:pt idx="455">
                  <c:v>3500</c:v>
                </c:pt>
                <c:pt idx="456">
                  <c:v>3500</c:v>
                </c:pt>
                <c:pt idx="457">
                  <c:v>3500</c:v>
                </c:pt>
                <c:pt idx="458">
                  <c:v>3500</c:v>
                </c:pt>
                <c:pt idx="459">
                  <c:v>3500</c:v>
                </c:pt>
                <c:pt idx="460">
                  <c:v>3500</c:v>
                </c:pt>
                <c:pt idx="461">
                  <c:v>3500</c:v>
                </c:pt>
                <c:pt idx="462">
                  <c:v>3500</c:v>
                </c:pt>
                <c:pt idx="463">
                  <c:v>3500</c:v>
                </c:pt>
                <c:pt idx="464">
                  <c:v>3500</c:v>
                </c:pt>
                <c:pt idx="465">
                  <c:v>3500</c:v>
                </c:pt>
                <c:pt idx="466">
                  <c:v>3500</c:v>
                </c:pt>
                <c:pt idx="467">
                  <c:v>3500</c:v>
                </c:pt>
                <c:pt idx="468">
                  <c:v>3500</c:v>
                </c:pt>
                <c:pt idx="469">
                  <c:v>3500</c:v>
                </c:pt>
                <c:pt idx="470">
                  <c:v>3500</c:v>
                </c:pt>
                <c:pt idx="471">
                  <c:v>3500</c:v>
                </c:pt>
                <c:pt idx="472">
                  <c:v>3500</c:v>
                </c:pt>
                <c:pt idx="473">
                  <c:v>3500</c:v>
                </c:pt>
                <c:pt idx="474">
                  <c:v>3500</c:v>
                </c:pt>
                <c:pt idx="475">
                  <c:v>3500</c:v>
                </c:pt>
                <c:pt idx="476">
                  <c:v>3500</c:v>
                </c:pt>
                <c:pt idx="477">
                  <c:v>3500</c:v>
                </c:pt>
                <c:pt idx="478">
                  <c:v>3500</c:v>
                </c:pt>
                <c:pt idx="479">
                  <c:v>3500</c:v>
                </c:pt>
                <c:pt idx="480">
                  <c:v>3500</c:v>
                </c:pt>
                <c:pt idx="481">
                  <c:v>3500</c:v>
                </c:pt>
                <c:pt idx="482">
                  <c:v>3500</c:v>
                </c:pt>
                <c:pt idx="483">
                  <c:v>3500</c:v>
                </c:pt>
                <c:pt idx="484">
                  <c:v>3500</c:v>
                </c:pt>
                <c:pt idx="485">
                  <c:v>3500</c:v>
                </c:pt>
                <c:pt idx="486">
                  <c:v>3500</c:v>
                </c:pt>
                <c:pt idx="487">
                  <c:v>3500</c:v>
                </c:pt>
                <c:pt idx="488">
                  <c:v>3500</c:v>
                </c:pt>
                <c:pt idx="489">
                  <c:v>3500</c:v>
                </c:pt>
                <c:pt idx="490">
                  <c:v>3500</c:v>
                </c:pt>
                <c:pt idx="491">
                  <c:v>3500</c:v>
                </c:pt>
                <c:pt idx="492">
                  <c:v>3500</c:v>
                </c:pt>
                <c:pt idx="493">
                  <c:v>3500</c:v>
                </c:pt>
                <c:pt idx="494">
                  <c:v>3500</c:v>
                </c:pt>
                <c:pt idx="495">
                  <c:v>3500</c:v>
                </c:pt>
                <c:pt idx="496">
                  <c:v>3500</c:v>
                </c:pt>
                <c:pt idx="497">
                  <c:v>3500</c:v>
                </c:pt>
                <c:pt idx="498">
                  <c:v>3500</c:v>
                </c:pt>
                <c:pt idx="499">
                  <c:v>3500</c:v>
                </c:pt>
                <c:pt idx="500">
                  <c:v>3500</c:v>
                </c:pt>
                <c:pt idx="501">
                  <c:v>3500</c:v>
                </c:pt>
                <c:pt idx="502">
                  <c:v>3500</c:v>
                </c:pt>
                <c:pt idx="503">
                  <c:v>3500</c:v>
                </c:pt>
                <c:pt idx="504">
                  <c:v>3500</c:v>
                </c:pt>
                <c:pt idx="505">
                  <c:v>3500</c:v>
                </c:pt>
                <c:pt idx="506">
                  <c:v>3500</c:v>
                </c:pt>
                <c:pt idx="507">
                  <c:v>3500</c:v>
                </c:pt>
                <c:pt idx="508">
                  <c:v>3500</c:v>
                </c:pt>
                <c:pt idx="509">
                  <c:v>3500</c:v>
                </c:pt>
                <c:pt idx="510">
                  <c:v>3500</c:v>
                </c:pt>
                <c:pt idx="511">
                  <c:v>3500</c:v>
                </c:pt>
                <c:pt idx="512">
                  <c:v>3500</c:v>
                </c:pt>
                <c:pt idx="513">
                  <c:v>3500</c:v>
                </c:pt>
                <c:pt idx="514">
                  <c:v>3500</c:v>
                </c:pt>
                <c:pt idx="515">
                  <c:v>3500</c:v>
                </c:pt>
                <c:pt idx="516">
                  <c:v>3500</c:v>
                </c:pt>
                <c:pt idx="517">
                  <c:v>3500</c:v>
                </c:pt>
                <c:pt idx="518">
                  <c:v>3500</c:v>
                </c:pt>
                <c:pt idx="519">
                  <c:v>3500</c:v>
                </c:pt>
                <c:pt idx="520">
                  <c:v>3500</c:v>
                </c:pt>
                <c:pt idx="521">
                  <c:v>3500</c:v>
                </c:pt>
                <c:pt idx="522">
                  <c:v>3500</c:v>
                </c:pt>
                <c:pt idx="523">
                  <c:v>3500</c:v>
                </c:pt>
                <c:pt idx="524">
                  <c:v>3500</c:v>
                </c:pt>
                <c:pt idx="525">
                  <c:v>3500</c:v>
                </c:pt>
                <c:pt idx="526">
                  <c:v>3500</c:v>
                </c:pt>
                <c:pt idx="527">
                  <c:v>3500</c:v>
                </c:pt>
                <c:pt idx="528">
                  <c:v>3500</c:v>
                </c:pt>
                <c:pt idx="529">
                  <c:v>3500</c:v>
                </c:pt>
                <c:pt idx="530">
                  <c:v>3500</c:v>
                </c:pt>
                <c:pt idx="531">
                  <c:v>3500</c:v>
                </c:pt>
                <c:pt idx="532">
                  <c:v>3500</c:v>
                </c:pt>
                <c:pt idx="533">
                  <c:v>3500</c:v>
                </c:pt>
                <c:pt idx="534">
                  <c:v>3500</c:v>
                </c:pt>
                <c:pt idx="535">
                  <c:v>3500</c:v>
                </c:pt>
                <c:pt idx="536">
                  <c:v>3500</c:v>
                </c:pt>
                <c:pt idx="537">
                  <c:v>3500</c:v>
                </c:pt>
                <c:pt idx="538">
                  <c:v>3500</c:v>
                </c:pt>
                <c:pt idx="539">
                  <c:v>3500</c:v>
                </c:pt>
                <c:pt idx="540">
                  <c:v>3500</c:v>
                </c:pt>
                <c:pt idx="541">
                  <c:v>3500</c:v>
                </c:pt>
                <c:pt idx="542">
                  <c:v>3500</c:v>
                </c:pt>
                <c:pt idx="543">
                  <c:v>3500</c:v>
                </c:pt>
                <c:pt idx="544">
                  <c:v>3500</c:v>
                </c:pt>
                <c:pt idx="545">
                  <c:v>3500</c:v>
                </c:pt>
                <c:pt idx="546">
                  <c:v>3500</c:v>
                </c:pt>
                <c:pt idx="547">
                  <c:v>3500</c:v>
                </c:pt>
                <c:pt idx="548">
                  <c:v>3500</c:v>
                </c:pt>
                <c:pt idx="549">
                  <c:v>3500</c:v>
                </c:pt>
                <c:pt idx="550">
                  <c:v>3500</c:v>
                </c:pt>
                <c:pt idx="551">
                  <c:v>3500</c:v>
                </c:pt>
                <c:pt idx="552">
                  <c:v>3500</c:v>
                </c:pt>
                <c:pt idx="553">
                  <c:v>3500</c:v>
                </c:pt>
                <c:pt idx="554">
                  <c:v>3500</c:v>
                </c:pt>
                <c:pt idx="555">
                  <c:v>3500</c:v>
                </c:pt>
                <c:pt idx="556">
                  <c:v>3500</c:v>
                </c:pt>
                <c:pt idx="557">
                  <c:v>3500</c:v>
                </c:pt>
                <c:pt idx="558">
                  <c:v>3500</c:v>
                </c:pt>
                <c:pt idx="559">
                  <c:v>3500</c:v>
                </c:pt>
                <c:pt idx="560">
                  <c:v>3500</c:v>
                </c:pt>
                <c:pt idx="561">
                  <c:v>3500</c:v>
                </c:pt>
                <c:pt idx="562">
                  <c:v>3500</c:v>
                </c:pt>
                <c:pt idx="563">
                  <c:v>3500</c:v>
                </c:pt>
                <c:pt idx="564">
                  <c:v>3500</c:v>
                </c:pt>
                <c:pt idx="565">
                  <c:v>3500</c:v>
                </c:pt>
                <c:pt idx="566">
                  <c:v>3500</c:v>
                </c:pt>
                <c:pt idx="567">
                  <c:v>3500</c:v>
                </c:pt>
                <c:pt idx="568">
                  <c:v>3500</c:v>
                </c:pt>
                <c:pt idx="569">
                  <c:v>3500</c:v>
                </c:pt>
                <c:pt idx="570">
                  <c:v>3500</c:v>
                </c:pt>
                <c:pt idx="571">
                  <c:v>3500</c:v>
                </c:pt>
                <c:pt idx="572">
                  <c:v>3500</c:v>
                </c:pt>
                <c:pt idx="573">
                  <c:v>3500</c:v>
                </c:pt>
                <c:pt idx="574">
                  <c:v>3500</c:v>
                </c:pt>
                <c:pt idx="575">
                  <c:v>3500</c:v>
                </c:pt>
                <c:pt idx="576">
                  <c:v>3500</c:v>
                </c:pt>
                <c:pt idx="577">
                  <c:v>3500</c:v>
                </c:pt>
                <c:pt idx="578">
                  <c:v>3500</c:v>
                </c:pt>
                <c:pt idx="579">
                  <c:v>3500</c:v>
                </c:pt>
                <c:pt idx="580">
                  <c:v>3500</c:v>
                </c:pt>
                <c:pt idx="581">
                  <c:v>3500</c:v>
                </c:pt>
                <c:pt idx="582">
                  <c:v>3500</c:v>
                </c:pt>
                <c:pt idx="583">
                  <c:v>3500</c:v>
                </c:pt>
                <c:pt idx="584">
                  <c:v>3500</c:v>
                </c:pt>
                <c:pt idx="585">
                  <c:v>3500</c:v>
                </c:pt>
                <c:pt idx="586">
                  <c:v>3500</c:v>
                </c:pt>
                <c:pt idx="587">
                  <c:v>3500</c:v>
                </c:pt>
                <c:pt idx="588">
                  <c:v>3500</c:v>
                </c:pt>
                <c:pt idx="589">
                  <c:v>3500</c:v>
                </c:pt>
                <c:pt idx="590">
                  <c:v>3500</c:v>
                </c:pt>
                <c:pt idx="591">
                  <c:v>3500</c:v>
                </c:pt>
                <c:pt idx="592">
                  <c:v>3500</c:v>
                </c:pt>
                <c:pt idx="593">
                  <c:v>3500</c:v>
                </c:pt>
                <c:pt idx="594">
                  <c:v>3500</c:v>
                </c:pt>
                <c:pt idx="595">
                  <c:v>3500</c:v>
                </c:pt>
                <c:pt idx="596">
                  <c:v>3500</c:v>
                </c:pt>
                <c:pt idx="597">
                  <c:v>3500</c:v>
                </c:pt>
                <c:pt idx="598">
                  <c:v>3500</c:v>
                </c:pt>
                <c:pt idx="599">
                  <c:v>3500</c:v>
                </c:pt>
                <c:pt idx="600">
                  <c:v>3500</c:v>
                </c:pt>
                <c:pt idx="601">
                  <c:v>3500</c:v>
                </c:pt>
                <c:pt idx="602">
                  <c:v>3500</c:v>
                </c:pt>
                <c:pt idx="603">
                  <c:v>3500</c:v>
                </c:pt>
                <c:pt idx="604">
                  <c:v>3500</c:v>
                </c:pt>
                <c:pt idx="605">
                  <c:v>3500</c:v>
                </c:pt>
                <c:pt idx="606">
                  <c:v>3500</c:v>
                </c:pt>
                <c:pt idx="607">
                  <c:v>3500</c:v>
                </c:pt>
                <c:pt idx="608">
                  <c:v>3500</c:v>
                </c:pt>
                <c:pt idx="609">
                  <c:v>3500</c:v>
                </c:pt>
                <c:pt idx="610">
                  <c:v>3500</c:v>
                </c:pt>
                <c:pt idx="611">
                  <c:v>3500</c:v>
                </c:pt>
                <c:pt idx="612">
                  <c:v>3500</c:v>
                </c:pt>
                <c:pt idx="613">
                  <c:v>3500</c:v>
                </c:pt>
                <c:pt idx="614">
                  <c:v>3500</c:v>
                </c:pt>
                <c:pt idx="615">
                  <c:v>3500</c:v>
                </c:pt>
                <c:pt idx="616">
                  <c:v>3500</c:v>
                </c:pt>
                <c:pt idx="617">
                  <c:v>3500</c:v>
                </c:pt>
                <c:pt idx="618">
                  <c:v>3500</c:v>
                </c:pt>
                <c:pt idx="619">
                  <c:v>3500</c:v>
                </c:pt>
                <c:pt idx="620">
                  <c:v>3500</c:v>
                </c:pt>
                <c:pt idx="621">
                  <c:v>3500</c:v>
                </c:pt>
                <c:pt idx="622">
                  <c:v>3500</c:v>
                </c:pt>
                <c:pt idx="623">
                  <c:v>3500</c:v>
                </c:pt>
                <c:pt idx="624">
                  <c:v>3500</c:v>
                </c:pt>
                <c:pt idx="625">
                  <c:v>3500</c:v>
                </c:pt>
                <c:pt idx="626">
                  <c:v>3500</c:v>
                </c:pt>
                <c:pt idx="627">
                  <c:v>3500</c:v>
                </c:pt>
                <c:pt idx="628">
                  <c:v>3500</c:v>
                </c:pt>
                <c:pt idx="629">
                  <c:v>3500</c:v>
                </c:pt>
                <c:pt idx="630">
                  <c:v>3500</c:v>
                </c:pt>
                <c:pt idx="631">
                  <c:v>3500</c:v>
                </c:pt>
                <c:pt idx="632">
                  <c:v>3500</c:v>
                </c:pt>
                <c:pt idx="633">
                  <c:v>3500</c:v>
                </c:pt>
                <c:pt idx="634">
                  <c:v>3500</c:v>
                </c:pt>
                <c:pt idx="635">
                  <c:v>3500</c:v>
                </c:pt>
                <c:pt idx="636">
                  <c:v>3500</c:v>
                </c:pt>
                <c:pt idx="637">
                  <c:v>3500</c:v>
                </c:pt>
                <c:pt idx="638">
                  <c:v>3500</c:v>
                </c:pt>
                <c:pt idx="639">
                  <c:v>3500</c:v>
                </c:pt>
                <c:pt idx="640">
                  <c:v>3500</c:v>
                </c:pt>
                <c:pt idx="641">
                  <c:v>3500</c:v>
                </c:pt>
                <c:pt idx="642">
                  <c:v>3500</c:v>
                </c:pt>
                <c:pt idx="643">
                  <c:v>3500</c:v>
                </c:pt>
                <c:pt idx="644">
                  <c:v>3500</c:v>
                </c:pt>
                <c:pt idx="645">
                  <c:v>3500</c:v>
                </c:pt>
                <c:pt idx="646">
                  <c:v>3500</c:v>
                </c:pt>
                <c:pt idx="647">
                  <c:v>3500</c:v>
                </c:pt>
                <c:pt idx="648">
                  <c:v>3500</c:v>
                </c:pt>
                <c:pt idx="649">
                  <c:v>3500</c:v>
                </c:pt>
                <c:pt idx="650">
                  <c:v>3500</c:v>
                </c:pt>
                <c:pt idx="651">
                  <c:v>3500</c:v>
                </c:pt>
                <c:pt idx="652">
                  <c:v>3500</c:v>
                </c:pt>
                <c:pt idx="653">
                  <c:v>3500</c:v>
                </c:pt>
                <c:pt idx="654">
                  <c:v>3500</c:v>
                </c:pt>
                <c:pt idx="655">
                  <c:v>3500</c:v>
                </c:pt>
                <c:pt idx="656">
                  <c:v>3500</c:v>
                </c:pt>
                <c:pt idx="657">
                  <c:v>3500</c:v>
                </c:pt>
                <c:pt idx="658">
                  <c:v>3500</c:v>
                </c:pt>
                <c:pt idx="659">
                  <c:v>3500</c:v>
                </c:pt>
                <c:pt idx="660">
                  <c:v>3500</c:v>
                </c:pt>
                <c:pt idx="661">
                  <c:v>3500</c:v>
                </c:pt>
                <c:pt idx="662">
                  <c:v>3500</c:v>
                </c:pt>
                <c:pt idx="663">
                  <c:v>3500</c:v>
                </c:pt>
                <c:pt idx="664">
                  <c:v>3500</c:v>
                </c:pt>
                <c:pt idx="665">
                  <c:v>3500</c:v>
                </c:pt>
                <c:pt idx="666">
                  <c:v>3500</c:v>
                </c:pt>
                <c:pt idx="667">
                  <c:v>3500</c:v>
                </c:pt>
                <c:pt idx="668">
                  <c:v>3500</c:v>
                </c:pt>
                <c:pt idx="669">
                  <c:v>3500</c:v>
                </c:pt>
                <c:pt idx="670">
                  <c:v>3500</c:v>
                </c:pt>
                <c:pt idx="671">
                  <c:v>3500</c:v>
                </c:pt>
                <c:pt idx="672">
                  <c:v>3500</c:v>
                </c:pt>
                <c:pt idx="673">
                  <c:v>3500</c:v>
                </c:pt>
                <c:pt idx="674">
                  <c:v>3500</c:v>
                </c:pt>
                <c:pt idx="675">
                  <c:v>3500</c:v>
                </c:pt>
                <c:pt idx="676">
                  <c:v>3500</c:v>
                </c:pt>
                <c:pt idx="677">
                  <c:v>3500</c:v>
                </c:pt>
                <c:pt idx="678">
                  <c:v>3500</c:v>
                </c:pt>
                <c:pt idx="679">
                  <c:v>3500</c:v>
                </c:pt>
                <c:pt idx="680">
                  <c:v>3500</c:v>
                </c:pt>
                <c:pt idx="681">
                  <c:v>3500</c:v>
                </c:pt>
                <c:pt idx="682">
                  <c:v>3500</c:v>
                </c:pt>
                <c:pt idx="683">
                  <c:v>3500</c:v>
                </c:pt>
                <c:pt idx="684">
                  <c:v>3500</c:v>
                </c:pt>
                <c:pt idx="685">
                  <c:v>3500</c:v>
                </c:pt>
                <c:pt idx="686">
                  <c:v>3500</c:v>
                </c:pt>
                <c:pt idx="687">
                  <c:v>3500</c:v>
                </c:pt>
                <c:pt idx="688">
                  <c:v>3500</c:v>
                </c:pt>
                <c:pt idx="689">
                  <c:v>3500</c:v>
                </c:pt>
                <c:pt idx="690">
                  <c:v>3500</c:v>
                </c:pt>
                <c:pt idx="691">
                  <c:v>3500</c:v>
                </c:pt>
                <c:pt idx="692">
                  <c:v>3500</c:v>
                </c:pt>
                <c:pt idx="693">
                  <c:v>3500</c:v>
                </c:pt>
                <c:pt idx="694">
                  <c:v>3500</c:v>
                </c:pt>
                <c:pt idx="695">
                  <c:v>3500</c:v>
                </c:pt>
                <c:pt idx="696">
                  <c:v>3500</c:v>
                </c:pt>
                <c:pt idx="697">
                  <c:v>3500</c:v>
                </c:pt>
                <c:pt idx="698">
                  <c:v>3500</c:v>
                </c:pt>
                <c:pt idx="699">
                  <c:v>3500</c:v>
                </c:pt>
                <c:pt idx="700">
                  <c:v>3500</c:v>
                </c:pt>
                <c:pt idx="701">
                  <c:v>3500</c:v>
                </c:pt>
                <c:pt idx="702">
                  <c:v>3500</c:v>
                </c:pt>
                <c:pt idx="703">
                  <c:v>3500</c:v>
                </c:pt>
                <c:pt idx="704">
                  <c:v>3500</c:v>
                </c:pt>
                <c:pt idx="705">
                  <c:v>3500</c:v>
                </c:pt>
                <c:pt idx="706">
                  <c:v>3500</c:v>
                </c:pt>
                <c:pt idx="707">
                  <c:v>3500</c:v>
                </c:pt>
                <c:pt idx="708">
                  <c:v>3500</c:v>
                </c:pt>
                <c:pt idx="709">
                  <c:v>3500</c:v>
                </c:pt>
                <c:pt idx="710">
                  <c:v>3500</c:v>
                </c:pt>
                <c:pt idx="711">
                  <c:v>3500</c:v>
                </c:pt>
                <c:pt idx="712">
                  <c:v>3500</c:v>
                </c:pt>
                <c:pt idx="713">
                  <c:v>3500</c:v>
                </c:pt>
                <c:pt idx="714">
                  <c:v>3500</c:v>
                </c:pt>
                <c:pt idx="715">
                  <c:v>3500</c:v>
                </c:pt>
                <c:pt idx="716">
                  <c:v>3500</c:v>
                </c:pt>
                <c:pt idx="717">
                  <c:v>3500</c:v>
                </c:pt>
                <c:pt idx="718">
                  <c:v>3500</c:v>
                </c:pt>
                <c:pt idx="719">
                  <c:v>3500</c:v>
                </c:pt>
                <c:pt idx="720">
                  <c:v>3500</c:v>
                </c:pt>
                <c:pt idx="721">
                  <c:v>3500</c:v>
                </c:pt>
                <c:pt idx="722">
                  <c:v>3500</c:v>
                </c:pt>
                <c:pt idx="723">
                  <c:v>3500</c:v>
                </c:pt>
                <c:pt idx="724">
                  <c:v>3500</c:v>
                </c:pt>
                <c:pt idx="725">
                  <c:v>3500</c:v>
                </c:pt>
                <c:pt idx="726">
                  <c:v>3500</c:v>
                </c:pt>
                <c:pt idx="727">
                  <c:v>3500</c:v>
                </c:pt>
                <c:pt idx="728">
                  <c:v>3500</c:v>
                </c:pt>
                <c:pt idx="729">
                  <c:v>3500</c:v>
                </c:pt>
                <c:pt idx="730">
                  <c:v>3500</c:v>
                </c:pt>
                <c:pt idx="731">
                  <c:v>3500</c:v>
                </c:pt>
                <c:pt idx="732">
                  <c:v>3500</c:v>
                </c:pt>
                <c:pt idx="733">
                  <c:v>3500</c:v>
                </c:pt>
                <c:pt idx="734">
                  <c:v>3500</c:v>
                </c:pt>
                <c:pt idx="735">
                  <c:v>3500</c:v>
                </c:pt>
                <c:pt idx="736">
                  <c:v>3500</c:v>
                </c:pt>
                <c:pt idx="737">
                  <c:v>3500</c:v>
                </c:pt>
              </c:numCache>
            </c:numRef>
          </c:val>
          <c:smooth val="0"/>
          <c:extLst>
            <c:ext xmlns:c16="http://schemas.microsoft.com/office/drawing/2014/chart" uri="{C3380CC4-5D6E-409C-BE32-E72D297353CC}">
              <c16:uniqueId val="{00000000-13C6-43A6-ABA5-E1F28AF8261F}"/>
            </c:ext>
          </c:extLst>
        </c:ser>
        <c:ser>
          <c:idx val="1"/>
          <c:order val="1"/>
          <c:tx>
            <c:strRef>
              <c:f>木炭价格图表!$P$3</c:f>
              <c:strCache>
                <c:ptCount val="1"/>
                <c:pt idx="0">
                  <c:v>东北木炭价格</c:v>
                </c:pt>
              </c:strCache>
            </c:strRef>
          </c:tx>
          <c:spPr>
            <a:ln w="28575" cap="rnd">
              <a:solidFill>
                <a:schemeClr val="accent2"/>
              </a:solidFill>
              <a:round/>
            </a:ln>
            <a:effectLst/>
          </c:spPr>
          <c:marker>
            <c:symbol val="none"/>
          </c:marker>
          <c:cat>
            <c:numRef>
              <c:f>木炭价格图表!$N$4:$N$741</c:f>
              <c:numCache>
                <c:formatCode>m/d/yyyy</c:formatCode>
                <c:ptCount val="738"/>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numCache>
            </c:numRef>
          </c:cat>
          <c:val>
            <c:numRef>
              <c:f>木炭价格图表!$P$4:$P$741</c:f>
              <c:numCache>
                <c:formatCode>General</c:formatCode>
                <c:ptCount val="738"/>
                <c:pt idx="0">
                  <c:v>2800</c:v>
                </c:pt>
                <c:pt idx="1">
                  <c:v>2800</c:v>
                </c:pt>
                <c:pt idx="2">
                  <c:v>2800</c:v>
                </c:pt>
                <c:pt idx="3">
                  <c:v>2800</c:v>
                </c:pt>
                <c:pt idx="4">
                  <c:v>2800</c:v>
                </c:pt>
                <c:pt idx="5">
                  <c:v>2800</c:v>
                </c:pt>
                <c:pt idx="6">
                  <c:v>2800</c:v>
                </c:pt>
                <c:pt idx="7">
                  <c:v>2800</c:v>
                </c:pt>
                <c:pt idx="8">
                  <c:v>2800</c:v>
                </c:pt>
                <c:pt idx="9">
                  <c:v>2800</c:v>
                </c:pt>
                <c:pt idx="10">
                  <c:v>2800</c:v>
                </c:pt>
                <c:pt idx="11">
                  <c:v>2800</c:v>
                </c:pt>
                <c:pt idx="12">
                  <c:v>2800</c:v>
                </c:pt>
                <c:pt idx="13">
                  <c:v>2800</c:v>
                </c:pt>
                <c:pt idx="14">
                  <c:v>2800</c:v>
                </c:pt>
                <c:pt idx="15">
                  <c:v>2800</c:v>
                </c:pt>
                <c:pt idx="16">
                  <c:v>2800</c:v>
                </c:pt>
                <c:pt idx="17">
                  <c:v>2800</c:v>
                </c:pt>
                <c:pt idx="18">
                  <c:v>2800</c:v>
                </c:pt>
                <c:pt idx="19">
                  <c:v>2800</c:v>
                </c:pt>
                <c:pt idx="20">
                  <c:v>2800</c:v>
                </c:pt>
                <c:pt idx="21">
                  <c:v>2800</c:v>
                </c:pt>
                <c:pt idx="22">
                  <c:v>2800</c:v>
                </c:pt>
                <c:pt idx="23">
                  <c:v>2800</c:v>
                </c:pt>
                <c:pt idx="24">
                  <c:v>2800</c:v>
                </c:pt>
                <c:pt idx="25">
                  <c:v>2800</c:v>
                </c:pt>
                <c:pt idx="26">
                  <c:v>2800</c:v>
                </c:pt>
                <c:pt idx="27">
                  <c:v>2800</c:v>
                </c:pt>
                <c:pt idx="28">
                  <c:v>2800</c:v>
                </c:pt>
                <c:pt idx="29">
                  <c:v>2800</c:v>
                </c:pt>
                <c:pt idx="30">
                  <c:v>2800</c:v>
                </c:pt>
                <c:pt idx="31">
                  <c:v>2800</c:v>
                </c:pt>
                <c:pt idx="32">
                  <c:v>2800</c:v>
                </c:pt>
                <c:pt idx="33">
                  <c:v>2800</c:v>
                </c:pt>
                <c:pt idx="34">
                  <c:v>2800</c:v>
                </c:pt>
                <c:pt idx="35">
                  <c:v>2800</c:v>
                </c:pt>
                <c:pt idx="36">
                  <c:v>2800</c:v>
                </c:pt>
                <c:pt idx="37">
                  <c:v>2800</c:v>
                </c:pt>
                <c:pt idx="38">
                  <c:v>2800</c:v>
                </c:pt>
                <c:pt idx="39">
                  <c:v>2800</c:v>
                </c:pt>
                <c:pt idx="40">
                  <c:v>2800</c:v>
                </c:pt>
                <c:pt idx="41">
                  <c:v>2800</c:v>
                </c:pt>
                <c:pt idx="42">
                  <c:v>2800</c:v>
                </c:pt>
                <c:pt idx="43">
                  <c:v>2800</c:v>
                </c:pt>
                <c:pt idx="44">
                  <c:v>2800</c:v>
                </c:pt>
                <c:pt idx="45">
                  <c:v>2800</c:v>
                </c:pt>
                <c:pt idx="46">
                  <c:v>2800</c:v>
                </c:pt>
                <c:pt idx="47">
                  <c:v>2800</c:v>
                </c:pt>
                <c:pt idx="48">
                  <c:v>2800</c:v>
                </c:pt>
                <c:pt idx="49">
                  <c:v>2800</c:v>
                </c:pt>
                <c:pt idx="50">
                  <c:v>2800</c:v>
                </c:pt>
                <c:pt idx="51">
                  <c:v>2800</c:v>
                </c:pt>
                <c:pt idx="52">
                  <c:v>2800</c:v>
                </c:pt>
                <c:pt idx="53">
                  <c:v>2800</c:v>
                </c:pt>
                <c:pt idx="54">
                  <c:v>2800</c:v>
                </c:pt>
                <c:pt idx="55">
                  <c:v>2800</c:v>
                </c:pt>
                <c:pt idx="56">
                  <c:v>2800</c:v>
                </c:pt>
                <c:pt idx="57">
                  <c:v>2800</c:v>
                </c:pt>
                <c:pt idx="58">
                  <c:v>2800</c:v>
                </c:pt>
                <c:pt idx="59">
                  <c:v>2800</c:v>
                </c:pt>
                <c:pt idx="60">
                  <c:v>2800</c:v>
                </c:pt>
                <c:pt idx="61">
                  <c:v>2800</c:v>
                </c:pt>
                <c:pt idx="62">
                  <c:v>2800</c:v>
                </c:pt>
                <c:pt idx="63">
                  <c:v>2800</c:v>
                </c:pt>
                <c:pt idx="64">
                  <c:v>2800</c:v>
                </c:pt>
                <c:pt idx="65">
                  <c:v>2800</c:v>
                </c:pt>
                <c:pt idx="66">
                  <c:v>2800</c:v>
                </c:pt>
                <c:pt idx="67">
                  <c:v>2800</c:v>
                </c:pt>
                <c:pt idx="68">
                  <c:v>2800</c:v>
                </c:pt>
                <c:pt idx="69">
                  <c:v>2800</c:v>
                </c:pt>
                <c:pt idx="70">
                  <c:v>2800</c:v>
                </c:pt>
                <c:pt idx="71">
                  <c:v>2800</c:v>
                </c:pt>
                <c:pt idx="72">
                  <c:v>2800</c:v>
                </c:pt>
                <c:pt idx="73">
                  <c:v>2800</c:v>
                </c:pt>
                <c:pt idx="74">
                  <c:v>2800</c:v>
                </c:pt>
                <c:pt idx="75">
                  <c:v>2800</c:v>
                </c:pt>
                <c:pt idx="76">
                  <c:v>2800</c:v>
                </c:pt>
                <c:pt idx="77">
                  <c:v>2800</c:v>
                </c:pt>
                <c:pt idx="78">
                  <c:v>2800</c:v>
                </c:pt>
                <c:pt idx="79">
                  <c:v>2800</c:v>
                </c:pt>
                <c:pt idx="80">
                  <c:v>2800</c:v>
                </c:pt>
                <c:pt idx="81">
                  <c:v>2800</c:v>
                </c:pt>
                <c:pt idx="82">
                  <c:v>2800</c:v>
                </c:pt>
                <c:pt idx="83">
                  <c:v>2800</c:v>
                </c:pt>
                <c:pt idx="84">
                  <c:v>2800</c:v>
                </c:pt>
                <c:pt idx="85">
                  <c:v>2800</c:v>
                </c:pt>
                <c:pt idx="86">
                  <c:v>2800</c:v>
                </c:pt>
                <c:pt idx="87">
                  <c:v>2800</c:v>
                </c:pt>
                <c:pt idx="88">
                  <c:v>2800</c:v>
                </c:pt>
                <c:pt idx="89">
                  <c:v>2800</c:v>
                </c:pt>
                <c:pt idx="90">
                  <c:v>2800</c:v>
                </c:pt>
                <c:pt idx="91">
                  <c:v>2800</c:v>
                </c:pt>
                <c:pt idx="92">
                  <c:v>2800</c:v>
                </c:pt>
                <c:pt idx="93">
                  <c:v>2800</c:v>
                </c:pt>
                <c:pt idx="94">
                  <c:v>2800</c:v>
                </c:pt>
                <c:pt idx="95">
                  <c:v>2800</c:v>
                </c:pt>
                <c:pt idx="96">
                  <c:v>2800</c:v>
                </c:pt>
                <c:pt idx="97">
                  <c:v>2800</c:v>
                </c:pt>
                <c:pt idx="98">
                  <c:v>2800</c:v>
                </c:pt>
                <c:pt idx="99">
                  <c:v>2800</c:v>
                </c:pt>
                <c:pt idx="100">
                  <c:v>2800</c:v>
                </c:pt>
                <c:pt idx="101">
                  <c:v>2800</c:v>
                </c:pt>
                <c:pt idx="102">
                  <c:v>2800</c:v>
                </c:pt>
                <c:pt idx="103">
                  <c:v>2800</c:v>
                </c:pt>
                <c:pt idx="104">
                  <c:v>2800</c:v>
                </c:pt>
                <c:pt idx="105">
                  <c:v>2800</c:v>
                </c:pt>
                <c:pt idx="106">
                  <c:v>2800</c:v>
                </c:pt>
                <c:pt idx="107">
                  <c:v>2800</c:v>
                </c:pt>
                <c:pt idx="108">
                  <c:v>2800</c:v>
                </c:pt>
                <c:pt idx="109">
                  <c:v>2800</c:v>
                </c:pt>
                <c:pt idx="110">
                  <c:v>2800</c:v>
                </c:pt>
                <c:pt idx="111">
                  <c:v>2800</c:v>
                </c:pt>
                <c:pt idx="112">
                  <c:v>2800</c:v>
                </c:pt>
                <c:pt idx="113">
                  <c:v>2800</c:v>
                </c:pt>
                <c:pt idx="114">
                  <c:v>2800</c:v>
                </c:pt>
                <c:pt idx="115">
                  <c:v>2800</c:v>
                </c:pt>
                <c:pt idx="116">
                  <c:v>2800</c:v>
                </c:pt>
                <c:pt idx="117">
                  <c:v>2800</c:v>
                </c:pt>
                <c:pt idx="118">
                  <c:v>2800</c:v>
                </c:pt>
                <c:pt idx="119">
                  <c:v>2800</c:v>
                </c:pt>
                <c:pt idx="120">
                  <c:v>2800</c:v>
                </c:pt>
                <c:pt idx="121">
                  <c:v>2800</c:v>
                </c:pt>
                <c:pt idx="122">
                  <c:v>2800</c:v>
                </c:pt>
                <c:pt idx="123">
                  <c:v>2800</c:v>
                </c:pt>
                <c:pt idx="124">
                  <c:v>2800</c:v>
                </c:pt>
                <c:pt idx="125">
                  <c:v>2800</c:v>
                </c:pt>
                <c:pt idx="126">
                  <c:v>2800</c:v>
                </c:pt>
                <c:pt idx="127">
                  <c:v>2800</c:v>
                </c:pt>
                <c:pt idx="128">
                  <c:v>2800</c:v>
                </c:pt>
                <c:pt idx="129">
                  <c:v>2800</c:v>
                </c:pt>
                <c:pt idx="130">
                  <c:v>2800</c:v>
                </c:pt>
                <c:pt idx="131">
                  <c:v>2800</c:v>
                </c:pt>
                <c:pt idx="132">
                  <c:v>2800</c:v>
                </c:pt>
                <c:pt idx="133">
                  <c:v>2800</c:v>
                </c:pt>
                <c:pt idx="134">
                  <c:v>2800</c:v>
                </c:pt>
                <c:pt idx="135">
                  <c:v>2800</c:v>
                </c:pt>
                <c:pt idx="136">
                  <c:v>2800</c:v>
                </c:pt>
                <c:pt idx="137">
                  <c:v>2800</c:v>
                </c:pt>
                <c:pt idx="138">
                  <c:v>2800</c:v>
                </c:pt>
                <c:pt idx="139">
                  <c:v>2800</c:v>
                </c:pt>
                <c:pt idx="140">
                  <c:v>2800</c:v>
                </c:pt>
                <c:pt idx="141">
                  <c:v>2800</c:v>
                </c:pt>
                <c:pt idx="142">
                  <c:v>2800</c:v>
                </c:pt>
                <c:pt idx="143">
                  <c:v>2800</c:v>
                </c:pt>
                <c:pt idx="144">
                  <c:v>2800</c:v>
                </c:pt>
                <c:pt idx="145">
                  <c:v>2800</c:v>
                </c:pt>
                <c:pt idx="146">
                  <c:v>2800</c:v>
                </c:pt>
                <c:pt idx="147">
                  <c:v>2800</c:v>
                </c:pt>
                <c:pt idx="148">
                  <c:v>2800</c:v>
                </c:pt>
                <c:pt idx="149">
                  <c:v>2800</c:v>
                </c:pt>
                <c:pt idx="150">
                  <c:v>2800</c:v>
                </c:pt>
                <c:pt idx="151">
                  <c:v>2800</c:v>
                </c:pt>
                <c:pt idx="152">
                  <c:v>2800</c:v>
                </c:pt>
                <c:pt idx="153">
                  <c:v>2800</c:v>
                </c:pt>
                <c:pt idx="154">
                  <c:v>2800</c:v>
                </c:pt>
                <c:pt idx="155">
                  <c:v>2800</c:v>
                </c:pt>
                <c:pt idx="156">
                  <c:v>2800</c:v>
                </c:pt>
                <c:pt idx="157">
                  <c:v>2800</c:v>
                </c:pt>
                <c:pt idx="158">
                  <c:v>2800</c:v>
                </c:pt>
                <c:pt idx="159">
                  <c:v>2800</c:v>
                </c:pt>
                <c:pt idx="160">
                  <c:v>2800</c:v>
                </c:pt>
                <c:pt idx="161">
                  <c:v>2800</c:v>
                </c:pt>
                <c:pt idx="162">
                  <c:v>2800</c:v>
                </c:pt>
                <c:pt idx="163">
                  <c:v>2800</c:v>
                </c:pt>
                <c:pt idx="164">
                  <c:v>2800</c:v>
                </c:pt>
                <c:pt idx="165">
                  <c:v>2800</c:v>
                </c:pt>
                <c:pt idx="166">
                  <c:v>2800</c:v>
                </c:pt>
                <c:pt idx="167">
                  <c:v>2800</c:v>
                </c:pt>
                <c:pt idx="168">
                  <c:v>2800</c:v>
                </c:pt>
                <c:pt idx="169">
                  <c:v>2800</c:v>
                </c:pt>
                <c:pt idx="170">
                  <c:v>2800</c:v>
                </c:pt>
                <c:pt idx="171">
                  <c:v>2800</c:v>
                </c:pt>
                <c:pt idx="172">
                  <c:v>2800</c:v>
                </c:pt>
                <c:pt idx="173">
                  <c:v>2800</c:v>
                </c:pt>
                <c:pt idx="174">
                  <c:v>2800</c:v>
                </c:pt>
                <c:pt idx="175">
                  <c:v>2800</c:v>
                </c:pt>
                <c:pt idx="176">
                  <c:v>3000</c:v>
                </c:pt>
                <c:pt idx="177">
                  <c:v>3000</c:v>
                </c:pt>
                <c:pt idx="178">
                  <c:v>3000</c:v>
                </c:pt>
                <c:pt idx="179">
                  <c:v>3000</c:v>
                </c:pt>
                <c:pt idx="180">
                  <c:v>3000</c:v>
                </c:pt>
                <c:pt idx="181">
                  <c:v>3000</c:v>
                </c:pt>
                <c:pt idx="182">
                  <c:v>3000</c:v>
                </c:pt>
                <c:pt idx="183">
                  <c:v>3000</c:v>
                </c:pt>
                <c:pt idx="184">
                  <c:v>3000</c:v>
                </c:pt>
                <c:pt idx="185">
                  <c:v>3000</c:v>
                </c:pt>
                <c:pt idx="186">
                  <c:v>3000</c:v>
                </c:pt>
                <c:pt idx="187">
                  <c:v>3000</c:v>
                </c:pt>
                <c:pt idx="188">
                  <c:v>3000</c:v>
                </c:pt>
                <c:pt idx="189">
                  <c:v>3000</c:v>
                </c:pt>
                <c:pt idx="190">
                  <c:v>3000</c:v>
                </c:pt>
                <c:pt idx="191">
                  <c:v>3000</c:v>
                </c:pt>
                <c:pt idx="192">
                  <c:v>3000</c:v>
                </c:pt>
                <c:pt idx="193">
                  <c:v>3000</c:v>
                </c:pt>
                <c:pt idx="194">
                  <c:v>3000</c:v>
                </c:pt>
                <c:pt idx="195">
                  <c:v>3000</c:v>
                </c:pt>
                <c:pt idx="196">
                  <c:v>3000</c:v>
                </c:pt>
                <c:pt idx="197">
                  <c:v>3000</c:v>
                </c:pt>
                <c:pt idx="198">
                  <c:v>3000</c:v>
                </c:pt>
                <c:pt idx="199">
                  <c:v>3000</c:v>
                </c:pt>
                <c:pt idx="200">
                  <c:v>3000</c:v>
                </c:pt>
                <c:pt idx="201">
                  <c:v>3000</c:v>
                </c:pt>
                <c:pt idx="202">
                  <c:v>3000</c:v>
                </c:pt>
                <c:pt idx="203">
                  <c:v>3000</c:v>
                </c:pt>
                <c:pt idx="204">
                  <c:v>3000</c:v>
                </c:pt>
                <c:pt idx="205">
                  <c:v>3000</c:v>
                </c:pt>
                <c:pt idx="206">
                  <c:v>3000</c:v>
                </c:pt>
                <c:pt idx="207">
                  <c:v>3000</c:v>
                </c:pt>
                <c:pt idx="208">
                  <c:v>3000</c:v>
                </c:pt>
                <c:pt idx="209">
                  <c:v>3000</c:v>
                </c:pt>
                <c:pt idx="210">
                  <c:v>3000</c:v>
                </c:pt>
                <c:pt idx="211">
                  <c:v>3000</c:v>
                </c:pt>
                <c:pt idx="212">
                  <c:v>3000</c:v>
                </c:pt>
                <c:pt idx="213">
                  <c:v>3000</c:v>
                </c:pt>
                <c:pt idx="214">
                  <c:v>3000</c:v>
                </c:pt>
                <c:pt idx="215">
                  <c:v>3000</c:v>
                </c:pt>
                <c:pt idx="216">
                  <c:v>3000</c:v>
                </c:pt>
                <c:pt idx="217">
                  <c:v>3000</c:v>
                </c:pt>
                <c:pt idx="218">
                  <c:v>3000</c:v>
                </c:pt>
                <c:pt idx="219">
                  <c:v>3000</c:v>
                </c:pt>
                <c:pt idx="220">
                  <c:v>3000</c:v>
                </c:pt>
                <c:pt idx="221">
                  <c:v>3000</c:v>
                </c:pt>
                <c:pt idx="222">
                  <c:v>3000</c:v>
                </c:pt>
                <c:pt idx="223">
                  <c:v>3000</c:v>
                </c:pt>
                <c:pt idx="224">
                  <c:v>3000</c:v>
                </c:pt>
                <c:pt idx="225">
                  <c:v>3000</c:v>
                </c:pt>
                <c:pt idx="226">
                  <c:v>3000</c:v>
                </c:pt>
                <c:pt idx="227">
                  <c:v>3000</c:v>
                </c:pt>
                <c:pt idx="228">
                  <c:v>3000</c:v>
                </c:pt>
                <c:pt idx="229">
                  <c:v>3000</c:v>
                </c:pt>
                <c:pt idx="230">
                  <c:v>3000</c:v>
                </c:pt>
                <c:pt idx="231">
                  <c:v>3000</c:v>
                </c:pt>
                <c:pt idx="232">
                  <c:v>3000</c:v>
                </c:pt>
                <c:pt idx="233">
                  <c:v>3000</c:v>
                </c:pt>
                <c:pt idx="234">
                  <c:v>3000</c:v>
                </c:pt>
                <c:pt idx="235">
                  <c:v>3000</c:v>
                </c:pt>
                <c:pt idx="236">
                  <c:v>3000</c:v>
                </c:pt>
                <c:pt idx="237">
                  <c:v>3000</c:v>
                </c:pt>
                <c:pt idx="238">
                  <c:v>3000</c:v>
                </c:pt>
                <c:pt idx="239">
                  <c:v>3000</c:v>
                </c:pt>
                <c:pt idx="240">
                  <c:v>3000</c:v>
                </c:pt>
                <c:pt idx="241">
                  <c:v>3000</c:v>
                </c:pt>
                <c:pt idx="242">
                  <c:v>3000</c:v>
                </c:pt>
                <c:pt idx="243">
                  <c:v>3000</c:v>
                </c:pt>
                <c:pt idx="244">
                  <c:v>3000</c:v>
                </c:pt>
                <c:pt idx="245">
                  <c:v>3000</c:v>
                </c:pt>
                <c:pt idx="246">
                  <c:v>3000</c:v>
                </c:pt>
                <c:pt idx="247">
                  <c:v>3000</c:v>
                </c:pt>
                <c:pt idx="248">
                  <c:v>3000</c:v>
                </c:pt>
                <c:pt idx="249">
                  <c:v>3000</c:v>
                </c:pt>
                <c:pt idx="250">
                  <c:v>3000</c:v>
                </c:pt>
                <c:pt idx="251">
                  <c:v>3000</c:v>
                </c:pt>
                <c:pt idx="252">
                  <c:v>3000</c:v>
                </c:pt>
                <c:pt idx="253">
                  <c:v>3000</c:v>
                </c:pt>
                <c:pt idx="254">
                  <c:v>3000</c:v>
                </c:pt>
                <c:pt idx="255">
                  <c:v>3000</c:v>
                </c:pt>
                <c:pt idx="256">
                  <c:v>3000</c:v>
                </c:pt>
                <c:pt idx="257">
                  <c:v>3000</c:v>
                </c:pt>
                <c:pt idx="258">
                  <c:v>3000</c:v>
                </c:pt>
                <c:pt idx="259">
                  <c:v>3000</c:v>
                </c:pt>
                <c:pt idx="260">
                  <c:v>3000</c:v>
                </c:pt>
                <c:pt idx="261">
                  <c:v>3000</c:v>
                </c:pt>
                <c:pt idx="262">
                  <c:v>3000</c:v>
                </c:pt>
                <c:pt idx="263">
                  <c:v>3000</c:v>
                </c:pt>
                <c:pt idx="264">
                  <c:v>3000</c:v>
                </c:pt>
                <c:pt idx="265">
                  <c:v>3000</c:v>
                </c:pt>
                <c:pt idx="266">
                  <c:v>3000</c:v>
                </c:pt>
                <c:pt idx="267">
                  <c:v>3000</c:v>
                </c:pt>
                <c:pt idx="268">
                  <c:v>3000</c:v>
                </c:pt>
                <c:pt idx="269">
                  <c:v>3000</c:v>
                </c:pt>
                <c:pt idx="270">
                  <c:v>3000</c:v>
                </c:pt>
                <c:pt idx="271">
                  <c:v>3000</c:v>
                </c:pt>
                <c:pt idx="272">
                  <c:v>3000</c:v>
                </c:pt>
                <c:pt idx="273">
                  <c:v>3000</c:v>
                </c:pt>
                <c:pt idx="274">
                  <c:v>3000</c:v>
                </c:pt>
                <c:pt idx="275">
                  <c:v>3000</c:v>
                </c:pt>
                <c:pt idx="276">
                  <c:v>3000</c:v>
                </c:pt>
                <c:pt idx="277">
                  <c:v>3000</c:v>
                </c:pt>
                <c:pt idx="278">
                  <c:v>3000</c:v>
                </c:pt>
                <c:pt idx="279">
                  <c:v>3000</c:v>
                </c:pt>
                <c:pt idx="280">
                  <c:v>3000</c:v>
                </c:pt>
                <c:pt idx="281">
                  <c:v>3000</c:v>
                </c:pt>
                <c:pt idx="282">
                  <c:v>3000</c:v>
                </c:pt>
                <c:pt idx="283">
                  <c:v>3000</c:v>
                </c:pt>
                <c:pt idx="284">
                  <c:v>3000</c:v>
                </c:pt>
                <c:pt idx="285">
                  <c:v>3000</c:v>
                </c:pt>
                <c:pt idx="286">
                  <c:v>3000</c:v>
                </c:pt>
                <c:pt idx="287">
                  <c:v>3000</c:v>
                </c:pt>
                <c:pt idx="288">
                  <c:v>3000</c:v>
                </c:pt>
                <c:pt idx="289">
                  <c:v>3000</c:v>
                </c:pt>
                <c:pt idx="290">
                  <c:v>3000</c:v>
                </c:pt>
                <c:pt idx="291">
                  <c:v>3000</c:v>
                </c:pt>
                <c:pt idx="292">
                  <c:v>3000</c:v>
                </c:pt>
                <c:pt idx="293">
                  <c:v>3000</c:v>
                </c:pt>
                <c:pt idx="294">
                  <c:v>3000</c:v>
                </c:pt>
                <c:pt idx="295">
                  <c:v>3000</c:v>
                </c:pt>
                <c:pt idx="296">
                  <c:v>3000</c:v>
                </c:pt>
                <c:pt idx="297">
                  <c:v>3000</c:v>
                </c:pt>
                <c:pt idx="298">
                  <c:v>3000</c:v>
                </c:pt>
                <c:pt idx="299">
                  <c:v>3000</c:v>
                </c:pt>
                <c:pt idx="300">
                  <c:v>3000</c:v>
                </c:pt>
                <c:pt idx="301">
                  <c:v>3000</c:v>
                </c:pt>
                <c:pt idx="302">
                  <c:v>3000</c:v>
                </c:pt>
                <c:pt idx="303">
                  <c:v>3000</c:v>
                </c:pt>
                <c:pt idx="304">
                  <c:v>3000</c:v>
                </c:pt>
                <c:pt idx="305">
                  <c:v>3000</c:v>
                </c:pt>
                <c:pt idx="306">
                  <c:v>3000</c:v>
                </c:pt>
                <c:pt idx="307">
                  <c:v>3000</c:v>
                </c:pt>
                <c:pt idx="308">
                  <c:v>3000</c:v>
                </c:pt>
                <c:pt idx="309">
                  <c:v>3000</c:v>
                </c:pt>
                <c:pt idx="310">
                  <c:v>3000</c:v>
                </c:pt>
                <c:pt idx="311">
                  <c:v>3000</c:v>
                </c:pt>
                <c:pt idx="312">
                  <c:v>3000</c:v>
                </c:pt>
                <c:pt idx="313">
                  <c:v>3000</c:v>
                </c:pt>
                <c:pt idx="314">
                  <c:v>3000</c:v>
                </c:pt>
                <c:pt idx="315">
                  <c:v>3000</c:v>
                </c:pt>
                <c:pt idx="316">
                  <c:v>3000</c:v>
                </c:pt>
                <c:pt idx="317">
                  <c:v>3000</c:v>
                </c:pt>
                <c:pt idx="318">
                  <c:v>3000</c:v>
                </c:pt>
                <c:pt idx="319">
                  <c:v>#N/A</c:v>
                </c:pt>
                <c:pt idx="320">
                  <c:v>#N/A</c:v>
                </c:pt>
                <c:pt idx="321">
                  <c:v>3000</c:v>
                </c:pt>
                <c:pt idx="322">
                  <c:v>3000</c:v>
                </c:pt>
                <c:pt idx="323">
                  <c:v>3000</c:v>
                </c:pt>
                <c:pt idx="324">
                  <c:v>3000</c:v>
                </c:pt>
                <c:pt idx="325">
                  <c:v>3000</c:v>
                </c:pt>
                <c:pt idx="326">
                  <c:v>3000</c:v>
                </c:pt>
                <c:pt idx="327">
                  <c:v>3000</c:v>
                </c:pt>
                <c:pt idx="328">
                  <c:v>3000</c:v>
                </c:pt>
                <c:pt idx="329">
                  <c:v>3000</c:v>
                </c:pt>
                <c:pt idx="330">
                  <c:v>3000</c:v>
                </c:pt>
                <c:pt idx="331">
                  <c:v>3000</c:v>
                </c:pt>
                <c:pt idx="332">
                  <c:v>3000</c:v>
                </c:pt>
                <c:pt idx="333">
                  <c:v>3000</c:v>
                </c:pt>
                <c:pt idx="334">
                  <c:v>3000</c:v>
                </c:pt>
                <c:pt idx="335">
                  <c:v>3000</c:v>
                </c:pt>
                <c:pt idx="336">
                  <c:v>3000</c:v>
                </c:pt>
                <c:pt idx="337">
                  <c:v>3000</c:v>
                </c:pt>
                <c:pt idx="338">
                  <c:v>3000</c:v>
                </c:pt>
                <c:pt idx="339">
                  <c:v>3000</c:v>
                </c:pt>
                <c:pt idx="340">
                  <c:v>3000</c:v>
                </c:pt>
                <c:pt idx="341">
                  <c:v>3000</c:v>
                </c:pt>
                <c:pt idx="342">
                  <c:v>3000</c:v>
                </c:pt>
                <c:pt idx="343">
                  <c:v>3000</c:v>
                </c:pt>
                <c:pt idx="344">
                  <c:v>3000</c:v>
                </c:pt>
                <c:pt idx="345">
                  <c:v>3000</c:v>
                </c:pt>
                <c:pt idx="346">
                  <c:v>3000</c:v>
                </c:pt>
                <c:pt idx="347">
                  <c:v>3000</c:v>
                </c:pt>
                <c:pt idx="348">
                  <c:v>3000</c:v>
                </c:pt>
                <c:pt idx="349">
                  <c:v>3000</c:v>
                </c:pt>
                <c:pt idx="350">
                  <c:v>3000</c:v>
                </c:pt>
                <c:pt idx="351">
                  <c:v>3000</c:v>
                </c:pt>
                <c:pt idx="352">
                  <c:v>3000</c:v>
                </c:pt>
                <c:pt idx="353">
                  <c:v>3000</c:v>
                </c:pt>
                <c:pt idx="354">
                  <c:v>3000</c:v>
                </c:pt>
                <c:pt idx="355">
                  <c:v>3000</c:v>
                </c:pt>
                <c:pt idx="356">
                  <c:v>3000</c:v>
                </c:pt>
                <c:pt idx="357">
                  <c:v>3000</c:v>
                </c:pt>
                <c:pt idx="358">
                  <c:v>3000</c:v>
                </c:pt>
                <c:pt idx="359">
                  <c:v>3000</c:v>
                </c:pt>
                <c:pt idx="360">
                  <c:v>3000</c:v>
                </c:pt>
                <c:pt idx="361">
                  <c:v>3000</c:v>
                </c:pt>
                <c:pt idx="362">
                  <c:v>3000</c:v>
                </c:pt>
                <c:pt idx="363">
                  <c:v>3000</c:v>
                </c:pt>
                <c:pt idx="364">
                  <c:v>3000</c:v>
                </c:pt>
                <c:pt idx="365">
                  <c:v>3000</c:v>
                </c:pt>
                <c:pt idx="366">
                  <c:v>3000</c:v>
                </c:pt>
                <c:pt idx="367">
                  <c:v>3000</c:v>
                </c:pt>
                <c:pt idx="368">
                  <c:v>3000</c:v>
                </c:pt>
                <c:pt idx="369">
                  <c:v>3000</c:v>
                </c:pt>
                <c:pt idx="370">
                  <c:v>3000</c:v>
                </c:pt>
                <c:pt idx="371">
                  <c:v>3000</c:v>
                </c:pt>
                <c:pt idx="372">
                  <c:v>3000</c:v>
                </c:pt>
                <c:pt idx="373">
                  <c:v>3000</c:v>
                </c:pt>
                <c:pt idx="374">
                  <c:v>3000</c:v>
                </c:pt>
                <c:pt idx="375">
                  <c:v>3000</c:v>
                </c:pt>
                <c:pt idx="376">
                  <c:v>3000</c:v>
                </c:pt>
                <c:pt idx="377">
                  <c:v>3000</c:v>
                </c:pt>
                <c:pt idx="378">
                  <c:v>3000</c:v>
                </c:pt>
                <c:pt idx="379">
                  <c:v>3000</c:v>
                </c:pt>
                <c:pt idx="380">
                  <c:v>3000</c:v>
                </c:pt>
                <c:pt idx="381">
                  <c:v>3000</c:v>
                </c:pt>
                <c:pt idx="382">
                  <c:v>3000</c:v>
                </c:pt>
                <c:pt idx="383">
                  <c:v>3000</c:v>
                </c:pt>
                <c:pt idx="384">
                  <c:v>3000</c:v>
                </c:pt>
                <c:pt idx="385">
                  <c:v>3000</c:v>
                </c:pt>
                <c:pt idx="386">
                  <c:v>3000</c:v>
                </c:pt>
                <c:pt idx="387">
                  <c:v>3000</c:v>
                </c:pt>
                <c:pt idx="388">
                  <c:v>3000</c:v>
                </c:pt>
                <c:pt idx="389">
                  <c:v>3000</c:v>
                </c:pt>
                <c:pt idx="390">
                  <c:v>3000</c:v>
                </c:pt>
                <c:pt idx="391">
                  <c:v>3000</c:v>
                </c:pt>
                <c:pt idx="392">
                  <c:v>3000</c:v>
                </c:pt>
                <c:pt idx="393">
                  <c:v>3000</c:v>
                </c:pt>
                <c:pt idx="394">
                  <c:v>3000</c:v>
                </c:pt>
                <c:pt idx="395">
                  <c:v>3000</c:v>
                </c:pt>
                <c:pt idx="396">
                  <c:v>3000</c:v>
                </c:pt>
                <c:pt idx="397">
                  <c:v>3000</c:v>
                </c:pt>
                <c:pt idx="398">
                  <c:v>3000</c:v>
                </c:pt>
                <c:pt idx="399">
                  <c:v>3000</c:v>
                </c:pt>
                <c:pt idx="400">
                  <c:v>3000</c:v>
                </c:pt>
                <c:pt idx="401">
                  <c:v>3000</c:v>
                </c:pt>
                <c:pt idx="402">
                  <c:v>3000</c:v>
                </c:pt>
                <c:pt idx="403">
                  <c:v>3000</c:v>
                </c:pt>
                <c:pt idx="404">
                  <c:v>3000</c:v>
                </c:pt>
                <c:pt idx="405">
                  <c:v>3000</c:v>
                </c:pt>
                <c:pt idx="406">
                  <c:v>3000</c:v>
                </c:pt>
                <c:pt idx="407">
                  <c:v>3000</c:v>
                </c:pt>
                <c:pt idx="408">
                  <c:v>3000</c:v>
                </c:pt>
                <c:pt idx="409">
                  <c:v>3000</c:v>
                </c:pt>
                <c:pt idx="410">
                  <c:v>3000</c:v>
                </c:pt>
                <c:pt idx="411">
                  <c:v>3000</c:v>
                </c:pt>
                <c:pt idx="412">
                  <c:v>3000</c:v>
                </c:pt>
                <c:pt idx="413">
                  <c:v>3000</c:v>
                </c:pt>
                <c:pt idx="414">
                  <c:v>3000</c:v>
                </c:pt>
                <c:pt idx="415">
                  <c:v>3000</c:v>
                </c:pt>
                <c:pt idx="416">
                  <c:v>3000</c:v>
                </c:pt>
                <c:pt idx="417">
                  <c:v>3000</c:v>
                </c:pt>
                <c:pt idx="418">
                  <c:v>3000</c:v>
                </c:pt>
                <c:pt idx="419">
                  <c:v>3000</c:v>
                </c:pt>
                <c:pt idx="420">
                  <c:v>3000</c:v>
                </c:pt>
                <c:pt idx="421">
                  <c:v>3000</c:v>
                </c:pt>
                <c:pt idx="422">
                  <c:v>3000</c:v>
                </c:pt>
                <c:pt idx="423">
                  <c:v>3000</c:v>
                </c:pt>
                <c:pt idx="424">
                  <c:v>3000</c:v>
                </c:pt>
                <c:pt idx="425">
                  <c:v>3000</c:v>
                </c:pt>
                <c:pt idx="426">
                  <c:v>3000</c:v>
                </c:pt>
                <c:pt idx="427">
                  <c:v>3000</c:v>
                </c:pt>
                <c:pt idx="428">
                  <c:v>3000</c:v>
                </c:pt>
                <c:pt idx="429">
                  <c:v>3000</c:v>
                </c:pt>
                <c:pt idx="430">
                  <c:v>3000</c:v>
                </c:pt>
                <c:pt idx="431">
                  <c:v>3000</c:v>
                </c:pt>
                <c:pt idx="432">
                  <c:v>3000</c:v>
                </c:pt>
                <c:pt idx="433">
                  <c:v>3000</c:v>
                </c:pt>
                <c:pt idx="434">
                  <c:v>3000</c:v>
                </c:pt>
                <c:pt idx="435">
                  <c:v>3000</c:v>
                </c:pt>
                <c:pt idx="436">
                  <c:v>3000</c:v>
                </c:pt>
                <c:pt idx="437">
                  <c:v>3000</c:v>
                </c:pt>
                <c:pt idx="438">
                  <c:v>3000</c:v>
                </c:pt>
                <c:pt idx="439">
                  <c:v>3000</c:v>
                </c:pt>
                <c:pt idx="440">
                  <c:v>3000</c:v>
                </c:pt>
                <c:pt idx="441">
                  <c:v>3000</c:v>
                </c:pt>
                <c:pt idx="442">
                  <c:v>3000</c:v>
                </c:pt>
                <c:pt idx="443">
                  <c:v>3000</c:v>
                </c:pt>
                <c:pt idx="444">
                  <c:v>3000</c:v>
                </c:pt>
                <c:pt idx="445">
                  <c:v>3000</c:v>
                </c:pt>
                <c:pt idx="446">
                  <c:v>3000</c:v>
                </c:pt>
                <c:pt idx="447">
                  <c:v>3000</c:v>
                </c:pt>
                <c:pt idx="448">
                  <c:v>3000</c:v>
                </c:pt>
                <c:pt idx="449">
                  <c:v>3000</c:v>
                </c:pt>
                <c:pt idx="450">
                  <c:v>3000</c:v>
                </c:pt>
                <c:pt idx="451">
                  <c:v>3000</c:v>
                </c:pt>
                <c:pt idx="452">
                  <c:v>3000</c:v>
                </c:pt>
                <c:pt idx="453">
                  <c:v>3000</c:v>
                </c:pt>
                <c:pt idx="454">
                  <c:v>3000</c:v>
                </c:pt>
                <c:pt idx="455">
                  <c:v>3000</c:v>
                </c:pt>
                <c:pt idx="456">
                  <c:v>3000</c:v>
                </c:pt>
                <c:pt idx="457">
                  <c:v>3000</c:v>
                </c:pt>
                <c:pt idx="458">
                  <c:v>3000</c:v>
                </c:pt>
                <c:pt idx="459">
                  <c:v>3000</c:v>
                </c:pt>
                <c:pt idx="460">
                  <c:v>3000</c:v>
                </c:pt>
                <c:pt idx="461">
                  <c:v>3000</c:v>
                </c:pt>
                <c:pt idx="462">
                  <c:v>3000</c:v>
                </c:pt>
                <c:pt idx="463">
                  <c:v>3000</c:v>
                </c:pt>
                <c:pt idx="464">
                  <c:v>3000</c:v>
                </c:pt>
                <c:pt idx="465">
                  <c:v>3000</c:v>
                </c:pt>
                <c:pt idx="466">
                  <c:v>3000</c:v>
                </c:pt>
                <c:pt idx="467">
                  <c:v>3000</c:v>
                </c:pt>
                <c:pt idx="468">
                  <c:v>3000</c:v>
                </c:pt>
                <c:pt idx="469">
                  <c:v>3000</c:v>
                </c:pt>
                <c:pt idx="470">
                  <c:v>3000</c:v>
                </c:pt>
                <c:pt idx="471">
                  <c:v>3000</c:v>
                </c:pt>
                <c:pt idx="472">
                  <c:v>3000</c:v>
                </c:pt>
                <c:pt idx="473">
                  <c:v>3000</c:v>
                </c:pt>
                <c:pt idx="474">
                  <c:v>3000</c:v>
                </c:pt>
                <c:pt idx="475">
                  <c:v>3000</c:v>
                </c:pt>
                <c:pt idx="476">
                  <c:v>3000</c:v>
                </c:pt>
                <c:pt idx="477">
                  <c:v>3000</c:v>
                </c:pt>
                <c:pt idx="478">
                  <c:v>3000</c:v>
                </c:pt>
                <c:pt idx="479">
                  <c:v>3000</c:v>
                </c:pt>
                <c:pt idx="480">
                  <c:v>3000</c:v>
                </c:pt>
                <c:pt idx="481">
                  <c:v>3000</c:v>
                </c:pt>
                <c:pt idx="482">
                  <c:v>3000</c:v>
                </c:pt>
                <c:pt idx="483">
                  <c:v>3000</c:v>
                </c:pt>
                <c:pt idx="484">
                  <c:v>3000</c:v>
                </c:pt>
                <c:pt idx="485">
                  <c:v>3000</c:v>
                </c:pt>
                <c:pt idx="486">
                  <c:v>3000</c:v>
                </c:pt>
                <c:pt idx="487">
                  <c:v>3000</c:v>
                </c:pt>
                <c:pt idx="488">
                  <c:v>3000</c:v>
                </c:pt>
                <c:pt idx="489">
                  <c:v>3000</c:v>
                </c:pt>
                <c:pt idx="490">
                  <c:v>3000</c:v>
                </c:pt>
                <c:pt idx="491">
                  <c:v>3000</c:v>
                </c:pt>
                <c:pt idx="492">
                  <c:v>3000</c:v>
                </c:pt>
                <c:pt idx="493">
                  <c:v>3000</c:v>
                </c:pt>
                <c:pt idx="494">
                  <c:v>3000</c:v>
                </c:pt>
                <c:pt idx="495">
                  <c:v>3000</c:v>
                </c:pt>
                <c:pt idx="496">
                  <c:v>3000</c:v>
                </c:pt>
                <c:pt idx="497">
                  <c:v>3000</c:v>
                </c:pt>
                <c:pt idx="498">
                  <c:v>3000</c:v>
                </c:pt>
                <c:pt idx="499">
                  <c:v>3000</c:v>
                </c:pt>
                <c:pt idx="500">
                  <c:v>3000</c:v>
                </c:pt>
                <c:pt idx="501">
                  <c:v>3000</c:v>
                </c:pt>
                <c:pt idx="502">
                  <c:v>3000</c:v>
                </c:pt>
                <c:pt idx="503">
                  <c:v>3000</c:v>
                </c:pt>
                <c:pt idx="504">
                  <c:v>3000</c:v>
                </c:pt>
                <c:pt idx="505">
                  <c:v>3000</c:v>
                </c:pt>
                <c:pt idx="506">
                  <c:v>3000</c:v>
                </c:pt>
                <c:pt idx="507">
                  <c:v>3000</c:v>
                </c:pt>
                <c:pt idx="508">
                  <c:v>3000</c:v>
                </c:pt>
                <c:pt idx="509">
                  <c:v>3000</c:v>
                </c:pt>
                <c:pt idx="510">
                  <c:v>3000</c:v>
                </c:pt>
                <c:pt idx="511">
                  <c:v>3000</c:v>
                </c:pt>
                <c:pt idx="512">
                  <c:v>3000</c:v>
                </c:pt>
                <c:pt idx="513">
                  <c:v>3000</c:v>
                </c:pt>
                <c:pt idx="514">
                  <c:v>3000</c:v>
                </c:pt>
                <c:pt idx="515">
                  <c:v>3000</c:v>
                </c:pt>
                <c:pt idx="516">
                  <c:v>3000</c:v>
                </c:pt>
                <c:pt idx="517">
                  <c:v>3000</c:v>
                </c:pt>
                <c:pt idx="518">
                  <c:v>3000</c:v>
                </c:pt>
                <c:pt idx="519">
                  <c:v>3000</c:v>
                </c:pt>
                <c:pt idx="520">
                  <c:v>3000</c:v>
                </c:pt>
                <c:pt idx="521">
                  <c:v>3000</c:v>
                </c:pt>
                <c:pt idx="522">
                  <c:v>3000</c:v>
                </c:pt>
                <c:pt idx="523">
                  <c:v>3000</c:v>
                </c:pt>
                <c:pt idx="524">
                  <c:v>3000</c:v>
                </c:pt>
                <c:pt idx="525">
                  <c:v>3000</c:v>
                </c:pt>
                <c:pt idx="526">
                  <c:v>3000</c:v>
                </c:pt>
                <c:pt idx="527">
                  <c:v>3000</c:v>
                </c:pt>
                <c:pt idx="528">
                  <c:v>3000</c:v>
                </c:pt>
                <c:pt idx="529">
                  <c:v>3000</c:v>
                </c:pt>
                <c:pt idx="530">
                  <c:v>3000</c:v>
                </c:pt>
                <c:pt idx="531">
                  <c:v>3000</c:v>
                </c:pt>
                <c:pt idx="532">
                  <c:v>3000</c:v>
                </c:pt>
                <c:pt idx="533">
                  <c:v>3000</c:v>
                </c:pt>
                <c:pt idx="534">
                  <c:v>3000</c:v>
                </c:pt>
                <c:pt idx="535">
                  <c:v>3000</c:v>
                </c:pt>
                <c:pt idx="536">
                  <c:v>3000</c:v>
                </c:pt>
                <c:pt idx="537">
                  <c:v>3000</c:v>
                </c:pt>
                <c:pt idx="538">
                  <c:v>3000</c:v>
                </c:pt>
                <c:pt idx="539">
                  <c:v>3000</c:v>
                </c:pt>
                <c:pt idx="540">
                  <c:v>3000</c:v>
                </c:pt>
                <c:pt idx="541">
                  <c:v>3000</c:v>
                </c:pt>
                <c:pt idx="542">
                  <c:v>3000</c:v>
                </c:pt>
                <c:pt idx="543">
                  <c:v>3000</c:v>
                </c:pt>
                <c:pt idx="544">
                  <c:v>3000</c:v>
                </c:pt>
                <c:pt idx="545">
                  <c:v>3000</c:v>
                </c:pt>
                <c:pt idx="546">
                  <c:v>3000</c:v>
                </c:pt>
                <c:pt idx="547">
                  <c:v>3000</c:v>
                </c:pt>
                <c:pt idx="548">
                  <c:v>3000</c:v>
                </c:pt>
                <c:pt idx="549">
                  <c:v>3000</c:v>
                </c:pt>
                <c:pt idx="550">
                  <c:v>3000</c:v>
                </c:pt>
                <c:pt idx="551">
                  <c:v>3000</c:v>
                </c:pt>
                <c:pt idx="552">
                  <c:v>3000</c:v>
                </c:pt>
                <c:pt idx="553">
                  <c:v>3000</c:v>
                </c:pt>
                <c:pt idx="554">
                  <c:v>3000</c:v>
                </c:pt>
                <c:pt idx="555">
                  <c:v>3000</c:v>
                </c:pt>
                <c:pt idx="556">
                  <c:v>3000</c:v>
                </c:pt>
                <c:pt idx="557">
                  <c:v>3000</c:v>
                </c:pt>
                <c:pt idx="558">
                  <c:v>3000</c:v>
                </c:pt>
                <c:pt idx="559">
                  <c:v>3000</c:v>
                </c:pt>
                <c:pt idx="560">
                  <c:v>3000</c:v>
                </c:pt>
                <c:pt idx="561">
                  <c:v>3000</c:v>
                </c:pt>
                <c:pt idx="562">
                  <c:v>3000</c:v>
                </c:pt>
                <c:pt idx="563">
                  <c:v>3000</c:v>
                </c:pt>
                <c:pt idx="564">
                  <c:v>3000</c:v>
                </c:pt>
                <c:pt idx="565">
                  <c:v>3000</c:v>
                </c:pt>
                <c:pt idx="566">
                  <c:v>3000</c:v>
                </c:pt>
                <c:pt idx="567">
                  <c:v>3000</c:v>
                </c:pt>
                <c:pt idx="568">
                  <c:v>3000</c:v>
                </c:pt>
                <c:pt idx="569">
                  <c:v>3000</c:v>
                </c:pt>
                <c:pt idx="570">
                  <c:v>3000</c:v>
                </c:pt>
                <c:pt idx="571">
                  <c:v>3000</c:v>
                </c:pt>
                <c:pt idx="572">
                  <c:v>3000</c:v>
                </c:pt>
                <c:pt idx="573">
                  <c:v>3000</c:v>
                </c:pt>
                <c:pt idx="574">
                  <c:v>3000</c:v>
                </c:pt>
                <c:pt idx="575">
                  <c:v>3000</c:v>
                </c:pt>
                <c:pt idx="576">
                  <c:v>3000</c:v>
                </c:pt>
                <c:pt idx="577">
                  <c:v>3000</c:v>
                </c:pt>
                <c:pt idx="578">
                  <c:v>3000</c:v>
                </c:pt>
                <c:pt idx="579">
                  <c:v>3000</c:v>
                </c:pt>
                <c:pt idx="580">
                  <c:v>3000</c:v>
                </c:pt>
                <c:pt idx="581">
                  <c:v>3000</c:v>
                </c:pt>
                <c:pt idx="582">
                  <c:v>3000</c:v>
                </c:pt>
                <c:pt idx="583">
                  <c:v>3000</c:v>
                </c:pt>
                <c:pt idx="584">
                  <c:v>3000</c:v>
                </c:pt>
                <c:pt idx="585">
                  <c:v>3000</c:v>
                </c:pt>
                <c:pt idx="586">
                  <c:v>3000</c:v>
                </c:pt>
                <c:pt idx="587">
                  <c:v>3000</c:v>
                </c:pt>
                <c:pt idx="588">
                  <c:v>3000</c:v>
                </c:pt>
                <c:pt idx="589">
                  <c:v>3000</c:v>
                </c:pt>
                <c:pt idx="590">
                  <c:v>3000</c:v>
                </c:pt>
                <c:pt idx="591">
                  <c:v>3000</c:v>
                </c:pt>
                <c:pt idx="592">
                  <c:v>3000</c:v>
                </c:pt>
                <c:pt idx="593">
                  <c:v>3000</c:v>
                </c:pt>
                <c:pt idx="594">
                  <c:v>3000</c:v>
                </c:pt>
                <c:pt idx="595">
                  <c:v>3000</c:v>
                </c:pt>
                <c:pt idx="596">
                  <c:v>3000</c:v>
                </c:pt>
                <c:pt idx="597">
                  <c:v>3000</c:v>
                </c:pt>
                <c:pt idx="598">
                  <c:v>3000</c:v>
                </c:pt>
                <c:pt idx="599">
                  <c:v>3000</c:v>
                </c:pt>
                <c:pt idx="600">
                  <c:v>3000</c:v>
                </c:pt>
                <c:pt idx="601">
                  <c:v>3000</c:v>
                </c:pt>
                <c:pt idx="602">
                  <c:v>3000</c:v>
                </c:pt>
                <c:pt idx="603">
                  <c:v>3000</c:v>
                </c:pt>
                <c:pt idx="604">
                  <c:v>3000</c:v>
                </c:pt>
                <c:pt idx="605">
                  <c:v>3000</c:v>
                </c:pt>
                <c:pt idx="606">
                  <c:v>3000</c:v>
                </c:pt>
                <c:pt idx="607">
                  <c:v>3000</c:v>
                </c:pt>
                <c:pt idx="608">
                  <c:v>3000</c:v>
                </c:pt>
                <c:pt idx="609">
                  <c:v>3000</c:v>
                </c:pt>
                <c:pt idx="610">
                  <c:v>3000</c:v>
                </c:pt>
                <c:pt idx="611">
                  <c:v>3000</c:v>
                </c:pt>
                <c:pt idx="612">
                  <c:v>3000</c:v>
                </c:pt>
                <c:pt idx="613">
                  <c:v>3000</c:v>
                </c:pt>
                <c:pt idx="614">
                  <c:v>3000</c:v>
                </c:pt>
                <c:pt idx="615">
                  <c:v>3000</c:v>
                </c:pt>
                <c:pt idx="616">
                  <c:v>3000</c:v>
                </c:pt>
                <c:pt idx="617">
                  <c:v>3000</c:v>
                </c:pt>
                <c:pt idx="618">
                  <c:v>3000</c:v>
                </c:pt>
                <c:pt idx="619">
                  <c:v>3000</c:v>
                </c:pt>
                <c:pt idx="620">
                  <c:v>3000</c:v>
                </c:pt>
                <c:pt idx="621">
                  <c:v>3000</c:v>
                </c:pt>
                <c:pt idx="622">
                  <c:v>3000</c:v>
                </c:pt>
                <c:pt idx="623">
                  <c:v>3000</c:v>
                </c:pt>
                <c:pt idx="624">
                  <c:v>3000</c:v>
                </c:pt>
                <c:pt idx="625">
                  <c:v>3000</c:v>
                </c:pt>
                <c:pt idx="626">
                  <c:v>3000</c:v>
                </c:pt>
                <c:pt idx="627">
                  <c:v>3000</c:v>
                </c:pt>
                <c:pt idx="628">
                  <c:v>3000</c:v>
                </c:pt>
                <c:pt idx="629">
                  <c:v>3000</c:v>
                </c:pt>
                <c:pt idx="630">
                  <c:v>3000</c:v>
                </c:pt>
                <c:pt idx="631">
                  <c:v>3000</c:v>
                </c:pt>
                <c:pt idx="632">
                  <c:v>3000</c:v>
                </c:pt>
                <c:pt idx="633">
                  <c:v>3000</c:v>
                </c:pt>
                <c:pt idx="634">
                  <c:v>3000</c:v>
                </c:pt>
                <c:pt idx="635">
                  <c:v>3000</c:v>
                </c:pt>
                <c:pt idx="636">
                  <c:v>3000</c:v>
                </c:pt>
                <c:pt idx="637">
                  <c:v>3000</c:v>
                </c:pt>
                <c:pt idx="638">
                  <c:v>3000</c:v>
                </c:pt>
                <c:pt idx="639">
                  <c:v>3000</c:v>
                </c:pt>
                <c:pt idx="640">
                  <c:v>3000</c:v>
                </c:pt>
                <c:pt idx="641">
                  <c:v>3000</c:v>
                </c:pt>
                <c:pt idx="642">
                  <c:v>3000</c:v>
                </c:pt>
                <c:pt idx="643">
                  <c:v>3000</c:v>
                </c:pt>
                <c:pt idx="644">
                  <c:v>3000</c:v>
                </c:pt>
                <c:pt idx="645">
                  <c:v>3000</c:v>
                </c:pt>
                <c:pt idx="646">
                  <c:v>3000</c:v>
                </c:pt>
                <c:pt idx="647">
                  <c:v>3000</c:v>
                </c:pt>
                <c:pt idx="648">
                  <c:v>3000</c:v>
                </c:pt>
                <c:pt idx="649">
                  <c:v>3000</c:v>
                </c:pt>
                <c:pt idx="650">
                  <c:v>3000</c:v>
                </c:pt>
                <c:pt idx="651">
                  <c:v>3000</c:v>
                </c:pt>
                <c:pt idx="652">
                  <c:v>3000</c:v>
                </c:pt>
                <c:pt idx="653">
                  <c:v>3000</c:v>
                </c:pt>
                <c:pt idx="654">
                  <c:v>3000</c:v>
                </c:pt>
                <c:pt idx="655">
                  <c:v>3000</c:v>
                </c:pt>
                <c:pt idx="656">
                  <c:v>3000</c:v>
                </c:pt>
                <c:pt idx="657">
                  <c:v>3000</c:v>
                </c:pt>
                <c:pt idx="658">
                  <c:v>3000</c:v>
                </c:pt>
                <c:pt idx="659">
                  <c:v>3000</c:v>
                </c:pt>
                <c:pt idx="660">
                  <c:v>3000</c:v>
                </c:pt>
                <c:pt idx="661">
                  <c:v>3000</c:v>
                </c:pt>
                <c:pt idx="662">
                  <c:v>3000</c:v>
                </c:pt>
                <c:pt idx="663">
                  <c:v>3000</c:v>
                </c:pt>
                <c:pt idx="664">
                  <c:v>3000</c:v>
                </c:pt>
                <c:pt idx="665">
                  <c:v>3000</c:v>
                </c:pt>
                <c:pt idx="666">
                  <c:v>3000</c:v>
                </c:pt>
                <c:pt idx="667">
                  <c:v>3000</c:v>
                </c:pt>
                <c:pt idx="668">
                  <c:v>3000</c:v>
                </c:pt>
                <c:pt idx="669">
                  <c:v>3000</c:v>
                </c:pt>
                <c:pt idx="670">
                  <c:v>3000</c:v>
                </c:pt>
                <c:pt idx="671">
                  <c:v>3000</c:v>
                </c:pt>
                <c:pt idx="672">
                  <c:v>3000</c:v>
                </c:pt>
                <c:pt idx="673">
                  <c:v>3000</c:v>
                </c:pt>
                <c:pt idx="674">
                  <c:v>3000</c:v>
                </c:pt>
                <c:pt idx="675">
                  <c:v>3000</c:v>
                </c:pt>
                <c:pt idx="676">
                  <c:v>3000</c:v>
                </c:pt>
                <c:pt idx="677">
                  <c:v>3000</c:v>
                </c:pt>
                <c:pt idx="678">
                  <c:v>3000</c:v>
                </c:pt>
                <c:pt idx="679">
                  <c:v>3000</c:v>
                </c:pt>
                <c:pt idx="680">
                  <c:v>3000</c:v>
                </c:pt>
                <c:pt idx="681">
                  <c:v>3000</c:v>
                </c:pt>
                <c:pt idx="682">
                  <c:v>3000</c:v>
                </c:pt>
                <c:pt idx="683">
                  <c:v>3000</c:v>
                </c:pt>
                <c:pt idx="684">
                  <c:v>3000</c:v>
                </c:pt>
                <c:pt idx="685">
                  <c:v>3000</c:v>
                </c:pt>
                <c:pt idx="686">
                  <c:v>3000</c:v>
                </c:pt>
                <c:pt idx="687">
                  <c:v>3000</c:v>
                </c:pt>
                <c:pt idx="688">
                  <c:v>3000</c:v>
                </c:pt>
                <c:pt idx="689">
                  <c:v>3000</c:v>
                </c:pt>
                <c:pt idx="690">
                  <c:v>3000</c:v>
                </c:pt>
                <c:pt idx="691">
                  <c:v>3000</c:v>
                </c:pt>
                <c:pt idx="692">
                  <c:v>3000</c:v>
                </c:pt>
                <c:pt idx="693">
                  <c:v>3000</c:v>
                </c:pt>
                <c:pt idx="694">
                  <c:v>3000</c:v>
                </c:pt>
                <c:pt idx="695">
                  <c:v>3000</c:v>
                </c:pt>
                <c:pt idx="696">
                  <c:v>3000</c:v>
                </c:pt>
                <c:pt idx="697">
                  <c:v>3000</c:v>
                </c:pt>
                <c:pt idx="698">
                  <c:v>3000</c:v>
                </c:pt>
                <c:pt idx="699">
                  <c:v>3000</c:v>
                </c:pt>
                <c:pt idx="700">
                  <c:v>3000</c:v>
                </c:pt>
                <c:pt idx="701">
                  <c:v>3000</c:v>
                </c:pt>
                <c:pt idx="702">
                  <c:v>3000</c:v>
                </c:pt>
                <c:pt idx="703">
                  <c:v>3000</c:v>
                </c:pt>
                <c:pt idx="704">
                  <c:v>3000</c:v>
                </c:pt>
                <c:pt idx="705">
                  <c:v>3000</c:v>
                </c:pt>
                <c:pt idx="706">
                  <c:v>3000</c:v>
                </c:pt>
                <c:pt idx="707">
                  <c:v>3000</c:v>
                </c:pt>
                <c:pt idx="708">
                  <c:v>3000</c:v>
                </c:pt>
                <c:pt idx="709">
                  <c:v>3000</c:v>
                </c:pt>
                <c:pt idx="710">
                  <c:v>3000</c:v>
                </c:pt>
                <c:pt idx="711">
                  <c:v>3000</c:v>
                </c:pt>
                <c:pt idx="712">
                  <c:v>3000</c:v>
                </c:pt>
                <c:pt idx="713">
                  <c:v>3000</c:v>
                </c:pt>
                <c:pt idx="714">
                  <c:v>3000</c:v>
                </c:pt>
                <c:pt idx="715">
                  <c:v>3000</c:v>
                </c:pt>
                <c:pt idx="716">
                  <c:v>3000</c:v>
                </c:pt>
                <c:pt idx="717">
                  <c:v>3000</c:v>
                </c:pt>
                <c:pt idx="718">
                  <c:v>3000</c:v>
                </c:pt>
                <c:pt idx="719">
                  <c:v>3000</c:v>
                </c:pt>
                <c:pt idx="720">
                  <c:v>3000</c:v>
                </c:pt>
                <c:pt idx="721">
                  <c:v>3000</c:v>
                </c:pt>
                <c:pt idx="722">
                  <c:v>3000</c:v>
                </c:pt>
                <c:pt idx="723">
                  <c:v>3000</c:v>
                </c:pt>
                <c:pt idx="724">
                  <c:v>3000</c:v>
                </c:pt>
                <c:pt idx="725">
                  <c:v>3000</c:v>
                </c:pt>
                <c:pt idx="726">
                  <c:v>3000</c:v>
                </c:pt>
                <c:pt idx="727">
                  <c:v>3000</c:v>
                </c:pt>
                <c:pt idx="728">
                  <c:v>3000</c:v>
                </c:pt>
                <c:pt idx="729">
                  <c:v>3000</c:v>
                </c:pt>
                <c:pt idx="730">
                  <c:v>3000</c:v>
                </c:pt>
                <c:pt idx="731">
                  <c:v>3000</c:v>
                </c:pt>
                <c:pt idx="732">
                  <c:v>3000</c:v>
                </c:pt>
                <c:pt idx="733">
                  <c:v>3000</c:v>
                </c:pt>
                <c:pt idx="734">
                  <c:v>3000</c:v>
                </c:pt>
                <c:pt idx="735">
                  <c:v>3000</c:v>
                </c:pt>
                <c:pt idx="736">
                  <c:v>3000</c:v>
                </c:pt>
                <c:pt idx="737">
                  <c:v>3000</c:v>
                </c:pt>
              </c:numCache>
            </c:numRef>
          </c:val>
          <c:smooth val="0"/>
          <c:extLst>
            <c:ext xmlns:c16="http://schemas.microsoft.com/office/drawing/2014/chart" uri="{C3380CC4-5D6E-409C-BE32-E72D297353CC}">
              <c16:uniqueId val="{00000001-13C6-43A6-ABA5-E1F28AF8261F}"/>
            </c:ext>
          </c:extLst>
        </c:ser>
        <c:dLbls>
          <c:showLegendKey val="0"/>
          <c:showVal val="0"/>
          <c:showCatName val="0"/>
          <c:showSerName val="0"/>
          <c:showPercent val="0"/>
          <c:showBubbleSize val="0"/>
        </c:dLbls>
        <c:smooth val="0"/>
        <c:axId val="1412180063"/>
        <c:axId val="302679728"/>
      </c:lineChart>
      <c:dateAx>
        <c:axId val="1412180063"/>
        <c:scaling>
          <c:orientation val="minMax"/>
        </c:scaling>
        <c:delete val="0"/>
        <c:axPos val="b"/>
        <c:numFmt formatCode="yy/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302679728"/>
        <c:crosses val="autoZero"/>
        <c:auto val="1"/>
        <c:lblOffset val="100"/>
        <c:baseTimeUnit val="days"/>
      </c:dateAx>
      <c:valAx>
        <c:axId val="302679728"/>
        <c:scaling>
          <c:orientation val="minMax"/>
          <c:min val="25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41218006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zh-CN"/>
              <a:t>主流产地电价</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manualLayout>
          <c:layoutTarget val="inner"/>
          <c:xMode val="edge"/>
          <c:yMode val="edge"/>
          <c:x val="6.1936068965912944E-2"/>
          <c:y val="0.16376507936507936"/>
          <c:w val="0.90816223096702609"/>
          <c:h val="0.56664761904761896"/>
        </c:manualLayout>
      </c:layout>
      <c:lineChart>
        <c:grouping val="standard"/>
        <c:varyColors val="0"/>
        <c:ser>
          <c:idx val="0"/>
          <c:order val="0"/>
          <c:tx>
            <c:strRef>
              <c:f>主流省份电价!$CV$5</c:f>
              <c:strCache>
                <c:ptCount val="1"/>
                <c:pt idx="0">
                  <c:v>四川平均</c:v>
                </c:pt>
              </c:strCache>
            </c:strRef>
          </c:tx>
          <c:spPr>
            <a:ln w="28575" cap="rnd">
              <a:solidFill>
                <a:srgbClr val="7030A0"/>
              </a:solidFill>
              <a:round/>
            </a:ln>
            <a:effectLst/>
          </c:spPr>
          <c:marker>
            <c:symbol val="none"/>
          </c:marker>
          <c:cat>
            <c:numRef>
              <c:f>主流省份电价!$CU$6:$CU$743</c:f>
              <c:numCache>
                <c:formatCode>m/d/yyyy</c:formatCode>
                <c:ptCount val="738"/>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numCache>
            </c:numRef>
          </c:cat>
          <c:val>
            <c:numRef>
              <c:f>主流省份电价!$CV$6:$CV$743</c:f>
              <c:numCache>
                <c:formatCode>General</c:formatCode>
                <c:ptCount val="738"/>
                <c:pt idx="0">
                  <c:v>0.39666666666666667</c:v>
                </c:pt>
                <c:pt idx="1">
                  <c:v>0.39666666666666667</c:v>
                </c:pt>
                <c:pt idx="2">
                  <c:v>0.39666666666666667</c:v>
                </c:pt>
                <c:pt idx="3">
                  <c:v>0.39666666666666667</c:v>
                </c:pt>
                <c:pt idx="4">
                  <c:v>0.39666666666666667</c:v>
                </c:pt>
                <c:pt idx="5">
                  <c:v>0.39666666666666667</c:v>
                </c:pt>
                <c:pt idx="6">
                  <c:v>0.39666666666666667</c:v>
                </c:pt>
                <c:pt idx="7">
                  <c:v>0.39666666666666667</c:v>
                </c:pt>
                <c:pt idx="8">
                  <c:v>0.39666666666666667</c:v>
                </c:pt>
                <c:pt idx="9">
                  <c:v>0.39666666666666667</c:v>
                </c:pt>
                <c:pt idx="10">
                  <c:v>0.39666666666666667</c:v>
                </c:pt>
                <c:pt idx="11">
                  <c:v>0.39666666666666667</c:v>
                </c:pt>
                <c:pt idx="12">
                  <c:v>0.39666666666666667</c:v>
                </c:pt>
                <c:pt idx="13">
                  <c:v>0.39666666666666667</c:v>
                </c:pt>
                <c:pt idx="14">
                  <c:v>0.39666666666666667</c:v>
                </c:pt>
                <c:pt idx="15">
                  <c:v>0.39666666666666667</c:v>
                </c:pt>
                <c:pt idx="16">
                  <c:v>0.39666666666666667</c:v>
                </c:pt>
                <c:pt idx="17">
                  <c:v>0.39666666666666667</c:v>
                </c:pt>
                <c:pt idx="18">
                  <c:v>0.39666666666666667</c:v>
                </c:pt>
                <c:pt idx="19">
                  <c:v>0.39666666666666667</c:v>
                </c:pt>
                <c:pt idx="20">
                  <c:v>0.39666666666666667</c:v>
                </c:pt>
                <c:pt idx="21">
                  <c:v>0.39666666666666667</c:v>
                </c:pt>
                <c:pt idx="22">
                  <c:v>0.5</c:v>
                </c:pt>
                <c:pt idx="23">
                  <c:v>0.5</c:v>
                </c:pt>
                <c:pt idx="24">
                  <c:v>0.5</c:v>
                </c:pt>
                <c:pt idx="25">
                  <c:v>0.5</c:v>
                </c:pt>
                <c:pt idx="26">
                  <c:v>0.5</c:v>
                </c:pt>
                <c:pt idx="27">
                  <c:v>0.5</c:v>
                </c:pt>
                <c:pt idx="28">
                  <c:v>0.5</c:v>
                </c:pt>
                <c:pt idx="29">
                  <c:v>0.5</c:v>
                </c:pt>
                <c:pt idx="30">
                  <c:v>0.5</c:v>
                </c:pt>
                <c:pt idx="31">
                  <c:v>0.5</c:v>
                </c:pt>
                <c:pt idx="32">
                  <c:v>0.5</c:v>
                </c:pt>
                <c:pt idx="33">
                  <c:v>0.5</c:v>
                </c:pt>
                <c:pt idx="34">
                  <c:v>0.5</c:v>
                </c:pt>
                <c:pt idx="35">
                  <c:v>0.5</c:v>
                </c:pt>
                <c:pt idx="36">
                  <c:v>0.5</c:v>
                </c:pt>
                <c:pt idx="37">
                  <c:v>0.5</c:v>
                </c:pt>
                <c:pt idx="38">
                  <c:v>0.5</c:v>
                </c:pt>
                <c:pt idx="39">
                  <c:v>0.5</c:v>
                </c:pt>
                <c:pt idx="40">
                  <c:v>0.5</c:v>
                </c:pt>
                <c:pt idx="41">
                  <c:v>0.5</c:v>
                </c:pt>
                <c:pt idx="42">
                  <c:v>0.5</c:v>
                </c:pt>
                <c:pt idx="43">
                  <c:v>0.5</c:v>
                </c:pt>
                <c:pt idx="44">
                  <c:v>0.5</c:v>
                </c:pt>
                <c:pt idx="45">
                  <c:v>0.5</c:v>
                </c:pt>
                <c:pt idx="46">
                  <c:v>0.5</c:v>
                </c:pt>
                <c:pt idx="47">
                  <c:v>0.5</c:v>
                </c:pt>
                <c:pt idx="48">
                  <c:v>0.5</c:v>
                </c:pt>
                <c:pt idx="49">
                  <c:v>0.5</c:v>
                </c:pt>
                <c:pt idx="50">
                  <c:v>0.5</c:v>
                </c:pt>
                <c:pt idx="51">
                  <c:v>0.5</c:v>
                </c:pt>
                <c:pt idx="52">
                  <c:v>0.60333333333333339</c:v>
                </c:pt>
                <c:pt idx="53">
                  <c:v>0.60333333333333339</c:v>
                </c:pt>
                <c:pt idx="54">
                  <c:v>0.60333333333333339</c:v>
                </c:pt>
                <c:pt idx="55">
                  <c:v>0.60333333333333339</c:v>
                </c:pt>
                <c:pt idx="56">
                  <c:v>0.60333333333333339</c:v>
                </c:pt>
                <c:pt idx="57">
                  <c:v>0.60333333333333339</c:v>
                </c:pt>
                <c:pt idx="58">
                  <c:v>0.60333333333333339</c:v>
                </c:pt>
                <c:pt idx="59">
                  <c:v>0.60333333333333339</c:v>
                </c:pt>
                <c:pt idx="60">
                  <c:v>0.60333333333333339</c:v>
                </c:pt>
                <c:pt idx="61">
                  <c:v>0.60333333333333339</c:v>
                </c:pt>
                <c:pt idx="62">
                  <c:v>0.60333333333333339</c:v>
                </c:pt>
                <c:pt idx="63">
                  <c:v>0.60333333333333339</c:v>
                </c:pt>
                <c:pt idx="64">
                  <c:v>0.60333333333333339</c:v>
                </c:pt>
                <c:pt idx="65">
                  <c:v>0.60333333333333339</c:v>
                </c:pt>
                <c:pt idx="66">
                  <c:v>0.60333333333333339</c:v>
                </c:pt>
                <c:pt idx="67">
                  <c:v>0.60333333333333339</c:v>
                </c:pt>
                <c:pt idx="68">
                  <c:v>0.60333333333333339</c:v>
                </c:pt>
                <c:pt idx="69">
                  <c:v>0.60333333333333339</c:v>
                </c:pt>
                <c:pt idx="70">
                  <c:v>0.60333333333333339</c:v>
                </c:pt>
                <c:pt idx="71">
                  <c:v>0.60333333333333339</c:v>
                </c:pt>
                <c:pt idx="72">
                  <c:v>0.60333333333333339</c:v>
                </c:pt>
                <c:pt idx="73">
                  <c:v>0.60333333333333339</c:v>
                </c:pt>
                <c:pt idx="74">
                  <c:v>0.60333333333333339</c:v>
                </c:pt>
                <c:pt idx="75">
                  <c:v>0.60333333333333339</c:v>
                </c:pt>
                <c:pt idx="76">
                  <c:v>0.60333333333333339</c:v>
                </c:pt>
                <c:pt idx="77">
                  <c:v>0.60333333333333339</c:v>
                </c:pt>
                <c:pt idx="78">
                  <c:v>0.60333333333333339</c:v>
                </c:pt>
                <c:pt idx="79">
                  <c:v>0.60333333333333339</c:v>
                </c:pt>
                <c:pt idx="80">
                  <c:v>0.6166666666666667</c:v>
                </c:pt>
                <c:pt idx="81">
                  <c:v>0.6166666666666667</c:v>
                </c:pt>
                <c:pt idx="82">
                  <c:v>0.6166666666666667</c:v>
                </c:pt>
                <c:pt idx="83">
                  <c:v>0.6166666666666667</c:v>
                </c:pt>
                <c:pt idx="84">
                  <c:v>0.6166666666666667</c:v>
                </c:pt>
                <c:pt idx="85">
                  <c:v>0.6166666666666667</c:v>
                </c:pt>
                <c:pt idx="86">
                  <c:v>0.6166666666666667</c:v>
                </c:pt>
                <c:pt idx="87">
                  <c:v>0.6166666666666667</c:v>
                </c:pt>
                <c:pt idx="88">
                  <c:v>0.6166666666666667</c:v>
                </c:pt>
                <c:pt idx="89">
                  <c:v>0.6166666666666667</c:v>
                </c:pt>
                <c:pt idx="90">
                  <c:v>0.6166666666666667</c:v>
                </c:pt>
                <c:pt idx="91">
                  <c:v>0.6166666666666667</c:v>
                </c:pt>
                <c:pt idx="92">
                  <c:v>0.6166666666666667</c:v>
                </c:pt>
                <c:pt idx="93">
                  <c:v>0.6166666666666667</c:v>
                </c:pt>
                <c:pt idx="94">
                  <c:v>0.6166666666666667</c:v>
                </c:pt>
                <c:pt idx="95">
                  <c:v>0.6166666666666667</c:v>
                </c:pt>
                <c:pt idx="96">
                  <c:v>0.6166666666666667</c:v>
                </c:pt>
                <c:pt idx="97">
                  <c:v>0.6166666666666667</c:v>
                </c:pt>
                <c:pt idx="98">
                  <c:v>0.6166666666666667</c:v>
                </c:pt>
                <c:pt idx="99">
                  <c:v>0.6166666666666667</c:v>
                </c:pt>
                <c:pt idx="100">
                  <c:v>0.6166666666666667</c:v>
                </c:pt>
                <c:pt idx="101">
                  <c:v>0.6166666666666667</c:v>
                </c:pt>
                <c:pt idx="102">
                  <c:v>0.6166666666666667</c:v>
                </c:pt>
                <c:pt idx="103">
                  <c:v>0.6166666666666667</c:v>
                </c:pt>
                <c:pt idx="104">
                  <c:v>0.6166666666666667</c:v>
                </c:pt>
                <c:pt idx="105">
                  <c:v>0.6166666666666667</c:v>
                </c:pt>
                <c:pt idx="106">
                  <c:v>0.6166666666666667</c:v>
                </c:pt>
                <c:pt idx="107">
                  <c:v>0.6166666666666667</c:v>
                </c:pt>
                <c:pt idx="108">
                  <c:v>0.6166666666666667</c:v>
                </c:pt>
                <c:pt idx="109">
                  <c:v>0.6166666666666667</c:v>
                </c:pt>
                <c:pt idx="110">
                  <c:v>0.6166666666666667</c:v>
                </c:pt>
                <c:pt idx="111">
                  <c:v>0.6166666666666667</c:v>
                </c:pt>
                <c:pt idx="112">
                  <c:v>0.6166666666666667</c:v>
                </c:pt>
                <c:pt idx="113">
                  <c:v>0.6166666666666667</c:v>
                </c:pt>
                <c:pt idx="114">
                  <c:v>0.6166666666666667</c:v>
                </c:pt>
                <c:pt idx="115">
                  <c:v>0.6166666666666667</c:v>
                </c:pt>
                <c:pt idx="116">
                  <c:v>0.6166666666666667</c:v>
                </c:pt>
                <c:pt idx="117">
                  <c:v>0.6166666666666667</c:v>
                </c:pt>
                <c:pt idx="118">
                  <c:v>0.6166666666666667</c:v>
                </c:pt>
                <c:pt idx="119">
                  <c:v>0.6166666666666667</c:v>
                </c:pt>
                <c:pt idx="120">
                  <c:v>0.6166666666666667</c:v>
                </c:pt>
                <c:pt idx="121">
                  <c:v>0.6166666666666667</c:v>
                </c:pt>
                <c:pt idx="122">
                  <c:v>0.6166666666666667</c:v>
                </c:pt>
                <c:pt idx="123">
                  <c:v>0.6166666666666667</c:v>
                </c:pt>
                <c:pt idx="124">
                  <c:v>0.6166666666666667</c:v>
                </c:pt>
                <c:pt idx="125">
                  <c:v>0.6166666666666667</c:v>
                </c:pt>
                <c:pt idx="126">
                  <c:v>0.6166666666666667</c:v>
                </c:pt>
                <c:pt idx="127">
                  <c:v>0.6166666666666667</c:v>
                </c:pt>
                <c:pt idx="128">
                  <c:v>0.6166666666666667</c:v>
                </c:pt>
                <c:pt idx="129">
                  <c:v>0.6166666666666667</c:v>
                </c:pt>
                <c:pt idx="130">
                  <c:v>0.6166666666666667</c:v>
                </c:pt>
                <c:pt idx="131">
                  <c:v>0.6166666666666667</c:v>
                </c:pt>
                <c:pt idx="132">
                  <c:v>0.6166666666666667</c:v>
                </c:pt>
                <c:pt idx="133">
                  <c:v>0.6166666666666667</c:v>
                </c:pt>
                <c:pt idx="134">
                  <c:v>0.6166666666666667</c:v>
                </c:pt>
                <c:pt idx="135">
                  <c:v>0.6166666666666667</c:v>
                </c:pt>
                <c:pt idx="136">
                  <c:v>0.6166666666666667</c:v>
                </c:pt>
                <c:pt idx="137">
                  <c:v>0.6166666666666667</c:v>
                </c:pt>
                <c:pt idx="138">
                  <c:v>0.6166666666666667</c:v>
                </c:pt>
                <c:pt idx="139">
                  <c:v>0.6166666666666667</c:v>
                </c:pt>
                <c:pt idx="140">
                  <c:v>0.6166666666666667</c:v>
                </c:pt>
                <c:pt idx="141">
                  <c:v>0.6166666666666667</c:v>
                </c:pt>
                <c:pt idx="142">
                  <c:v>0.6166666666666667</c:v>
                </c:pt>
                <c:pt idx="143">
                  <c:v>0.6166666666666667</c:v>
                </c:pt>
                <c:pt idx="144">
                  <c:v>0.6166666666666667</c:v>
                </c:pt>
                <c:pt idx="145">
                  <c:v>0.6166666666666667</c:v>
                </c:pt>
                <c:pt idx="146">
                  <c:v>0.6166666666666667</c:v>
                </c:pt>
                <c:pt idx="147">
                  <c:v>0.6166666666666667</c:v>
                </c:pt>
                <c:pt idx="148">
                  <c:v>0.6166666666666667</c:v>
                </c:pt>
                <c:pt idx="149">
                  <c:v>0.6166666666666667</c:v>
                </c:pt>
                <c:pt idx="150">
                  <c:v>0.6166666666666667</c:v>
                </c:pt>
                <c:pt idx="151">
                  <c:v>0.6166666666666667</c:v>
                </c:pt>
                <c:pt idx="152">
                  <c:v>0.6166666666666667</c:v>
                </c:pt>
                <c:pt idx="153">
                  <c:v>0.6166666666666667</c:v>
                </c:pt>
                <c:pt idx="154">
                  <c:v>0.6166666666666667</c:v>
                </c:pt>
                <c:pt idx="155">
                  <c:v>0.6166666666666667</c:v>
                </c:pt>
                <c:pt idx="156">
                  <c:v>0.6166666666666667</c:v>
                </c:pt>
                <c:pt idx="157">
                  <c:v>0.6166666666666667</c:v>
                </c:pt>
                <c:pt idx="158">
                  <c:v>0.6166666666666667</c:v>
                </c:pt>
                <c:pt idx="159">
                  <c:v>0.6166666666666667</c:v>
                </c:pt>
                <c:pt idx="160">
                  <c:v>0.6166666666666667</c:v>
                </c:pt>
                <c:pt idx="161">
                  <c:v>0.6166666666666667</c:v>
                </c:pt>
                <c:pt idx="162">
                  <c:v>0.6166666666666667</c:v>
                </c:pt>
                <c:pt idx="163">
                  <c:v>0.6166666666666667</c:v>
                </c:pt>
                <c:pt idx="164">
                  <c:v>0.6166666666666667</c:v>
                </c:pt>
                <c:pt idx="165">
                  <c:v>0.6166666666666667</c:v>
                </c:pt>
                <c:pt idx="166">
                  <c:v>0.6166666666666667</c:v>
                </c:pt>
                <c:pt idx="167">
                  <c:v>0.6166666666666667</c:v>
                </c:pt>
                <c:pt idx="168">
                  <c:v>0.6166666666666667</c:v>
                </c:pt>
                <c:pt idx="169">
                  <c:v>0.6166666666666667</c:v>
                </c:pt>
                <c:pt idx="170">
                  <c:v>0.6166666666666667</c:v>
                </c:pt>
                <c:pt idx="171">
                  <c:v>0.6166666666666667</c:v>
                </c:pt>
                <c:pt idx="172">
                  <c:v>0.6166666666666667</c:v>
                </c:pt>
                <c:pt idx="173">
                  <c:v>0.6166666666666667</c:v>
                </c:pt>
                <c:pt idx="174">
                  <c:v>0.6166666666666667</c:v>
                </c:pt>
                <c:pt idx="175">
                  <c:v>0.6166666666666667</c:v>
                </c:pt>
                <c:pt idx="176">
                  <c:v>0.6166666666666667</c:v>
                </c:pt>
                <c:pt idx="177">
                  <c:v>0.6166666666666667</c:v>
                </c:pt>
                <c:pt idx="178">
                  <c:v>0.6166666666666667</c:v>
                </c:pt>
                <c:pt idx="179">
                  <c:v>0.6166666666666667</c:v>
                </c:pt>
                <c:pt idx="180">
                  <c:v>0.6166666666666667</c:v>
                </c:pt>
                <c:pt idx="181">
                  <c:v>0.6166666666666667</c:v>
                </c:pt>
                <c:pt idx="182">
                  <c:v>0.6166666666666667</c:v>
                </c:pt>
                <c:pt idx="183">
                  <c:v>0.6166666666666667</c:v>
                </c:pt>
                <c:pt idx="184">
                  <c:v>0.6166666666666667</c:v>
                </c:pt>
                <c:pt idx="185">
                  <c:v>0.6166666666666667</c:v>
                </c:pt>
                <c:pt idx="186">
                  <c:v>0.6166666666666667</c:v>
                </c:pt>
                <c:pt idx="187">
                  <c:v>0.6166666666666667</c:v>
                </c:pt>
                <c:pt idx="188">
                  <c:v>0.6166666666666667</c:v>
                </c:pt>
                <c:pt idx="189">
                  <c:v>0.6166666666666667</c:v>
                </c:pt>
                <c:pt idx="190">
                  <c:v>0.6166666666666667</c:v>
                </c:pt>
                <c:pt idx="191">
                  <c:v>0.6166666666666667</c:v>
                </c:pt>
                <c:pt idx="192">
                  <c:v>0.6166666666666667</c:v>
                </c:pt>
                <c:pt idx="193">
                  <c:v>0.6166666666666667</c:v>
                </c:pt>
                <c:pt idx="194">
                  <c:v>0.6166666666666667</c:v>
                </c:pt>
                <c:pt idx="195">
                  <c:v>0.6166666666666667</c:v>
                </c:pt>
                <c:pt idx="196">
                  <c:v>0.6166666666666667</c:v>
                </c:pt>
                <c:pt idx="197">
                  <c:v>0.6166666666666667</c:v>
                </c:pt>
                <c:pt idx="198">
                  <c:v>0.6166666666666667</c:v>
                </c:pt>
                <c:pt idx="199">
                  <c:v>0.6166666666666667</c:v>
                </c:pt>
                <c:pt idx="200">
                  <c:v>0.6166666666666667</c:v>
                </c:pt>
                <c:pt idx="201">
                  <c:v>0.6166666666666667</c:v>
                </c:pt>
                <c:pt idx="202">
                  <c:v>0.6166666666666667</c:v>
                </c:pt>
                <c:pt idx="203">
                  <c:v>0.6166666666666667</c:v>
                </c:pt>
                <c:pt idx="204">
                  <c:v>0.6166666666666667</c:v>
                </c:pt>
                <c:pt idx="205">
                  <c:v>0.6166666666666667</c:v>
                </c:pt>
                <c:pt idx="206">
                  <c:v>0.6166666666666667</c:v>
                </c:pt>
                <c:pt idx="207">
                  <c:v>0.49333333333333335</c:v>
                </c:pt>
                <c:pt idx="208">
                  <c:v>0.49333333333333335</c:v>
                </c:pt>
                <c:pt idx="209">
                  <c:v>0.49333333333333335</c:v>
                </c:pt>
                <c:pt idx="210">
                  <c:v>0.49333333333333335</c:v>
                </c:pt>
                <c:pt idx="211">
                  <c:v>0.49333333333333335</c:v>
                </c:pt>
                <c:pt idx="212">
                  <c:v>0.49333333333333335</c:v>
                </c:pt>
                <c:pt idx="213">
                  <c:v>0.49333333333333335</c:v>
                </c:pt>
                <c:pt idx="214">
                  <c:v>0.49333333333333335</c:v>
                </c:pt>
                <c:pt idx="215">
                  <c:v>0.49333333333333335</c:v>
                </c:pt>
                <c:pt idx="216">
                  <c:v>0.49333333333333335</c:v>
                </c:pt>
                <c:pt idx="217">
                  <c:v>0.49333333333333335</c:v>
                </c:pt>
                <c:pt idx="218">
                  <c:v>0.49333333333333335</c:v>
                </c:pt>
                <c:pt idx="219">
                  <c:v>0.49333333333333335</c:v>
                </c:pt>
                <c:pt idx="220">
                  <c:v>0.49333333333333335</c:v>
                </c:pt>
                <c:pt idx="221">
                  <c:v>0.49333333333333335</c:v>
                </c:pt>
                <c:pt idx="222">
                  <c:v>0.49333333333333335</c:v>
                </c:pt>
                <c:pt idx="223">
                  <c:v>0.49333333333333335</c:v>
                </c:pt>
                <c:pt idx="224">
                  <c:v>0.49333333333333335</c:v>
                </c:pt>
                <c:pt idx="225">
                  <c:v>0.49333333333333335</c:v>
                </c:pt>
                <c:pt idx="226">
                  <c:v>0.49333333333333335</c:v>
                </c:pt>
                <c:pt idx="227">
                  <c:v>0.49333333333333335</c:v>
                </c:pt>
                <c:pt idx="228">
                  <c:v>0.49333333333333335</c:v>
                </c:pt>
                <c:pt idx="229">
                  <c:v>0.49333333333333335</c:v>
                </c:pt>
                <c:pt idx="230">
                  <c:v>0.49333333333333335</c:v>
                </c:pt>
                <c:pt idx="231">
                  <c:v>0.49333333333333335</c:v>
                </c:pt>
                <c:pt idx="232">
                  <c:v>0.49333333333333335</c:v>
                </c:pt>
                <c:pt idx="233">
                  <c:v>0.49333333333333335</c:v>
                </c:pt>
                <c:pt idx="234">
                  <c:v>0.49333333333333335</c:v>
                </c:pt>
                <c:pt idx="235">
                  <c:v>0.49333333333333335</c:v>
                </c:pt>
                <c:pt idx="236">
                  <c:v>0.49333333333333335</c:v>
                </c:pt>
                <c:pt idx="237">
                  <c:v>0.49333333333333335</c:v>
                </c:pt>
                <c:pt idx="238">
                  <c:v>0.49333333333333335</c:v>
                </c:pt>
                <c:pt idx="239">
                  <c:v>0.49333333333333335</c:v>
                </c:pt>
                <c:pt idx="240">
                  <c:v>0.49333333333333335</c:v>
                </c:pt>
                <c:pt idx="241">
                  <c:v>0.49333333333333335</c:v>
                </c:pt>
                <c:pt idx="242">
                  <c:v>0.49333333333333335</c:v>
                </c:pt>
                <c:pt idx="243">
                  <c:v>0.49333333333333335</c:v>
                </c:pt>
                <c:pt idx="244">
                  <c:v>0.49333333333333335</c:v>
                </c:pt>
                <c:pt idx="245">
                  <c:v>0.38666666666666671</c:v>
                </c:pt>
                <c:pt idx="246">
                  <c:v>0.38666666666666671</c:v>
                </c:pt>
                <c:pt idx="247">
                  <c:v>0.38666666666666671</c:v>
                </c:pt>
                <c:pt idx="248">
                  <c:v>0.38666666666666671</c:v>
                </c:pt>
                <c:pt idx="249">
                  <c:v>0.38666666666666671</c:v>
                </c:pt>
                <c:pt idx="250">
                  <c:v>0.38666666666666671</c:v>
                </c:pt>
                <c:pt idx="251">
                  <c:v>0.38666666666666671</c:v>
                </c:pt>
                <c:pt idx="252">
                  <c:v>0.38666666666666671</c:v>
                </c:pt>
                <c:pt idx="253">
                  <c:v>0.38666666666666671</c:v>
                </c:pt>
                <c:pt idx="254">
                  <c:v>0.38666666666666671</c:v>
                </c:pt>
                <c:pt idx="255">
                  <c:v>0.38666666666666671</c:v>
                </c:pt>
                <c:pt idx="256">
                  <c:v>0.38666666666666671</c:v>
                </c:pt>
                <c:pt idx="257">
                  <c:v>0.38666666666666671</c:v>
                </c:pt>
                <c:pt idx="258">
                  <c:v>0.38666666666666671</c:v>
                </c:pt>
                <c:pt idx="259">
                  <c:v>0.38666666666666671</c:v>
                </c:pt>
                <c:pt idx="260">
                  <c:v>0.38666666666666671</c:v>
                </c:pt>
                <c:pt idx="261">
                  <c:v>0.38666666666666671</c:v>
                </c:pt>
                <c:pt idx="262">
                  <c:v>0.38666666666666671</c:v>
                </c:pt>
                <c:pt idx="263">
                  <c:v>0.38666666666666671</c:v>
                </c:pt>
                <c:pt idx="264">
                  <c:v>0.38666666666666671</c:v>
                </c:pt>
                <c:pt idx="265">
                  <c:v>0.38666666666666671</c:v>
                </c:pt>
                <c:pt idx="266">
                  <c:v>0.38666666666666671</c:v>
                </c:pt>
                <c:pt idx="267">
                  <c:v>0.38666666666666671</c:v>
                </c:pt>
                <c:pt idx="268">
                  <c:v>0.38666666666666671</c:v>
                </c:pt>
                <c:pt idx="269">
                  <c:v>0.38666666666666671</c:v>
                </c:pt>
                <c:pt idx="270">
                  <c:v>0.38666666666666671</c:v>
                </c:pt>
                <c:pt idx="271">
                  <c:v>0.38666666666666671</c:v>
                </c:pt>
                <c:pt idx="272">
                  <c:v>0.38666666666666671</c:v>
                </c:pt>
                <c:pt idx="273">
                  <c:v>0.38666666666666671</c:v>
                </c:pt>
                <c:pt idx="274">
                  <c:v>0.38666666666666671</c:v>
                </c:pt>
                <c:pt idx="275">
                  <c:v>0.38666666666666671</c:v>
                </c:pt>
                <c:pt idx="276">
                  <c:v>0.38666666666666671</c:v>
                </c:pt>
                <c:pt idx="277">
                  <c:v>0.38666666666666671</c:v>
                </c:pt>
                <c:pt idx="278">
                  <c:v>0.38666666666666671</c:v>
                </c:pt>
                <c:pt idx="279">
                  <c:v>0.38666666666666671</c:v>
                </c:pt>
                <c:pt idx="280">
                  <c:v>0.38666666666666671</c:v>
                </c:pt>
                <c:pt idx="281">
                  <c:v>0.38666666666666671</c:v>
                </c:pt>
                <c:pt idx="282">
                  <c:v>0.38666666666666671</c:v>
                </c:pt>
                <c:pt idx="283">
                  <c:v>0.38666666666666671</c:v>
                </c:pt>
                <c:pt idx="284">
                  <c:v>0.38666666666666671</c:v>
                </c:pt>
                <c:pt idx="285">
                  <c:v>0.38666666666666671</c:v>
                </c:pt>
                <c:pt idx="286">
                  <c:v>0.38666666666666671</c:v>
                </c:pt>
                <c:pt idx="287">
                  <c:v>0.38666666666666671</c:v>
                </c:pt>
                <c:pt idx="288">
                  <c:v>0.38666666666666671</c:v>
                </c:pt>
                <c:pt idx="289">
                  <c:v>0.38666666666666671</c:v>
                </c:pt>
                <c:pt idx="290">
                  <c:v>0.38666666666666671</c:v>
                </c:pt>
                <c:pt idx="291">
                  <c:v>0.38666666666666671</c:v>
                </c:pt>
                <c:pt idx="292">
                  <c:v>0.38666666666666671</c:v>
                </c:pt>
                <c:pt idx="293">
                  <c:v>0.38666666666666671</c:v>
                </c:pt>
                <c:pt idx="294">
                  <c:v>0.38666666666666671</c:v>
                </c:pt>
                <c:pt idx="295">
                  <c:v>0.38666666666666671</c:v>
                </c:pt>
                <c:pt idx="296">
                  <c:v>0.38666666666666671</c:v>
                </c:pt>
                <c:pt idx="297">
                  <c:v>0.38666666666666671</c:v>
                </c:pt>
                <c:pt idx="298">
                  <c:v>0.38666666666666671</c:v>
                </c:pt>
                <c:pt idx="299">
                  <c:v>0.38666666666666671</c:v>
                </c:pt>
                <c:pt idx="300">
                  <c:v>0.38666666666666671</c:v>
                </c:pt>
                <c:pt idx="301">
                  <c:v>0.38666666666666671</c:v>
                </c:pt>
                <c:pt idx="302">
                  <c:v>0.38666666666666671</c:v>
                </c:pt>
                <c:pt idx="303">
                  <c:v>0.38666666666666671</c:v>
                </c:pt>
                <c:pt idx="304">
                  <c:v>0.38666666666666671</c:v>
                </c:pt>
                <c:pt idx="305">
                  <c:v>0.38666666666666671</c:v>
                </c:pt>
                <c:pt idx="306">
                  <c:v>0.38666666666666671</c:v>
                </c:pt>
                <c:pt idx="307">
                  <c:v>0.38666666666666671</c:v>
                </c:pt>
                <c:pt idx="308">
                  <c:v>0.38666666666666671</c:v>
                </c:pt>
                <c:pt idx="309">
                  <c:v>0.38666666666666671</c:v>
                </c:pt>
                <c:pt idx="310">
                  <c:v>0.38666666666666671</c:v>
                </c:pt>
                <c:pt idx="311">
                  <c:v>0.38666666666666671</c:v>
                </c:pt>
                <c:pt idx="312">
                  <c:v>0.38666666666666671</c:v>
                </c:pt>
                <c:pt idx="313">
                  <c:v>0.38666666666666671</c:v>
                </c:pt>
                <c:pt idx="314">
                  <c:v>0.38666666666666671</c:v>
                </c:pt>
                <c:pt idx="315">
                  <c:v>0.38666666666666671</c:v>
                </c:pt>
                <c:pt idx="316">
                  <c:v>0.38666666666666671</c:v>
                </c:pt>
                <c:pt idx="317">
                  <c:v>0.38666666666666671</c:v>
                </c:pt>
                <c:pt idx="318">
                  <c:v>0.38666666666666671</c:v>
                </c:pt>
                <c:pt idx="319">
                  <c:v>#N/A</c:v>
                </c:pt>
                <c:pt idx="320">
                  <c:v>#N/A</c:v>
                </c:pt>
                <c:pt idx="321">
                  <c:v>#N/A</c:v>
                </c:pt>
                <c:pt idx="322">
                  <c:v>#N/A</c:v>
                </c:pt>
                <c:pt idx="323">
                  <c:v>0.38666666666666671</c:v>
                </c:pt>
                <c:pt idx="324">
                  <c:v>0.38666666666666671</c:v>
                </c:pt>
                <c:pt idx="325">
                  <c:v>0.38666666666666671</c:v>
                </c:pt>
                <c:pt idx="326">
                  <c:v>0.38666666666666671</c:v>
                </c:pt>
                <c:pt idx="327">
                  <c:v>0.38666666666666671</c:v>
                </c:pt>
                <c:pt idx="328">
                  <c:v>0.38666666666666671</c:v>
                </c:pt>
                <c:pt idx="329">
                  <c:v>0.38666666666666671</c:v>
                </c:pt>
                <c:pt idx="330">
                  <c:v>0.38666666666666671</c:v>
                </c:pt>
                <c:pt idx="331">
                  <c:v>0.38666666666666671</c:v>
                </c:pt>
                <c:pt idx="332">
                  <c:v>0.38666666666666671</c:v>
                </c:pt>
                <c:pt idx="333">
                  <c:v>0.38666666666666671</c:v>
                </c:pt>
                <c:pt idx="334">
                  <c:v>0.38666666666666671</c:v>
                </c:pt>
                <c:pt idx="335">
                  <c:v>0.38666666666666671</c:v>
                </c:pt>
                <c:pt idx="336">
                  <c:v>0.38666666666666671</c:v>
                </c:pt>
                <c:pt idx="337">
                  <c:v>0.38666666666666671</c:v>
                </c:pt>
                <c:pt idx="338">
                  <c:v>0.38666666666666671</c:v>
                </c:pt>
                <c:pt idx="339">
                  <c:v>0.38666666666666671</c:v>
                </c:pt>
                <c:pt idx="340">
                  <c:v>0.38666666666666671</c:v>
                </c:pt>
                <c:pt idx="341">
                  <c:v>0.38666666666666671</c:v>
                </c:pt>
                <c:pt idx="342">
                  <c:v>0.38666666666666671</c:v>
                </c:pt>
                <c:pt idx="343">
                  <c:v>0.38666666666666671</c:v>
                </c:pt>
                <c:pt idx="344">
                  <c:v>0.38666666666666671</c:v>
                </c:pt>
                <c:pt idx="345">
                  <c:v>0.38666666666666671</c:v>
                </c:pt>
                <c:pt idx="346">
                  <c:v>0.38666666666666671</c:v>
                </c:pt>
                <c:pt idx="347">
                  <c:v>0.38666666666666671</c:v>
                </c:pt>
                <c:pt idx="348">
                  <c:v>0.38666666666666671</c:v>
                </c:pt>
                <c:pt idx="349">
                  <c:v>0.38666666666666671</c:v>
                </c:pt>
                <c:pt idx="350">
                  <c:v>0.38666666666666671</c:v>
                </c:pt>
                <c:pt idx="351">
                  <c:v>0.38666666666666671</c:v>
                </c:pt>
                <c:pt idx="352">
                  <c:v>0.38666666666666671</c:v>
                </c:pt>
                <c:pt idx="353">
                  <c:v>0.38666666666666671</c:v>
                </c:pt>
                <c:pt idx="354">
                  <c:v>0.38666666666666671</c:v>
                </c:pt>
                <c:pt idx="355">
                  <c:v>0.38666666666666671</c:v>
                </c:pt>
                <c:pt idx="356">
                  <c:v>0.38666666666666671</c:v>
                </c:pt>
                <c:pt idx="357">
                  <c:v>0.38666666666666671</c:v>
                </c:pt>
                <c:pt idx="358">
                  <c:v>0.38666666666666671</c:v>
                </c:pt>
                <c:pt idx="359">
                  <c:v>0.38666666666666671</c:v>
                </c:pt>
                <c:pt idx="360">
                  <c:v>0.38666666666666671</c:v>
                </c:pt>
                <c:pt idx="361">
                  <c:v>0.38666666666666671</c:v>
                </c:pt>
                <c:pt idx="362">
                  <c:v>0.38666666666666671</c:v>
                </c:pt>
                <c:pt idx="363">
                  <c:v>0.38666666666666671</c:v>
                </c:pt>
                <c:pt idx="364">
                  <c:v>0.39333333333333337</c:v>
                </c:pt>
                <c:pt idx="365">
                  <c:v>0.39333333333333337</c:v>
                </c:pt>
                <c:pt idx="366">
                  <c:v>0.39333333333333337</c:v>
                </c:pt>
                <c:pt idx="367">
                  <c:v>0.39333333333333337</c:v>
                </c:pt>
                <c:pt idx="368">
                  <c:v>0.39333333333333337</c:v>
                </c:pt>
                <c:pt idx="369">
                  <c:v>0.39333333333333337</c:v>
                </c:pt>
                <c:pt idx="370">
                  <c:v>0.39333333333333337</c:v>
                </c:pt>
                <c:pt idx="371">
                  <c:v>0.39333333333333337</c:v>
                </c:pt>
                <c:pt idx="372">
                  <c:v>0.39333333333333337</c:v>
                </c:pt>
                <c:pt idx="373">
                  <c:v>0.39333333333333337</c:v>
                </c:pt>
                <c:pt idx="374">
                  <c:v>0.39333333333333337</c:v>
                </c:pt>
                <c:pt idx="375">
                  <c:v>0.39333333333333337</c:v>
                </c:pt>
                <c:pt idx="376">
                  <c:v>0.39333333333333337</c:v>
                </c:pt>
                <c:pt idx="377">
                  <c:v>0.39333333333333337</c:v>
                </c:pt>
                <c:pt idx="378">
                  <c:v>0.39333333333333337</c:v>
                </c:pt>
                <c:pt idx="379">
                  <c:v>0.39333333333333337</c:v>
                </c:pt>
                <c:pt idx="380">
                  <c:v>0.39333333333333337</c:v>
                </c:pt>
                <c:pt idx="381">
                  <c:v>0.39333333333333337</c:v>
                </c:pt>
                <c:pt idx="382">
                  <c:v>0.39333333333333337</c:v>
                </c:pt>
                <c:pt idx="383">
                  <c:v>0.39333333333333337</c:v>
                </c:pt>
                <c:pt idx="384">
                  <c:v>0.39333333333333337</c:v>
                </c:pt>
                <c:pt idx="385">
                  <c:v>0.39333333333333337</c:v>
                </c:pt>
                <c:pt idx="386">
                  <c:v>0.39333333333333337</c:v>
                </c:pt>
                <c:pt idx="387">
                  <c:v>0.42666666666666669</c:v>
                </c:pt>
                <c:pt idx="388">
                  <c:v>0.42666666666666669</c:v>
                </c:pt>
                <c:pt idx="389">
                  <c:v>0.42666666666666669</c:v>
                </c:pt>
                <c:pt idx="390">
                  <c:v>0.42666666666666669</c:v>
                </c:pt>
                <c:pt idx="391">
                  <c:v>0.42666666666666669</c:v>
                </c:pt>
                <c:pt idx="392">
                  <c:v>0.42666666666666669</c:v>
                </c:pt>
                <c:pt idx="393">
                  <c:v>0.42666666666666669</c:v>
                </c:pt>
                <c:pt idx="394">
                  <c:v>0.42666666666666669</c:v>
                </c:pt>
                <c:pt idx="395">
                  <c:v>0.42666666666666669</c:v>
                </c:pt>
                <c:pt idx="396">
                  <c:v>0.48</c:v>
                </c:pt>
                <c:pt idx="397">
                  <c:v>0.48</c:v>
                </c:pt>
                <c:pt idx="398">
                  <c:v>0.48</c:v>
                </c:pt>
                <c:pt idx="399">
                  <c:v>0.48</c:v>
                </c:pt>
                <c:pt idx="400">
                  <c:v>0.48</c:v>
                </c:pt>
                <c:pt idx="401">
                  <c:v>0.48</c:v>
                </c:pt>
                <c:pt idx="402">
                  <c:v>0.48</c:v>
                </c:pt>
                <c:pt idx="403">
                  <c:v>0.48</c:v>
                </c:pt>
                <c:pt idx="404">
                  <c:v>0.48</c:v>
                </c:pt>
                <c:pt idx="405">
                  <c:v>0.48</c:v>
                </c:pt>
                <c:pt idx="406">
                  <c:v>0.48</c:v>
                </c:pt>
                <c:pt idx="407">
                  <c:v>0.48</c:v>
                </c:pt>
                <c:pt idx="408">
                  <c:v>0.48</c:v>
                </c:pt>
                <c:pt idx="409">
                  <c:v>0.48</c:v>
                </c:pt>
                <c:pt idx="410">
                  <c:v>0.48</c:v>
                </c:pt>
                <c:pt idx="411">
                  <c:v>0.48</c:v>
                </c:pt>
                <c:pt idx="412">
                  <c:v>0.48</c:v>
                </c:pt>
                <c:pt idx="413">
                  <c:v>0.48</c:v>
                </c:pt>
                <c:pt idx="414">
                  <c:v>0.48</c:v>
                </c:pt>
                <c:pt idx="415">
                  <c:v>0.48</c:v>
                </c:pt>
                <c:pt idx="416">
                  <c:v>0.48</c:v>
                </c:pt>
                <c:pt idx="417">
                  <c:v>0.48</c:v>
                </c:pt>
                <c:pt idx="418">
                  <c:v>0.48</c:v>
                </c:pt>
                <c:pt idx="419">
                  <c:v>0.48</c:v>
                </c:pt>
                <c:pt idx="420">
                  <c:v>0.48</c:v>
                </c:pt>
                <c:pt idx="421">
                  <c:v>0.48</c:v>
                </c:pt>
                <c:pt idx="422">
                  <c:v>0.48</c:v>
                </c:pt>
                <c:pt idx="423">
                  <c:v>0.48</c:v>
                </c:pt>
                <c:pt idx="424">
                  <c:v>0.48</c:v>
                </c:pt>
                <c:pt idx="425">
                  <c:v>0.48</c:v>
                </c:pt>
                <c:pt idx="426">
                  <c:v>0.48</c:v>
                </c:pt>
                <c:pt idx="427">
                  <c:v>0.48</c:v>
                </c:pt>
                <c:pt idx="428">
                  <c:v>0.48</c:v>
                </c:pt>
                <c:pt idx="429">
                  <c:v>0.48</c:v>
                </c:pt>
                <c:pt idx="430">
                  <c:v>0.48</c:v>
                </c:pt>
                <c:pt idx="431">
                  <c:v>0.53333333333333333</c:v>
                </c:pt>
                <c:pt idx="432">
                  <c:v>0.53333333333333333</c:v>
                </c:pt>
                <c:pt idx="433">
                  <c:v>0.53333333333333333</c:v>
                </c:pt>
                <c:pt idx="434">
                  <c:v>0.53333333333333333</c:v>
                </c:pt>
                <c:pt idx="435">
                  <c:v>0.53333333333333333</c:v>
                </c:pt>
                <c:pt idx="436">
                  <c:v>0.53333333333333333</c:v>
                </c:pt>
                <c:pt idx="437">
                  <c:v>0.53333333333333333</c:v>
                </c:pt>
                <c:pt idx="438">
                  <c:v>0.53333333333333333</c:v>
                </c:pt>
                <c:pt idx="439">
                  <c:v>0.53333333333333333</c:v>
                </c:pt>
                <c:pt idx="440">
                  <c:v>0.53333333333333333</c:v>
                </c:pt>
                <c:pt idx="441">
                  <c:v>0.56666666666666676</c:v>
                </c:pt>
                <c:pt idx="442">
                  <c:v>0.56666666666666676</c:v>
                </c:pt>
                <c:pt idx="443">
                  <c:v>0.56666666666666676</c:v>
                </c:pt>
                <c:pt idx="444">
                  <c:v>0.56666666666666676</c:v>
                </c:pt>
                <c:pt idx="445">
                  <c:v>0.56666666666666676</c:v>
                </c:pt>
                <c:pt idx="446">
                  <c:v>0.56666666666666676</c:v>
                </c:pt>
                <c:pt idx="447">
                  <c:v>0.56666666666666676</c:v>
                </c:pt>
                <c:pt idx="448">
                  <c:v>0.56666666666666676</c:v>
                </c:pt>
                <c:pt idx="449">
                  <c:v>0.56666666666666676</c:v>
                </c:pt>
                <c:pt idx="450">
                  <c:v>0.56666666666666676</c:v>
                </c:pt>
                <c:pt idx="451">
                  <c:v>0.56666666666666676</c:v>
                </c:pt>
                <c:pt idx="452">
                  <c:v>0.56666666666666676</c:v>
                </c:pt>
                <c:pt idx="453">
                  <c:v>0.56666666666666676</c:v>
                </c:pt>
                <c:pt idx="454">
                  <c:v>0.56666666666666676</c:v>
                </c:pt>
                <c:pt idx="455">
                  <c:v>0.56666666666666676</c:v>
                </c:pt>
                <c:pt idx="456">
                  <c:v>0.56666666666666676</c:v>
                </c:pt>
                <c:pt idx="457">
                  <c:v>0.56666666666666676</c:v>
                </c:pt>
                <c:pt idx="458">
                  <c:v>0.56666666666666676</c:v>
                </c:pt>
                <c:pt idx="459">
                  <c:v>0.56666666666666676</c:v>
                </c:pt>
                <c:pt idx="460">
                  <c:v>0.56666666666666676</c:v>
                </c:pt>
                <c:pt idx="461">
                  <c:v>0.56666666666666676</c:v>
                </c:pt>
                <c:pt idx="462">
                  <c:v>0.56666666666666676</c:v>
                </c:pt>
                <c:pt idx="463">
                  <c:v>0.56666666666666676</c:v>
                </c:pt>
                <c:pt idx="464">
                  <c:v>0.56666666666666676</c:v>
                </c:pt>
                <c:pt idx="465">
                  <c:v>0.56666666666666676</c:v>
                </c:pt>
                <c:pt idx="466">
                  <c:v>0.56666666666666676</c:v>
                </c:pt>
                <c:pt idx="467">
                  <c:v>0.56666666666666676</c:v>
                </c:pt>
                <c:pt idx="468">
                  <c:v>0.56666666666666676</c:v>
                </c:pt>
                <c:pt idx="469">
                  <c:v>0.56666666666666676</c:v>
                </c:pt>
                <c:pt idx="470">
                  <c:v>0.56666666666666676</c:v>
                </c:pt>
                <c:pt idx="471">
                  <c:v>0.56666666666666676</c:v>
                </c:pt>
                <c:pt idx="472">
                  <c:v>0.56666666666666676</c:v>
                </c:pt>
                <c:pt idx="473">
                  <c:v>0.56666666666666676</c:v>
                </c:pt>
                <c:pt idx="474">
                  <c:v>0.56666666666666676</c:v>
                </c:pt>
                <c:pt idx="475">
                  <c:v>0.56666666666666676</c:v>
                </c:pt>
                <c:pt idx="476">
                  <c:v>0.56666666666666676</c:v>
                </c:pt>
                <c:pt idx="477">
                  <c:v>0.56666666666666676</c:v>
                </c:pt>
                <c:pt idx="478">
                  <c:v>0.56666666666666676</c:v>
                </c:pt>
                <c:pt idx="479">
                  <c:v>0.56666666666666676</c:v>
                </c:pt>
                <c:pt idx="480">
                  <c:v>0.56666666666666676</c:v>
                </c:pt>
                <c:pt idx="481">
                  <c:v>0.56666666666666676</c:v>
                </c:pt>
                <c:pt idx="482">
                  <c:v>0.56666666666666676</c:v>
                </c:pt>
                <c:pt idx="483">
                  <c:v>0.56666666666666676</c:v>
                </c:pt>
                <c:pt idx="484">
                  <c:v>0.56666666666666676</c:v>
                </c:pt>
                <c:pt idx="485">
                  <c:v>0.56666666666666676</c:v>
                </c:pt>
                <c:pt idx="486">
                  <c:v>0.56666666666666676</c:v>
                </c:pt>
                <c:pt idx="487">
                  <c:v>0.56666666666666676</c:v>
                </c:pt>
                <c:pt idx="488">
                  <c:v>0.56666666666666676</c:v>
                </c:pt>
                <c:pt idx="489">
                  <c:v>0.56666666666666676</c:v>
                </c:pt>
                <c:pt idx="490">
                  <c:v>0.56666666666666676</c:v>
                </c:pt>
                <c:pt idx="491">
                  <c:v>0.56666666666666676</c:v>
                </c:pt>
                <c:pt idx="492">
                  <c:v>0.56666666666666676</c:v>
                </c:pt>
                <c:pt idx="493">
                  <c:v>0.56666666666666676</c:v>
                </c:pt>
                <c:pt idx="494">
                  <c:v>0.56666666666666676</c:v>
                </c:pt>
                <c:pt idx="495">
                  <c:v>0.56666666666666676</c:v>
                </c:pt>
                <c:pt idx="496">
                  <c:v>0.56666666666666676</c:v>
                </c:pt>
                <c:pt idx="497">
                  <c:v>0.56666666666666676</c:v>
                </c:pt>
                <c:pt idx="498">
                  <c:v>0.56666666666666676</c:v>
                </c:pt>
                <c:pt idx="499">
                  <c:v>0.56666666666666676</c:v>
                </c:pt>
                <c:pt idx="500">
                  <c:v>0.56666666666666676</c:v>
                </c:pt>
                <c:pt idx="501">
                  <c:v>0.56666666666666676</c:v>
                </c:pt>
                <c:pt idx="502">
                  <c:v>0.56666666666666676</c:v>
                </c:pt>
                <c:pt idx="503">
                  <c:v>0.56666666666666676</c:v>
                </c:pt>
                <c:pt idx="504">
                  <c:v>0.56666666666666676</c:v>
                </c:pt>
                <c:pt idx="505">
                  <c:v>0.56666666666666676</c:v>
                </c:pt>
                <c:pt idx="506">
                  <c:v>0.56666666666666676</c:v>
                </c:pt>
                <c:pt idx="507">
                  <c:v>0.56666666666666676</c:v>
                </c:pt>
                <c:pt idx="508">
                  <c:v>0.56666666666666676</c:v>
                </c:pt>
                <c:pt idx="509">
                  <c:v>0.56666666666666676</c:v>
                </c:pt>
                <c:pt idx="510">
                  <c:v>0.56666666666666676</c:v>
                </c:pt>
                <c:pt idx="511">
                  <c:v>0.56666666666666676</c:v>
                </c:pt>
                <c:pt idx="512">
                  <c:v>0.56666666666666676</c:v>
                </c:pt>
                <c:pt idx="513">
                  <c:v>0.56666666666666676</c:v>
                </c:pt>
                <c:pt idx="514">
                  <c:v>0.56666666666666676</c:v>
                </c:pt>
                <c:pt idx="515">
                  <c:v>0.56666666666666676</c:v>
                </c:pt>
                <c:pt idx="516">
                  <c:v>0.56666666666666676</c:v>
                </c:pt>
                <c:pt idx="517">
                  <c:v>0.56666666666666676</c:v>
                </c:pt>
                <c:pt idx="518">
                  <c:v>0.56666666666666676</c:v>
                </c:pt>
                <c:pt idx="519">
                  <c:v>0.56666666666666676</c:v>
                </c:pt>
                <c:pt idx="520">
                  <c:v>0.56666666666666676</c:v>
                </c:pt>
                <c:pt idx="521">
                  <c:v>0.56666666666666676</c:v>
                </c:pt>
                <c:pt idx="522">
                  <c:v>0.56666666666666676</c:v>
                </c:pt>
                <c:pt idx="523">
                  <c:v>0.56666666666666676</c:v>
                </c:pt>
                <c:pt idx="524">
                  <c:v>0.56666666666666676</c:v>
                </c:pt>
                <c:pt idx="525">
                  <c:v>0.56666666666666676</c:v>
                </c:pt>
                <c:pt idx="526">
                  <c:v>0.56666666666666676</c:v>
                </c:pt>
                <c:pt idx="527">
                  <c:v>0.56666666666666676</c:v>
                </c:pt>
                <c:pt idx="528">
                  <c:v>0.56666666666666676</c:v>
                </c:pt>
                <c:pt idx="529">
                  <c:v>0.56666666666666676</c:v>
                </c:pt>
                <c:pt idx="530">
                  <c:v>0.56666666666666676</c:v>
                </c:pt>
                <c:pt idx="531">
                  <c:v>0.56666666666666676</c:v>
                </c:pt>
                <c:pt idx="532">
                  <c:v>0.56666666666666676</c:v>
                </c:pt>
                <c:pt idx="533">
                  <c:v>0.56666666666666676</c:v>
                </c:pt>
                <c:pt idx="534">
                  <c:v>0.56666666666666676</c:v>
                </c:pt>
                <c:pt idx="535">
                  <c:v>0.56666666666666676</c:v>
                </c:pt>
                <c:pt idx="536">
                  <c:v>0.56666666666666676</c:v>
                </c:pt>
                <c:pt idx="537">
                  <c:v>0.56666666666666676</c:v>
                </c:pt>
                <c:pt idx="538">
                  <c:v>0.56666666666666676</c:v>
                </c:pt>
                <c:pt idx="539">
                  <c:v>0.56666666666666676</c:v>
                </c:pt>
                <c:pt idx="540">
                  <c:v>0.56666666666666676</c:v>
                </c:pt>
                <c:pt idx="541">
                  <c:v>0.56666666666666676</c:v>
                </c:pt>
                <c:pt idx="542">
                  <c:v>0.56666666666666676</c:v>
                </c:pt>
                <c:pt idx="543">
                  <c:v>0.56666666666666676</c:v>
                </c:pt>
                <c:pt idx="544">
                  <c:v>0.56666666666666676</c:v>
                </c:pt>
                <c:pt idx="545">
                  <c:v>0.56666666666666676</c:v>
                </c:pt>
                <c:pt idx="546">
                  <c:v>0.56666666666666676</c:v>
                </c:pt>
                <c:pt idx="547">
                  <c:v>0.56666666666666676</c:v>
                </c:pt>
                <c:pt idx="548">
                  <c:v>0.56666666666666676</c:v>
                </c:pt>
                <c:pt idx="549">
                  <c:v>0.56666666666666676</c:v>
                </c:pt>
                <c:pt idx="550">
                  <c:v>0.56666666666666676</c:v>
                </c:pt>
                <c:pt idx="551">
                  <c:v>0.56666666666666676</c:v>
                </c:pt>
                <c:pt idx="552">
                  <c:v>0.56666666666666676</c:v>
                </c:pt>
                <c:pt idx="553">
                  <c:v>0.56666666666666676</c:v>
                </c:pt>
                <c:pt idx="554">
                  <c:v>0.56666666666666676</c:v>
                </c:pt>
                <c:pt idx="555">
                  <c:v>0.56666666666666676</c:v>
                </c:pt>
                <c:pt idx="556">
                  <c:v>0.56666666666666676</c:v>
                </c:pt>
                <c:pt idx="557">
                  <c:v>0.56666666666666676</c:v>
                </c:pt>
                <c:pt idx="558">
                  <c:v>0.56666666666666676</c:v>
                </c:pt>
                <c:pt idx="559">
                  <c:v>0.56666666666666676</c:v>
                </c:pt>
                <c:pt idx="560">
                  <c:v>0.56666666666666676</c:v>
                </c:pt>
                <c:pt idx="561">
                  <c:v>0.56666666666666676</c:v>
                </c:pt>
                <c:pt idx="562">
                  <c:v>0.56666666666666676</c:v>
                </c:pt>
                <c:pt idx="563">
                  <c:v>0.56666666666666676</c:v>
                </c:pt>
                <c:pt idx="564">
                  <c:v>0.56666666666666676</c:v>
                </c:pt>
                <c:pt idx="565">
                  <c:v>0.56666666666666676</c:v>
                </c:pt>
                <c:pt idx="566">
                  <c:v>0.56666666666666676</c:v>
                </c:pt>
                <c:pt idx="567">
                  <c:v>0.56666666666666676</c:v>
                </c:pt>
                <c:pt idx="568">
                  <c:v>0.56666666666666676</c:v>
                </c:pt>
                <c:pt idx="569">
                  <c:v>0.56666666666666676</c:v>
                </c:pt>
                <c:pt idx="570">
                  <c:v>0.56666666666666676</c:v>
                </c:pt>
                <c:pt idx="571">
                  <c:v>0.56666666666666676</c:v>
                </c:pt>
                <c:pt idx="572">
                  <c:v>0.56666666666666676</c:v>
                </c:pt>
                <c:pt idx="573">
                  <c:v>0.56666666666666676</c:v>
                </c:pt>
                <c:pt idx="574">
                  <c:v>0.49666666666666665</c:v>
                </c:pt>
                <c:pt idx="575">
                  <c:v>0.49666666666666665</c:v>
                </c:pt>
                <c:pt idx="576">
                  <c:v>0.49666666666666665</c:v>
                </c:pt>
                <c:pt idx="577">
                  <c:v>0.49666666666666665</c:v>
                </c:pt>
                <c:pt idx="578">
                  <c:v>0.49666666666666665</c:v>
                </c:pt>
                <c:pt idx="579">
                  <c:v>0.49666666666666665</c:v>
                </c:pt>
                <c:pt idx="580">
                  <c:v>0.49666666666666665</c:v>
                </c:pt>
                <c:pt idx="581">
                  <c:v>0.49666666666666665</c:v>
                </c:pt>
                <c:pt idx="582">
                  <c:v>0.49666666666666665</c:v>
                </c:pt>
                <c:pt idx="583">
                  <c:v>0.49666666666666665</c:v>
                </c:pt>
                <c:pt idx="584">
                  <c:v>0.49666666666666665</c:v>
                </c:pt>
                <c:pt idx="585">
                  <c:v>0.49666666666666665</c:v>
                </c:pt>
                <c:pt idx="586">
                  <c:v>0.49666666666666665</c:v>
                </c:pt>
                <c:pt idx="587">
                  <c:v>0.49666666666666665</c:v>
                </c:pt>
                <c:pt idx="588">
                  <c:v>0.49666666666666665</c:v>
                </c:pt>
                <c:pt idx="589">
                  <c:v>0.49666666666666665</c:v>
                </c:pt>
                <c:pt idx="590">
                  <c:v>0.49666666666666665</c:v>
                </c:pt>
                <c:pt idx="591">
                  <c:v>0.49666666666666665</c:v>
                </c:pt>
                <c:pt idx="592">
                  <c:v>0.49666666666666665</c:v>
                </c:pt>
                <c:pt idx="593">
                  <c:v>0.49666666666666665</c:v>
                </c:pt>
                <c:pt idx="594">
                  <c:v>0.49666666666666665</c:v>
                </c:pt>
                <c:pt idx="595">
                  <c:v>0.49666666666666665</c:v>
                </c:pt>
                <c:pt idx="596">
                  <c:v>0.49666666666666665</c:v>
                </c:pt>
                <c:pt idx="597">
                  <c:v>0.49666666666666665</c:v>
                </c:pt>
                <c:pt idx="598">
                  <c:v>0.49666666666666665</c:v>
                </c:pt>
                <c:pt idx="599">
                  <c:v>0.49666666666666665</c:v>
                </c:pt>
                <c:pt idx="600">
                  <c:v>0.49666666666666665</c:v>
                </c:pt>
                <c:pt idx="601">
                  <c:v>0.49666666666666665</c:v>
                </c:pt>
                <c:pt idx="602">
                  <c:v>0.41</c:v>
                </c:pt>
                <c:pt idx="603">
                  <c:v>0.41</c:v>
                </c:pt>
                <c:pt idx="604">
                  <c:v>0.41</c:v>
                </c:pt>
                <c:pt idx="605">
                  <c:v>0.41</c:v>
                </c:pt>
                <c:pt idx="606">
                  <c:v>0.41</c:v>
                </c:pt>
                <c:pt idx="607">
                  <c:v>0.41</c:v>
                </c:pt>
                <c:pt idx="608">
                  <c:v>0.41</c:v>
                </c:pt>
                <c:pt idx="609">
                  <c:v>0.41</c:v>
                </c:pt>
                <c:pt idx="610">
                  <c:v>0.41</c:v>
                </c:pt>
                <c:pt idx="611">
                  <c:v>0.41</c:v>
                </c:pt>
                <c:pt idx="612">
                  <c:v>0.41</c:v>
                </c:pt>
                <c:pt idx="613">
                  <c:v>0.41</c:v>
                </c:pt>
                <c:pt idx="614">
                  <c:v>0.41</c:v>
                </c:pt>
                <c:pt idx="615">
                  <c:v>0.41</c:v>
                </c:pt>
                <c:pt idx="616">
                  <c:v>0.41</c:v>
                </c:pt>
                <c:pt idx="617">
                  <c:v>0.41</c:v>
                </c:pt>
                <c:pt idx="618">
                  <c:v>0.41</c:v>
                </c:pt>
                <c:pt idx="619">
                  <c:v>0.41</c:v>
                </c:pt>
                <c:pt idx="620">
                  <c:v>0.41</c:v>
                </c:pt>
                <c:pt idx="621">
                  <c:v>0.41</c:v>
                </c:pt>
                <c:pt idx="622">
                  <c:v>0.41</c:v>
                </c:pt>
                <c:pt idx="623">
                  <c:v>0.41</c:v>
                </c:pt>
                <c:pt idx="624">
                  <c:v>0.41</c:v>
                </c:pt>
                <c:pt idx="625">
                  <c:v>0.41</c:v>
                </c:pt>
                <c:pt idx="626">
                  <c:v>0.41</c:v>
                </c:pt>
                <c:pt idx="627">
                  <c:v>0.41</c:v>
                </c:pt>
                <c:pt idx="628">
                  <c:v>0.41</c:v>
                </c:pt>
                <c:pt idx="629">
                  <c:v>0.41</c:v>
                </c:pt>
                <c:pt idx="630">
                  <c:v>0.41</c:v>
                </c:pt>
                <c:pt idx="631">
                  <c:v>0.41</c:v>
                </c:pt>
                <c:pt idx="632">
                  <c:v>0.41</c:v>
                </c:pt>
                <c:pt idx="633">
                  <c:v>0.3666666666666667</c:v>
                </c:pt>
                <c:pt idx="634">
                  <c:v>0.3666666666666667</c:v>
                </c:pt>
                <c:pt idx="635">
                  <c:v>0.3666666666666667</c:v>
                </c:pt>
                <c:pt idx="636">
                  <c:v>0.3666666666666667</c:v>
                </c:pt>
                <c:pt idx="637">
                  <c:v>0.3666666666666667</c:v>
                </c:pt>
                <c:pt idx="638">
                  <c:v>0.3666666666666667</c:v>
                </c:pt>
                <c:pt idx="639">
                  <c:v>0.3666666666666667</c:v>
                </c:pt>
                <c:pt idx="640">
                  <c:v>0.3666666666666667</c:v>
                </c:pt>
                <c:pt idx="641">
                  <c:v>0.3666666666666667</c:v>
                </c:pt>
                <c:pt idx="642">
                  <c:v>0.3666666666666667</c:v>
                </c:pt>
                <c:pt idx="643">
                  <c:v>0.3666666666666667</c:v>
                </c:pt>
                <c:pt idx="644">
                  <c:v>0.3666666666666667</c:v>
                </c:pt>
                <c:pt idx="645">
                  <c:v>0.3666666666666667</c:v>
                </c:pt>
                <c:pt idx="646">
                  <c:v>0.3666666666666667</c:v>
                </c:pt>
                <c:pt idx="647">
                  <c:v>0.3666666666666667</c:v>
                </c:pt>
                <c:pt idx="648">
                  <c:v>0.3666666666666667</c:v>
                </c:pt>
                <c:pt idx="649">
                  <c:v>0.3666666666666667</c:v>
                </c:pt>
                <c:pt idx="650">
                  <c:v>0.3666666666666667</c:v>
                </c:pt>
                <c:pt idx="651">
                  <c:v>0.3666666666666667</c:v>
                </c:pt>
                <c:pt idx="652">
                  <c:v>0.3666666666666667</c:v>
                </c:pt>
                <c:pt idx="653">
                  <c:v>0.3666666666666667</c:v>
                </c:pt>
                <c:pt idx="654">
                  <c:v>0.3666666666666667</c:v>
                </c:pt>
                <c:pt idx="655">
                  <c:v>0.3666666666666667</c:v>
                </c:pt>
                <c:pt idx="656">
                  <c:v>0.3666666666666667</c:v>
                </c:pt>
                <c:pt idx="657">
                  <c:v>0.3666666666666667</c:v>
                </c:pt>
                <c:pt idx="658">
                  <c:v>0.3666666666666667</c:v>
                </c:pt>
                <c:pt idx="659">
                  <c:v>0.3666666666666667</c:v>
                </c:pt>
                <c:pt idx="660">
                  <c:v>0.3666666666666667</c:v>
                </c:pt>
                <c:pt idx="661">
                  <c:v>0.3666666666666667</c:v>
                </c:pt>
                <c:pt idx="662">
                  <c:v>0.3666666666666667</c:v>
                </c:pt>
                <c:pt idx="663">
                  <c:v>0.3666666666666667</c:v>
                </c:pt>
                <c:pt idx="664">
                  <c:v>0.3666666666666667</c:v>
                </c:pt>
                <c:pt idx="665">
                  <c:v>0.3666666666666667</c:v>
                </c:pt>
                <c:pt idx="666">
                  <c:v>0.3666666666666667</c:v>
                </c:pt>
                <c:pt idx="667">
                  <c:v>0.3666666666666667</c:v>
                </c:pt>
                <c:pt idx="668">
                  <c:v>0.3666666666666667</c:v>
                </c:pt>
                <c:pt idx="669">
                  <c:v>0.3666666666666667</c:v>
                </c:pt>
                <c:pt idx="670">
                  <c:v>0.3666666666666667</c:v>
                </c:pt>
                <c:pt idx="671">
                  <c:v>0.3666666666666667</c:v>
                </c:pt>
                <c:pt idx="672">
                  <c:v>0.3666666666666667</c:v>
                </c:pt>
                <c:pt idx="673">
                  <c:v>0.3666666666666667</c:v>
                </c:pt>
                <c:pt idx="674">
                  <c:v>0.3666666666666667</c:v>
                </c:pt>
                <c:pt idx="675">
                  <c:v>0.3666666666666667</c:v>
                </c:pt>
                <c:pt idx="676">
                  <c:v>0.3666666666666667</c:v>
                </c:pt>
                <c:pt idx="677">
                  <c:v>0.3666666666666667</c:v>
                </c:pt>
                <c:pt idx="678">
                  <c:v>0.3666666666666667</c:v>
                </c:pt>
                <c:pt idx="679">
                  <c:v>0.3666666666666667</c:v>
                </c:pt>
                <c:pt idx="680">
                  <c:v>0.3666666666666667</c:v>
                </c:pt>
                <c:pt idx="681">
                  <c:v>0.3666666666666667</c:v>
                </c:pt>
                <c:pt idx="682">
                  <c:v>0.3666666666666667</c:v>
                </c:pt>
                <c:pt idx="683">
                  <c:v>0.3666666666666667</c:v>
                </c:pt>
                <c:pt idx="684">
                  <c:v>0.3666666666666667</c:v>
                </c:pt>
                <c:pt idx="685">
                  <c:v>0.3666666666666667</c:v>
                </c:pt>
                <c:pt idx="686">
                  <c:v>0.3666666666666667</c:v>
                </c:pt>
                <c:pt idx="687">
                  <c:v>0.3666666666666667</c:v>
                </c:pt>
                <c:pt idx="688">
                  <c:v>0.3666666666666667</c:v>
                </c:pt>
                <c:pt idx="689">
                  <c:v>0.3666666666666667</c:v>
                </c:pt>
                <c:pt idx="690">
                  <c:v>0.3666666666666667</c:v>
                </c:pt>
                <c:pt idx="691">
                  <c:v>0.3666666666666667</c:v>
                </c:pt>
                <c:pt idx="692">
                  <c:v>0.3666666666666667</c:v>
                </c:pt>
                <c:pt idx="693">
                  <c:v>0.3666666666666667</c:v>
                </c:pt>
                <c:pt idx="694">
                  <c:v>0.3666666666666667</c:v>
                </c:pt>
                <c:pt idx="695">
                  <c:v>0.3666666666666667</c:v>
                </c:pt>
                <c:pt idx="696">
                  <c:v>0.3666666666666667</c:v>
                </c:pt>
                <c:pt idx="697">
                  <c:v>0.3666666666666667</c:v>
                </c:pt>
                <c:pt idx="698">
                  <c:v>0.3666666666666667</c:v>
                </c:pt>
                <c:pt idx="699">
                  <c:v>0.3666666666666667</c:v>
                </c:pt>
                <c:pt idx="700">
                  <c:v>0.3666666666666667</c:v>
                </c:pt>
                <c:pt idx="701">
                  <c:v>0.3666666666666667</c:v>
                </c:pt>
                <c:pt idx="702">
                  <c:v>0.3666666666666667</c:v>
                </c:pt>
                <c:pt idx="703">
                  <c:v>0.3666666666666667</c:v>
                </c:pt>
                <c:pt idx="704">
                  <c:v>0.3666666666666667</c:v>
                </c:pt>
                <c:pt idx="705">
                  <c:v>0.3666666666666667</c:v>
                </c:pt>
                <c:pt idx="706">
                  <c:v>0.3666666666666667</c:v>
                </c:pt>
                <c:pt idx="707">
                  <c:v>0.3666666666666667</c:v>
                </c:pt>
                <c:pt idx="708">
                  <c:v>0.38166666666666665</c:v>
                </c:pt>
                <c:pt idx="709">
                  <c:v>0.38166666666666665</c:v>
                </c:pt>
                <c:pt idx="710">
                  <c:v>0.38166666666666665</c:v>
                </c:pt>
                <c:pt idx="711">
                  <c:v>0.38166666666666665</c:v>
                </c:pt>
                <c:pt idx="712">
                  <c:v>0.38166666666666665</c:v>
                </c:pt>
                <c:pt idx="713">
                  <c:v>0.38166666666666665</c:v>
                </c:pt>
                <c:pt idx="714">
                  <c:v>0.38166666666666665</c:v>
                </c:pt>
                <c:pt idx="715">
                  <c:v>0.38166666666666665</c:v>
                </c:pt>
                <c:pt idx="716">
                  <c:v>0.38166666666666665</c:v>
                </c:pt>
                <c:pt idx="717">
                  <c:v>0.38166666666666665</c:v>
                </c:pt>
                <c:pt idx="718">
                  <c:v>0.38166666666666665</c:v>
                </c:pt>
                <c:pt idx="719">
                  <c:v>0.38166666666666665</c:v>
                </c:pt>
                <c:pt idx="720">
                  <c:v>0.38166666666666665</c:v>
                </c:pt>
                <c:pt idx="721">
                  <c:v>0.38166666666666665</c:v>
                </c:pt>
                <c:pt idx="722">
                  <c:v>0.38166666666666665</c:v>
                </c:pt>
                <c:pt idx="723">
                  <c:v>0.38166666666666665</c:v>
                </c:pt>
                <c:pt idx="724">
                  <c:v>0.38166666666666665</c:v>
                </c:pt>
                <c:pt idx="725">
                  <c:v>0.38166666666666665</c:v>
                </c:pt>
                <c:pt idx="726">
                  <c:v>0.38166666666666665</c:v>
                </c:pt>
                <c:pt idx="727">
                  <c:v>0.38166666666666665</c:v>
                </c:pt>
                <c:pt idx="728">
                  <c:v>0.38166666666666665</c:v>
                </c:pt>
                <c:pt idx="729">
                  <c:v>0.38166666666666665</c:v>
                </c:pt>
                <c:pt idx="730">
                  <c:v>0.38166666666666665</c:v>
                </c:pt>
                <c:pt idx="731">
                  <c:v>0.38166666666666665</c:v>
                </c:pt>
                <c:pt idx="732">
                  <c:v>0.38166666666666665</c:v>
                </c:pt>
                <c:pt idx="733">
                  <c:v>0.38166666666666665</c:v>
                </c:pt>
                <c:pt idx="734">
                  <c:v>0.38166666666666665</c:v>
                </c:pt>
                <c:pt idx="735">
                  <c:v>0.40166666666666667</c:v>
                </c:pt>
                <c:pt idx="736">
                  <c:v>0.40166666666666667</c:v>
                </c:pt>
                <c:pt idx="737">
                  <c:v>0.40166666666666667</c:v>
                </c:pt>
              </c:numCache>
            </c:numRef>
          </c:val>
          <c:smooth val="0"/>
          <c:extLst>
            <c:ext xmlns:c16="http://schemas.microsoft.com/office/drawing/2014/chart" uri="{C3380CC4-5D6E-409C-BE32-E72D297353CC}">
              <c16:uniqueId val="{00000000-A5E8-4C0D-97CE-35F3907876BA}"/>
            </c:ext>
          </c:extLst>
        </c:ser>
        <c:ser>
          <c:idx val="1"/>
          <c:order val="1"/>
          <c:tx>
            <c:strRef>
              <c:f>主流省份电价!$CW$5</c:f>
              <c:strCache>
                <c:ptCount val="1"/>
                <c:pt idx="0">
                  <c:v>云南平均</c:v>
                </c:pt>
              </c:strCache>
            </c:strRef>
          </c:tx>
          <c:spPr>
            <a:ln w="28575" cap="rnd">
              <a:solidFill>
                <a:schemeClr val="accent5">
                  <a:lumMod val="75000"/>
                </a:schemeClr>
              </a:solidFill>
              <a:round/>
            </a:ln>
            <a:effectLst/>
          </c:spPr>
          <c:marker>
            <c:symbol val="none"/>
          </c:marker>
          <c:cat>
            <c:numRef>
              <c:f>主流省份电价!$CU$6:$CU$743</c:f>
              <c:numCache>
                <c:formatCode>m/d/yyyy</c:formatCode>
                <c:ptCount val="738"/>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numCache>
            </c:numRef>
          </c:cat>
          <c:val>
            <c:numRef>
              <c:f>主流省份电价!$CW$6:$CW$743</c:f>
              <c:numCache>
                <c:formatCode>General</c:formatCode>
                <c:ptCount val="738"/>
                <c:pt idx="0">
                  <c:v>0.46666666666666662</c:v>
                </c:pt>
                <c:pt idx="1">
                  <c:v>0.46666666666666662</c:v>
                </c:pt>
                <c:pt idx="2">
                  <c:v>0.46666666666666662</c:v>
                </c:pt>
                <c:pt idx="3">
                  <c:v>0.46666666666666662</c:v>
                </c:pt>
                <c:pt idx="4">
                  <c:v>0.46666666666666662</c:v>
                </c:pt>
                <c:pt idx="5">
                  <c:v>0.46666666666666662</c:v>
                </c:pt>
                <c:pt idx="6">
                  <c:v>0.46666666666666662</c:v>
                </c:pt>
                <c:pt idx="7">
                  <c:v>0.46666666666666662</c:v>
                </c:pt>
                <c:pt idx="8">
                  <c:v>0.46666666666666662</c:v>
                </c:pt>
                <c:pt idx="9">
                  <c:v>0.46666666666666662</c:v>
                </c:pt>
                <c:pt idx="10">
                  <c:v>0.46666666666666662</c:v>
                </c:pt>
                <c:pt idx="11">
                  <c:v>0.46666666666666662</c:v>
                </c:pt>
                <c:pt idx="12">
                  <c:v>0.46666666666666662</c:v>
                </c:pt>
                <c:pt idx="13">
                  <c:v>0.46666666666666662</c:v>
                </c:pt>
                <c:pt idx="14">
                  <c:v>0.46666666666666662</c:v>
                </c:pt>
                <c:pt idx="15">
                  <c:v>0.46666666666666662</c:v>
                </c:pt>
                <c:pt idx="16">
                  <c:v>0.46666666666666662</c:v>
                </c:pt>
                <c:pt idx="17">
                  <c:v>0.46666666666666662</c:v>
                </c:pt>
                <c:pt idx="18">
                  <c:v>0.46666666666666662</c:v>
                </c:pt>
                <c:pt idx="19">
                  <c:v>0.46666666666666662</c:v>
                </c:pt>
                <c:pt idx="20">
                  <c:v>0.46666666666666662</c:v>
                </c:pt>
                <c:pt idx="21">
                  <c:v>0.46666666666666662</c:v>
                </c:pt>
                <c:pt idx="22">
                  <c:v>0.52333333333333332</c:v>
                </c:pt>
                <c:pt idx="23">
                  <c:v>0.52333333333333332</c:v>
                </c:pt>
                <c:pt idx="24">
                  <c:v>0.52333333333333332</c:v>
                </c:pt>
                <c:pt idx="25">
                  <c:v>0.52333333333333332</c:v>
                </c:pt>
                <c:pt idx="26">
                  <c:v>0.52333333333333332</c:v>
                </c:pt>
                <c:pt idx="27">
                  <c:v>0.52333333333333332</c:v>
                </c:pt>
                <c:pt idx="28">
                  <c:v>0.52333333333333332</c:v>
                </c:pt>
                <c:pt idx="29">
                  <c:v>0.52333333333333332</c:v>
                </c:pt>
                <c:pt idx="30">
                  <c:v>0.52333333333333332</c:v>
                </c:pt>
                <c:pt idx="31">
                  <c:v>0.52333333333333332</c:v>
                </c:pt>
                <c:pt idx="32">
                  <c:v>0.52333333333333332</c:v>
                </c:pt>
                <c:pt idx="33">
                  <c:v>0.52333333333333332</c:v>
                </c:pt>
                <c:pt idx="34">
                  <c:v>0.52333333333333332</c:v>
                </c:pt>
                <c:pt idx="35">
                  <c:v>0.52333333333333332</c:v>
                </c:pt>
                <c:pt idx="36">
                  <c:v>0.52333333333333332</c:v>
                </c:pt>
                <c:pt idx="37">
                  <c:v>0.52333333333333332</c:v>
                </c:pt>
                <c:pt idx="38">
                  <c:v>0.52333333333333332</c:v>
                </c:pt>
                <c:pt idx="39">
                  <c:v>0.52333333333333332</c:v>
                </c:pt>
                <c:pt idx="40">
                  <c:v>0.52333333333333332</c:v>
                </c:pt>
                <c:pt idx="41">
                  <c:v>0.52333333333333332</c:v>
                </c:pt>
                <c:pt idx="42">
                  <c:v>0.52333333333333332</c:v>
                </c:pt>
                <c:pt idx="43">
                  <c:v>0.52333333333333332</c:v>
                </c:pt>
                <c:pt idx="44">
                  <c:v>0.52333333333333332</c:v>
                </c:pt>
                <c:pt idx="45">
                  <c:v>0.52333333333333332</c:v>
                </c:pt>
                <c:pt idx="46">
                  <c:v>0.52333333333333332</c:v>
                </c:pt>
                <c:pt idx="47">
                  <c:v>0.52333333333333332</c:v>
                </c:pt>
                <c:pt idx="48">
                  <c:v>0.52333333333333332</c:v>
                </c:pt>
                <c:pt idx="49">
                  <c:v>0.52333333333333332</c:v>
                </c:pt>
                <c:pt idx="50">
                  <c:v>0.52333333333333332</c:v>
                </c:pt>
                <c:pt idx="51">
                  <c:v>0.52333333333333332</c:v>
                </c:pt>
                <c:pt idx="52">
                  <c:v>0.52666666666666673</c:v>
                </c:pt>
                <c:pt idx="53">
                  <c:v>0.52666666666666673</c:v>
                </c:pt>
                <c:pt idx="54">
                  <c:v>0.52666666666666673</c:v>
                </c:pt>
                <c:pt idx="55">
                  <c:v>0.52666666666666673</c:v>
                </c:pt>
                <c:pt idx="56">
                  <c:v>0.52666666666666673</c:v>
                </c:pt>
                <c:pt idx="57">
                  <c:v>0.52666666666666673</c:v>
                </c:pt>
                <c:pt idx="58">
                  <c:v>0.52666666666666673</c:v>
                </c:pt>
                <c:pt idx="59">
                  <c:v>0.52666666666666673</c:v>
                </c:pt>
                <c:pt idx="60">
                  <c:v>0.52666666666666673</c:v>
                </c:pt>
                <c:pt idx="61">
                  <c:v>0.52666666666666673</c:v>
                </c:pt>
                <c:pt idx="62">
                  <c:v>0.52666666666666673</c:v>
                </c:pt>
                <c:pt idx="63">
                  <c:v>0.52666666666666673</c:v>
                </c:pt>
                <c:pt idx="64">
                  <c:v>0.52666666666666673</c:v>
                </c:pt>
                <c:pt idx="65">
                  <c:v>0.52666666666666673</c:v>
                </c:pt>
                <c:pt idx="66">
                  <c:v>0.52666666666666673</c:v>
                </c:pt>
                <c:pt idx="67">
                  <c:v>0.52666666666666673</c:v>
                </c:pt>
                <c:pt idx="68">
                  <c:v>0.52666666666666673</c:v>
                </c:pt>
                <c:pt idx="69">
                  <c:v>0.52666666666666673</c:v>
                </c:pt>
                <c:pt idx="70">
                  <c:v>0.52666666666666673</c:v>
                </c:pt>
                <c:pt idx="71">
                  <c:v>0.52666666666666673</c:v>
                </c:pt>
                <c:pt idx="72">
                  <c:v>0.52666666666666673</c:v>
                </c:pt>
                <c:pt idx="73">
                  <c:v>0.52666666666666673</c:v>
                </c:pt>
                <c:pt idx="74">
                  <c:v>0.52666666666666673</c:v>
                </c:pt>
                <c:pt idx="75">
                  <c:v>0.52666666666666673</c:v>
                </c:pt>
                <c:pt idx="76">
                  <c:v>0.52666666666666673</c:v>
                </c:pt>
                <c:pt idx="77">
                  <c:v>0.52666666666666673</c:v>
                </c:pt>
                <c:pt idx="78">
                  <c:v>0.52666666666666673</c:v>
                </c:pt>
                <c:pt idx="79">
                  <c:v>0.52666666666666673</c:v>
                </c:pt>
                <c:pt idx="80">
                  <c:v>0.53333333333333333</c:v>
                </c:pt>
                <c:pt idx="81">
                  <c:v>0.53333333333333333</c:v>
                </c:pt>
                <c:pt idx="82">
                  <c:v>0.53333333333333333</c:v>
                </c:pt>
                <c:pt idx="83">
                  <c:v>0.53333333333333333</c:v>
                </c:pt>
                <c:pt idx="84">
                  <c:v>0.53333333333333333</c:v>
                </c:pt>
                <c:pt idx="85">
                  <c:v>0.53333333333333333</c:v>
                </c:pt>
                <c:pt idx="86">
                  <c:v>0.53333333333333333</c:v>
                </c:pt>
                <c:pt idx="87">
                  <c:v>0.53333333333333333</c:v>
                </c:pt>
                <c:pt idx="88">
                  <c:v>0.53333333333333333</c:v>
                </c:pt>
                <c:pt idx="89">
                  <c:v>0.53333333333333333</c:v>
                </c:pt>
                <c:pt idx="90">
                  <c:v>0.53333333333333333</c:v>
                </c:pt>
                <c:pt idx="91">
                  <c:v>0.53333333333333333</c:v>
                </c:pt>
                <c:pt idx="92">
                  <c:v>0.53333333333333333</c:v>
                </c:pt>
                <c:pt idx="93">
                  <c:v>0.53333333333333333</c:v>
                </c:pt>
                <c:pt idx="94">
                  <c:v>0.53333333333333333</c:v>
                </c:pt>
                <c:pt idx="95">
                  <c:v>0.53333333333333333</c:v>
                </c:pt>
                <c:pt idx="96">
                  <c:v>0.53333333333333333</c:v>
                </c:pt>
                <c:pt idx="97">
                  <c:v>0.53333333333333333</c:v>
                </c:pt>
                <c:pt idx="98">
                  <c:v>0.53333333333333333</c:v>
                </c:pt>
                <c:pt idx="99">
                  <c:v>0.53333333333333333</c:v>
                </c:pt>
                <c:pt idx="100">
                  <c:v>0.53333333333333333</c:v>
                </c:pt>
                <c:pt idx="101">
                  <c:v>0.53333333333333333</c:v>
                </c:pt>
                <c:pt idx="102">
                  <c:v>0.53333333333333333</c:v>
                </c:pt>
                <c:pt idx="103">
                  <c:v>0.53333333333333333</c:v>
                </c:pt>
                <c:pt idx="104">
                  <c:v>0.53333333333333333</c:v>
                </c:pt>
                <c:pt idx="105">
                  <c:v>0.53333333333333333</c:v>
                </c:pt>
                <c:pt idx="106">
                  <c:v>0.53333333333333333</c:v>
                </c:pt>
                <c:pt idx="107">
                  <c:v>0.53333333333333333</c:v>
                </c:pt>
                <c:pt idx="108">
                  <c:v>0.53333333333333333</c:v>
                </c:pt>
                <c:pt idx="109">
                  <c:v>0.53333333333333333</c:v>
                </c:pt>
                <c:pt idx="110">
                  <c:v>0.53333333333333333</c:v>
                </c:pt>
                <c:pt idx="111">
                  <c:v>0.53333333333333333</c:v>
                </c:pt>
                <c:pt idx="112">
                  <c:v>0.53333333333333333</c:v>
                </c:pt>
                <c:pt idx="113">
                  <c:v>0.53333333333333333</c:v>
                </c:pt>
                <c:pt idx="114">
                  <c:v>0.53333333333333333</c:v>
                </c:pt>
                <c:pt idx="115">
                  <c:v>0.53333333333333333</c:v>
                </c:pt>
                <c:pt idx="116">
                  <c:v>0.53333333333333333</c:v>
                </c:pt>
                <c:pt idx="117">
                  <c:v>0.53333333333333333</c:v>
                </c:pt>
                <c:pt idx="118">
                  <c:v>0.53333333333333333</c:v>
                </c:pt>
                <c:pt idx="119">
                  <c:v>0.53333333333333333</c:v>
                </c:pt>
                <c:pt idx="120">
                  <c:v>0.53333333333333333</c:v>
                </c:pt>
                <c:pt idx="121">
                  <c:v>0.53333333333333333</c:v>
                </c:pt>
                <c:pt idx="122">
                  <c:v>0.53333333333333333</c:v>
                </c:pt>
                <c:pt idx="123">
                  <c:v>0.53333333333333333</c:v>
                </c:pt>
                <c:pt idx="124">
                  <c:v>0.53333333333333333</c:v>
                </c:pt>
                <c:pt idx="125">
                  <c:v>0.53333333333333333</c:v>
                </c:pt>
                <c:pt idx="126">
                  <c:v>0.53333333333333333</c:v>
                </c:pt>
                <c:pt idx="127">
                  <c:v>0.53333333333333333</c:v>
                </c:pt>
                <c:pt idx="128">
                  <c:v>0.53333333333333333</c:v>
                </c:pt>
                <c:pt idx="129">
                  <c:v>0.53333333333333333</c:v>
                </c:pt>
                <c:pt idx="130">
                  <c:v>0.53333333333333333</c:v>
                </c:pt>
                <c:pt idx="131">
                  <c:v>0.53333333333333333</c:v>
                </c:pt>
                <c:pt idx="132">
                  <c:v>0.53333333333333333</c:v>
                </c:pt>
                <c:pt idx="133">
                  <c:v>0.53333333333333333</c:v>
                </c:pt>
                <c:pt idx="134">
                  <c:v>0.53333333333333333</c:v>
                </c:pt>
                <c:pt idx="135">
                  <c:v>0.53333333333333333</c:v>
                </c:pt>
                <c:pt idx="136">
                  <c:v>0.53333333333333333</c:v>
                </c:pt>
                <c:pt idx="137">
                  <c:v>0.53333333333333333</c:v>
                </c:pt>
                <c:pt idx="138">
                  <c:v>0.53333333333333333</c:v>
                </c:pt>
                <c:pt idx="139">
                  <c:v>0.53333333333333333</c:v>
                </c:pt>
                <c:pt idx="140">
                  <c:v>0.53333333333333333</c:v>
                </c:pt>
                <c:pt idx="141">
                  <c:v>0.53333333333333333</c:v>
                </c:pt>
                <c:pt idx="142">
                  <c:v>0.53333333333333333</c:v>
                </c:pt>
                <c:pt idx="143">
                  <c:v>0.53333333333333333</c:v>
                </c:pt>
                <c:pt idx="144">
                  <c:v>0.53333333333333333</c:v>
                </c:pt>
                <c:pt idx="145">
                  <c:v>0.53333333333333333</c:v>
                </c:pt>
                <c:pt idx="146">
                  <c:v>0.53333333333333333</c:v>
                </c:pt>
                <c:pt idx="147">
                  <c:v>0.53333333333333333</c:v>
                </c:pt>
                <c:pt idx="148">
                  <c:v>0.53333333333333333</c:v>
                </c:pt>
                <c:pt idx="149">
                  <c:v>0.53333333333333333</c:v>
                </c:pt>
                <c:pt idx="150">
                  <c:v>0.53333333333333333</c:v>
                </c:pt>
                <c:pt idx="151">
                  <c:v>0.53333333333333333</c:v>
                </c:pt>
                <c:pt idx="152">
                  <c:v>0.53333333333333333</c:v>
                </c:pt>
                <c:pt idx="153">
                  <c:v>0.53333333333333333</c:v>
                </c:pt>
                <c:pt idx="154">
                  <c:v>0.53333333333333333</c:v>
                </c:pt>
                <c:pt idx="155">
                  <c:v>0.53333333333333333</c:v>
                </c:pt>
                <c:pt idx="156">
                  <c:v>0.53333333333333333</c:v>
                </c:pt>
                <c:pt idx="157">
                  <c:v>0.53333333333333333</c:v>
                </c:pt>
                <c:pt idx="158">
                  <c:v>0.53333333333333333</c:v>
                </c:pt>
                <c:pt idx="159">
                  <c:v>0.53333333333333333</c:v>
                </c:pt>
                <c:pt idx="160">
                  <c:v>0.53333333333333333</c:v>
                </c:pt>
                <c:pt idx="161">
                  <c:v>0.53333333333333333</c:v>
                </c:pt>
                <c:pt idx="162">
                  <c:v>0.53333333333333333</c:v>
                </c:pt>
                <c:pt idx="163">
                  <c:v>0.53333333333333333</c:v>
                </c:pt>
                <c:pt idx="164">
                  <c:v>0.53333333333333333</c:v>
                </c:pt>
                <c:pt idx="165">
                  <c:v>0.53333333333333333</c:v>
                </c:pt>
                <c:pt idx="166">
                  <c:v>0.53333333333333333</c:v>
                </c:pt>
                <c:pt idx="167">
                  <c:v>0.53333333333333333</c:v>
                </c:pt>
                <c:pt idx="168">
                  <c:v>0.53333333333333333</c:v>
                </c:pt>
                <c:pt idx="169">
                  <c:v>0.53333333333333333</c:v>
                </c:pt>
                <c:pt idx="170">
                  <c:v>0.53333333333333333</c:v>
                </c:pt>
                <c:pt idx="171">
                  <c:v>0.53333333333333333</c:v>
                </c:pt>
                <c:pt idx="172">
                  <c:v>0.53333333333333333</c:v>
                </c:pt>
                <c:pt idx="173">
                  <c:v>0.53333333333333333</c:v>
                </c:pt>
                <c:pt idx="174">
                  <c:v>0.53333333333333333</c:v>
                </c:pt>
                <c:pt idx="175">
                  <c:v>0.52</c:v>
                </c:pt>
                <c:pt idx="176">
                  <c:v>0.52</c:v>
                </c:pt>
                <c:pt idx="177">
                  <c:v>0.52</c:v>
                </c:pt>
                <c:pt idx="178">
                  <c:v>0.52</c:v>
                </c:pt>
                <c:pt idx="179">
                  <c:v>0.52</c:v>
                </c:pt>
                <c:pt idx="180">
                  <c:v>0.52</c:v>
                </c:pt>
                <c:pt idx="181">
                  <c:v>0.52</c:v>
                </c:pt>
                <c:pt idx="182">
                  <c:v>0.52</c:v>
                </c:pt>
                <c:pt idx="183">
                  <c:v>0.52</c:v>
                </c:pt>
                <c:pt idx="184">
                  <c:v>0.52</c:v>
                </c:pt>
                <c:pt idx="185">
                  <c:v>0.52</c:v>
                </c:pt>
                <c:pt idx="186">
                  <c:v>0.52</c:v>
                </c:pt>
                <c:pt idx="187">
                  <c:v>0.52</c:v>
                </c:pt>
                <c:pt idx="188">
                  <c:v>0.52</c:v>
                </c:pt>
                <c:pt idx="189">
                  <c:v>0.52</c:v>
                </c:pt>
                <c:pt idx="190">
                  <c:v>0.52</c:v>
                </c:pt>
                <c:pt idx="191">
                  <c:v>0.52</c:v>
                </c:pt>
                <c:pt idx="192">
                  <c:v>0.52</c:v>
                </c:pt>
                <c:pt idx="193">
                  <c:v>0.52</c:v>
                </c:pt>
                <c:pt idx="194">
                  <c:v>0.52</c:v>
                </c:pt>
                <c:pt idx="195">
                  <c:v>0.52</c:v>
                </c:pt>
                <c:pt idx="196">
                  <c:v>0.52</c:v>
                </c:pt>
                <c:pt idx="197">
                  <c:v>0.52</c:v>
                </c:pt>
                <c:pt idx="198">
                  <c:v>0.52</c:v>
                </c:pt>
                <c:pt idx="199">
                  <c:v>0.52</c:v>
                </c:pt>
                <c:pt idx="200">
                  <c:v>0.52</c:v>
                </c:pt>
                <c:pt idx="201">
                  <c:v>0.52</c:v>
                </c:pt>
                <c:pt idx="202">
                  <c:v>0.52</c:v>
                </c:pt>
                <c:pt idx="203">
                  <c:v>0.52</c:v>
                </c:pt>
                <c:pt idx="204">
                  <c:v>0.52</c:v>
                </c:pt>
                <c:pt idx="205">
                  <c:v>0.52</c:v>
                </c:pt>
                <c:pt idx="206">
                  <c:v>0.52</c:v>
                </c:pt>
                <c:pt idx="207">
                  <c:v>0.49666666666666665</c:v>
                </c:pt>
                <c:pt idx="208">
                  <c:v>0.49666666666666665</c:v>
                </c:pt>
                <c:pt idx="209">
                  <c:v>0.49666666666666665</c:v>
                </c:pt>
                <c:pt idx="210">
                  <c:v>0.49666666666666665</c:v>
                </c:pt>
                <c:pt idx="211">
                  <c:v>0.49666666666666665</c:v>
                </c:pt>
                <c:pt idx="212">
                  <c:v>0.49666666666666665</c:v>
                </c:pt>
                <c:pt idx="213">
                  <c:v>0.49666666666666665</c:v>
                </c:pt>
                <c:pt idx="214">
                  <c:v>0.49666666666666665</c:v>
                </c:pt>
                <c:pt idx="215">
                  <c:v>0.49666666666666665</c:v>
                </c:pt>
                <c:pt idx="216">
                  <c:v>0.49666666666666665</c:v>
                </c:pt>
                <c:pt idx="217">
                  <c:v>0.49666666666666665</c:v>
                </c:pt>
                <c:pt idx="218">
                  <c:v>0.49666666666666665</c:v>
                </c:pt>
                <c:pt idx="219">
                  <c:v>0.49666666666666665</c:v>
                </c:pt>
                <c:pt idx="220">
                  <c:v>0.49666666666666665</c:v>
                </c:pt>
                <c:pt idx="221">
                  <c:v>0.49666666666666665</c:v>
                </c:pt>
                <c:pt idx="222">
                  <c:v>0.49666666666666665</c:v>
                </c:pt>
                <c:pt idx="223">
                  <c:v>0.49666666666666665</c:v>
                </c:pt>
                <c:pt idx="224">
                  <c:v>0.49666666666666665</c:v>
                </c:pt>
                <c:pt idx="225">
                  <c:v>0.49666666666666665</c:v>
                </c:pt>
                <c:pt idx="226">
                  <c:v>0.49666666666666665</c:v>
                </c:pt>
                <c:pt idx="227">
                  <c:v>0.49666666666666665</c:v>
                </c:pt>
                <c:pt idx="228">
                  <c:v>0.49666666666666665</c:v>
                </c:pt>
                <c:pt idx="229">
                  <c:v>0.49666666666666665</c:v>
                </c:pt>
                <c:pt idx="230">
                  <c:v>0.49666666666666665</c:v>
                </c:pt>
                <c:pt idx="231">
                  <c:v>0.49666666666666665</c:v>
                </c:pt>
                <c:pt idx="232">
                  <c:v>0.49666666666666665</c:v>
                </c:pt>
                <c:pt idx="233">
                  <c:v>0.49666666666666665</c:v>
                </c:pt>
                <c:pt idx="234">
                  <c:v>0.49666666666666665</c:v>
                </c:pt>
                <c:pt idx="235">
                  <c:v>0.49666666666666665</c:v>
                </c:pt>
                <c:pt idx="236">
                  <c:v>0.49666666666666665</c:v>
                </c:pt>
                <c:pt idx="237">
                  <c:v>0.49666666666666665</c:v>
                </c:pt>
                <c:pt idx="238">
                  <c:v>0.49666666666666665</c:v>
                </c:pt>
                <c:pt idx="239">
                  <c:v>0.49666666666666665</c:v>
                </c:pt>
                <c:pt idx="240">
                  <c:v>0.49666666666666665</c:v>
                </c:pt>
                <c:pt idx="241">
                  <c:v>0.49666666666666665</c:v>
                </c:pt>
                <c:pt idx="242">
                  <c:v>0.49666666666666665</c:v>
                </c:pt>
                <c:pt idx="243">
                  <c:v>0.49666666666666665</c:v>
                </c:pt>
                <c:pt idx="244">
                  <c:v>0.49666666666666665</c:v>
                </c:pt>
                <c:pt idx="245">
                  <c:v>0.40000000000000008</c:v>
                </c:pt>
                <c:pt idx="246">
                  <c:v>0.40000000000000008</c:v>
                </c:pt>
                <c:pt idx="247">
                  <c:v>0.40000000000000008</c:v>
                </c:pt>
                <c:pt idx="248">
                  <c:v>0.40000000000000008</c:v>
                </c:pt>
                <c:pt idx="249">
                  <c:v>0.40000000000000008</c:v>
                </c:pt>
                <c:pt idx="250">
                  <c:v>0.40000000000000008</c:v>
                </c:pt>
                <c:pt idx="251">
                  <c:v>0.40000000000000008</c:v>
                </c:pt>
                <c:pt idx="252">
                  <c:v>0.40000000000000008</c:v>
                </c:pt>
                <c:pt idx="253">
                  <c:v>0.40000000000000008</c:v>
                </c:pt>
                <c:pt idx="254">
                  <c:v>0.40000000000000008</c:v>
                </c:pt>
                <c:pt idx="255">
                  <c:v>0.40000000000000008</c:v>
                </c:pt>
                <c:pt idx="256">
                  <c:v>0.40000000000000008</c:v>
                </c:pt>
                <c:pt idx="257">
                  <c:v>0.40000000000000008</c:v>
                </c:pt>
                <c:pt idx="258">
                  <c:v>0.40000000000000008</c:v>
                </c:pt>
                <c:pt idx="259">
                  <c:v>0.40000000000000008</c:v>
                </c:pt>
                <c:pt idx="260">
                  <c:v>0.40000000000000008</c:v>
                </c:pt>
                <c:pt idx="261">
                  <c:v>0.40000000000000008</c:v>
                </c:pt>
                <c:pt idx="262">
                  <c:v>0.40000000000000008</c:v>
                </c:pt>
                <c:pt idx="263">
                  <c:v>0.40000000000000008</c:v>
                </c:pt>
                <c:pt idx="264">
                  <c:v>0.40000000000000008</c:v>
                </c:pt>
                <c:pt idx="265">
                  <c:v>0.40000000000000008</c:v>
                </c:pt>
                <c:pt idx="266">
                  <c:v>0.38000000000000006</c:v>
                </c:pt>
                <c:pt idx="267">
                  <c:v>0.38000000000000006</c:v>
                </c:pt>
                <c:pt idx="268">
                  <c:v>0.38000000000000006</c:v>
                </c:pt>
                <c:pt idx="269">
                  <c:v>0.38000000000000006</c:v>
                </c:pt>
                <c:pt idx="270">
                  <c:v>0.38000000000000006</c:v>
                </c:pt>
                <c:pt idx="271">
                  <c:v>0.38000000000000006</c:v>
                </c:pt>
                <c:pt idx="272">
                  <c:v>0.38000000000000006</c:v>
                </c:pt>
                <c:pt idx="273">
                  <c:v>0.38000000000000006</c:v>
                </c:pt>
                <c:pt idx="274">
                  <c:v>0.38000000000000006</c:v>
                </c:pt>
                <c:pt idx="275">
                  <c:v>0.38000000000000006</c:v>
                </c:pt>
                <c:pt idx="276">
                  <c:v>0.38000000000000006</c:v>
                </c:pt>
                <c:pt idx="277">
                  <c:v>0.38000000000000006</c:v>
                </c:pt>
                <c:pt idx="278">
                  <c:v>0.38000000000000006</c:v>
                </c:pt>
                <c:pt idx="279">
                  <c:v>0.38000000000000006</c:v>
                </c:pt>
                <c:pt idx="280">
                  <c:v>0.38000000000000006</c:v>
                </c:pt>
                <c:pt idx="281">
                  <c:v>0.38000000000000006</c:v>
                </c:pt>
                <c:pt idx="282">
                  <c:v>0.38000000000000006</c:v>
                </c:pt>
                <c:pt idx="283">
                  <c:v>0.38000000000000006</c:v>
                </c:pt>
                <c:pt idx="284">
                  <c:v>0.38000000000000006</c:v>
                </c:pt>
                <c:pt idx="285">
                  <c:v>0.38000000000000006</c:v>
                </c:pt>
                <c:pt idx="286">
                  <c:v>0.38000000000000006</c:v>
                </c:pt>
                <c:pt idx="287">
                  <c:v>0.38000000000000006</c:v>
                </c:pt>
                <c:pt idx="288">
                  <c:v>0.38000000000000006</c:v>
                </c:pt>
                <c:pt idx="289">
                  <c:v>0.38000000000000006</c:v>
                </c:pt>
                <c:pt idx="290">
                  <c:v>0.38000000000000006</c:v>
                </c:pt>
                <c:pt idx="291">
                  <c:v>0.38000000000000006</c:v>
                </c:pt>
                <c:pt idx="292">
                  <c:v>0.38000000000000006</c:v>
                </c:pt>
                <c:pt idx="293">
                  <c:v>0.38000000000000006</c:v>
                </c:pt>
                <c:pt idx="294">
                  <c:v>0.38000000000000006</c:v>
                </c:pt>
                <c:pt idx="295">
                  <c:v>0.38000000000000006</c:v>
                </c:pt>
                <c:pt idx="296">
                  <c:v>0.38000000000000006</c:v>
                </c:pt>
                <c:pt idx="297">
                  <c:v>0.38000000000000006</c:v>
                </c:pt>
                <c:pt idx="298">
                  <c:v>0.38000000000000006</c:v>
                </c:pt>
                <c:pt idx="299">
                  <c:v>0.38000000000000006</c:v>
                </c:pt>
                <c:pt idx="300">
                  <c:v>0.38000000000000006</c:v>
                </c:pt>
                <c:pt idx="301">
                  <c:v>0.38000000000000006</c:v>
                </c:pt>
                <c:pt idx="302">
                  <c:v>0.38000000000000006</c:v>
                </c:pt>
                <c:pt idx="303">
                  <c:v>0.38000000000000006</c:v>
                </c:pt>
                <c:pt idx="304">
                  <c:v>0.38000000000000006</c:v>
                </c:pt>
                <c:pt idx="305">
                  <c:v>0.38000000000000006</c:v>
                </c:pt>
                <c:pt idx="306">
                  <c:v>0.38000000000000006</c:v>
                </c:pt>
                <c:pt idx="307">
                  <c:v>0.38000000000000006</c:v>
                </c:pt>
                <c:pt idx="308">
                  <c:v>0.38000000000000006</c:v>
                </c:pt>
                <c:pt idx="309">
                  <c:v>0.38000000000000006</c:v>
                </c:pt>
                <c:pt idx="310">
                  <c:v>0.38000000000000006</c:v>
                </c:pt>
                <c:pt idx="311">
                  <c:v>0.38000000000000006</c:v>
                </c:pt>
                <c:pt idx="312">
                  <c:v>0.38000000000000006</c:v>
                </c:pt>
                <c:pt idx="313">
                  <c:v>0.38000000000000006</c:v>
                </c:pt>
                <c:pt idx="314">
                  <c:v>0.38000000000000006</c:v>
                </c:pt>
                <c:pt idx="315">
                  <c:v>0.38000000000000006</c:v>
                </c:pt>
                <c:pt idx="316">
                  <c:v>0.38000000000000006</c:v>
                </c:pt>
                <c:pt idx="317">
                  <c:v>0.38000000000000006</c:v>
                </c:pt>
                <c:pt idx="318">
                  <c:v>0.38000000000000006</c:v>
                </c:pt>
                <c:pt idx="319">
                  <c:v>#N/A</c:v>
                </c:pt>
                <c:pt idx="320">
                  <c:v>#N/A</c:v>
                </c:pt>
                <c:pt idx="321">
                  <c:v>#N/A</c:v>
                </c:pt>
                <c:pt idx="322">
                  <c:v>#N/A</c:v>
                </c:pt>
                <c:pt idx="323">
                  <c:v>0.38000000000000006</c:v>
                </c:pt>
                <c:pt idx="324">
                  <c:v>0.38000000000000006</c:v>
                </c:pt>
                <c:pt idx="325">
                  <c:v>0.38000000000000006</c:v>
                </c:pt>
                <c:pt idx="326">
                  <c:v>0.38000000000000006</c:v>
                </c:pt>
                <c:pt idx="327">
                  <c:v>0.38000000000000006</c:v>
                </c:pt>
                <c:pt idx="328">
                  <c:v>0.38000000000000006</c:v>
                </c:pt>
                <c:pt idx="329">
                  <c:v>0.38000000000000006</c:v>
                </c:pt>
                <c:pt idx="330">
                  <c:v>0.38000000000000006</c:v>
                </c:pt>
                <c:pt idx="331">
                  <c:v>0.38000000000000006</c:v>
                </c:pt>
                <c:pt idx="332">
                  <c:v>0.38000000000000006</c:v>
                </c:pt>
                <c:pt idx="333">
                  <c:v>0.38000000000000006</c:v>
                </c:pt>
                <c:pt idx="334">
                  <c:v>0.38000000000000006</c:v>
                </c:pt>
                <c:pt idx="335">
                  <c:v>0.38000000000000006</c:v>
                </c:pt>
                <c:pt idx="336">
                  <c:v>0.38000000000000006</c:v>
                </c:pt>
                <c:pt idx="337">
                  <c:v>0.38000000000000006</c:v>
                </c:pt>
                <c:pt idx="338">
                  <c:v>0.38000000000000006</c:v>
                </c:pt>
                <c:pt idx="339">
                  <c:v>0.38000000000000006</c:v>
                </c:pt>
                <c:pt idx="340">
                  <c:v>0.38000000000000006</c:v>
                </c:pt>
                <c:pt idx="341">
                  <c:v>0.38000000000000006</c:v>
                </c:pt>
                <c:pt idx="342">
                  <c:v>0.38000000000000006</c:v>
                </c:pt>
                <c:pt idx="343">
                  <c:v>0.38000000000000006</c:v>
                </c:pt>
                <c:pt idx="344">
                  <c:v>0.38000000000000006</c:v>
                </c:pt>
                <c:pt idx="345">
                  <c:v>0.38000000000000006</c:v>
                </c:pt>
                <c:pt idx="346">
                  <c:v>0.38000000000000006</c:v>
                </c:pt>
                <c:pt idx="347">
                  <c:v>0.38000000000000006</c:v>
                </c:pt>
                <c:pt idx="348">
                  <c:v>0.38000000000000006</c:v>
                </c:pt>
                <c:pt idx="349">
                  <c:v>0.38000000000000006</c:v>
                </c:pt>
                <c:pt idx="350">
                  <c:v>0.38000000000000006</c:v>
                </c:pt>
                <c:pt idx="351">
                  <c:v>0.38000000000000006</c:v>
                </c:pt>
                <c:pt idx="352">
                  <c:v>0.38000000000000006</c:v>
                </c:pt>
                <c:pt idx="353">
                  <c:v>0.38000000000000006</c:v>
                </c:pt>
                <c:pt idx="354">
                  <c:v>0.38000000000000006</c:v>
                </c:pt>
                <c:pt idx="355">
                  <c:v>0.38000000000000006</c:v>
                </c:pt>
                <c:pt idx="356">
                  <c:v>0.38000000000000006</c:v>
                </c:pt>
                <c:pt idx="357">
                  <c:v>0.38000000000000006</c:v>
                </c:pt>
                <c:pt idx="358">
                  <c:v>0.38000000000000006</c:v>
                </c:pt>
                <c:pt idx="359">
                  <c:v>0.38000000000000006</c:v>
                </c:pt>
                <c:pt idx="360">
                  <c:v>0.38000000000000006</c:v>
                </c:pt>
                <c:pt idx="361">
                  <c:v>0.38000000000000006</c:v>
                </c:pt>
                <c:pt idx="362">
                  <c:v>0.38000000000000006</c:v>
                </c:pt>
                <c:pt idx="363">
                  <c:v>0.38000000000000006</c:v>
                </c:pt>
                <c:pt idx="364">
                  <c:v>0.41333333333333333</c:v>
                </c:pt>
                <c:pt idx="365">
                  <c:v>0.41333333333333333</c:v>
                </c:pt>
                <c:pt idx="366">
                  <c:v>0.41333333333333333</c:v>
                </c:pt>
                <c:pt idx="367">
                  <c:v>0.41333333333333333</c:v>
                </c:pt>
                <c:pt idx="368">
                  <c:v>0.41333333333333333</c:v>
                </c:pt>
                <c:pt idx="369">
                  <c:v>0.41333333333333333</c:v>
                </c:pt>
                <c:pt idx="370">
                  <c:v>0.41333333333333333</c:v>
                </c:pt>
                <c:pt idx="371">
                  <c:v>0.41333333333333333</c:v>
                </c:pt>
                <c:pt idx="372">
                  <c:v>0.41333333333333333</c:v>
                </c:pt>
                <c:pt idx="373">
                  <c:v>0.41333333333333333</c:v>
                </c:pt>
                <c:pt idx="374">
                  <c:v>0.41333333333333333</c:v>
                </c:pt>
                <c:pt idx="375">
                  <c:v>0.41333333333333333</c:v>
                </c:pt>
                <c:pt idx="376">
                  <c:v>0.41333333333333333</c:v>
                </c:pt>
                <c:pt idx="377">
                  <c:v>0.41333333333333333</c:v>
                </c:pt>
                <c:pt idx="378">
                  <c:v>0.41333333333333333</c:v>
                </c:pt>
                <c:pt idx="379">
                  <c:v>0.41333333333333333</c:v>
                </c:pt>
                <c:pt idx="380">
                  <c:v>0.41333333333333333</c:v>
                </c:pt>
                <c:pt idx="381">
                  <c:v>0.41333333333333333</c:v>
                </c:pt>
                <c:pt idx="382">
                  <c:v>0.41333333333333333</c:v>
                </c:pt>
                <c:pt idx="383">
                  <c:v>0.41333333333333333</c:v>
                </c:pt>
                <c:pt idx="384">
                  <c:v>0.41333333333333333</c:v>
                </c:pt>
                <c:pt idx="385">
                  <c:v>0.41333333333333333</c:v>
                </c:pt>
                <c:pt idx="386">
                  <c:v>0.41333333333333333</c:v>
                </c:pt>
                <c:pt idx="387">
                  <c:v>0.45333333333333331</c:v>
                </c:pt>
                <c:pt idx="388">
                  <c:v>0.45333333333333331</c:v>
                </c:pt>
                <c:pt idx="389">
                  <c:v>0.45333333333333331</c:v>
                </c:pt>
                <c:pt idx="390">
                  <c:v>0.45333333333333331</c:v>
                </c:pt>
                <c:pt idx="391">
                  <c:v>0.45333333333333331</c:v>
                </c:pt>
                <c:pt idx="392">
                  <c:v>0.45333333333333331</c:v>
                </c:pt>
                <c:pt idx="393">
                  <c:v>0.45333333333333331</c:v>
                </c:pt>
                <c:pt idx="394">
                  <c:v>0.45333333333333331</c:v>
                </c:pt>
                <c:pt idx="395">
                  <c:v>0.45333333333333331</c:v>
                </c:pt>
                <c:pt idx="396">
                  <c:v>0.49333333333333335</c:v>
                </c:pt>
                <c:pt idx="397">
                  <c:v>0.49333333333333335</c:v>
                </c:pt>
                <c:pt idx="398">
                  <c:v>0.49333333333333335</c:v>
                </c:pt>
                <c:pt idx="399">
                  <c:v>0.49333333333333335</c:v>
                </c:pt>
                <c:pt idx="400">
                  <c:v>0.49333333333333335</c:v>
                </c:pt>
                <c:pt idx="401">
                  <c:v>0.49333333333333335</c:v>
                </c:pt>
                <c:pt idx="402">
                  <c:v>0.49333333333333335</c:v>
                </c:pt>
                <c:pt idx="403">
                  <c:v>0.49333333333333335</c:v>
                </c:pt>
                <c:pt idx="404">
                  <c:v>0.49333333333333335</c:v>
                </c:pt>
                <c:pt idx="405">
                  <c:v>0.49333333333333335</c:v>
                </c:pt>
                <c:pt idx="406">
                  <c:v>0.49333333333333335</c:v>
                </c:pt>
                <c:pt idx="407">
                  <c:v>0.49333333333333335</c:v>
                </c:pt>
                <c:pt idx="408">
                  <c:v>0.49333333333333335</c:v>
                </c:pt>
                <c:pt idx="409">
                  <c:v>0.49333333333333335</c:v>
                </c:pt>
                <c:pt idx="410">
                  <c:v>0.49333333333333335</c:v>
                </c:pt>
                <c:pt idx="411">
                  <c:v>0.49333333333333335</c:v>
                </c:pt>
                <c:pt idx="412">
                  <c:v>0.49333333333333335</c:v>
                </c:pt>
                <c:pt idx="413">
                  <c:v>0.49333333333333335</c:v>
                </c:pt>
                <c:pt idx="414">
                  <c:v>0.49333333333333335</c:v>
                </c:pt>
                <c:pt idx="415">
                  <c:v>0.49333333333333335</c:v>
                </c:pt>
                <c:pt idx="416">
                  <c:v>0.49333333333333335</c:v>
                </c:pt>
                <c:pt idx="417">
                  <c:v>0.49333333333333335</c:v>
                </c:pt>
                <c:pt idx="418">
                  <c:v>0.49333333333333335</c:v>
                </c:pt>
                <c:pt idx="419">
                  <c:v>0.49333333333333335</c:v>
                </c:pt>
                <c:pt idx="420">
                  <c:v>0.49333333333333335</c:v>
                </c:pt>
                <c:pt idx="421">
                  <c:v>0.49333333333333335</c:v>
                </c:pt>
                <c:pt idx="422">
                  <c:v>0.49333333333333335</c:v>
                </c:pt>
                <c:pt idx="423">
                  <c:v>0.49333333333333335</c:v>
                </c:pt>
                <c:pt idx="424">
                  <c:v>0.49333333333333335</c:v>
                </c:pt>
                <c:pt idx="425">
                  <c:v>0.49333333333333335</c:v>
                </c:pt>
                <c:pt idx="426">
                  <c:v>0.49333333333333335</c:v>
                </c:pt>
                <c:pt idx="427">
                  <c:v>0.49333333333333335</c:v>
                </c:pt>
                <c:pt idx="428">
                  <c:v>0.49333333333333335</c:v>
                </c:pt>
                <c:pt idx="429">
                  <c:v>0.49333333333333335</c:v>
                </c:pt>
                <c:pt idx="430">
                  <c:v>0.49333333333333335</c:v>
                </c:pt>
                <c:pt idx="431">
                  <c:v>0.49333333333333335</c:v>
                </c:pt>
                <c:pt idx="432">
                  <c:v>0.49333333333333335</c:v>
                </c:pt>
                <c:pt idx="433">
                  <c:v>0.49333333333333335</c:v>
                </c:pt>
                <c:pt idx="434">
                  <c:v>0.49333333333333335</c:v>
                </c:pt>
                <c:pt idx="435">
                  <c:v>0.49333333333333335</c:v>
                </c:pt>
                <c:pt idx="436">
                  <c:v>0.49333333333333335</c:v>
                </c:pt>
                <c:pt idx="437">
                  <c:v>0.49333333333333335</c:v>
                </c:pt>
                <c:pt idx="438">
                  <c:v>0.49333333333333335</c:v>
                </c:pt>
                <c:pt idx="439">
                  <c:v>0.49333333333333335</c:v>
                </c:pt>
                <c:pt idx="440">
                  <c:v>0.49333333333333335</c:v>
                </c:pt>
                <c:pt idx="441">
                  <c:v>0.49666666666666665</c:v>
                </c:pt>
                <c:pt idx="442">
                  <c:v>0.49666666666666665</c:v>
                </c:pt>
                <c:pt idx="443">
                  <c:v>0.49666666666666665</c:v>
                </c:pt>
                <c:pt idx="444">
                  <c:v>0.49666666666666665</c:v>
                </c:pt>
                <c:pt idx="445">
                  <c:v>0.49666666666666665</c:v>
                </c:pt>
                <c:pt idx="446">
                  <c:v>0.49666666666666665</c:v>
                </c:pt>
                <c:pt idx="447">
                  <c:v>0.49666666666666665</c:v>
                </c:pt>
                <c:pt idx="448">
                  <c:v>0.49666666666666665</c:v>
                </c:pt>
                <c:pt idx="449">
                  <c:v>0.49666666666666665</c:v>
                </c:pt>
                <c:pt idx="450">
                  <c:v>0.49666666666666665</c:v>
                </c:pt>
                <c:pt idx="451">
                  <c:v>0.49666666666666665</c:v>
                </c:pt>
                <c:pt idx="452">
                  <c:v>0.49666666666666665</c:v>
                </c:pt>
                <c:pt idx="453">
                  <c:v>0.49666666666666665</c:v>
                </c:pt>
                <c:pt idx="454">
                  <c:v>0.49666666666666665</c:v>
                </c:pt>
                <c:pt idx="455">
                  <c:v>0.49666666666666665</c:v>
                </c:pt>
                <c:pt idx="456">
                  <c:v>0.49666666666666665</c:v>
                </c:pt>
                <c:pt idx="457">
                  <c:v>0.49666666666666665</c:v>
                </c:pt>
                <c:pt idx="458">
                  <c:v>0.49666666666666665</c:v>
                </c:pt>
                <c:pt idx="459">
                  <c:v>0.49666666666666665</c:v>
                </c:pt>
                <c:pt idx="460">
                  <c:v>0.49666666666666665</c:v>
                </c:pt>
                <c:pt idx="461">
                  <c:v>0.49666666666666665</c:v>
                </c:pt>
                <c:pt idx="462">
                  <c:v>0.49666666666666665</c:v>
                </c:pt>
                <c:pt idx="463">
                  <c:v>0.49666666666666665</c:v>
                </c:pt>
                <c:pt idx="464">
                  <c:v>0.49666666666666665</c:v>
                </c:pt>
                <c:pt idx="465">
                  <c:v>0.49666666666666665</c:v>
                </c:pt>
                <c:pt idx="466">
                  <c:v>0.49666666666666665</c:v>
                </c:pt>
                <c:pt idx="467">
                  <c:v>0.49666666666666665</c:v>
                </c:pt>
                <c:pt idx="468">
                  <c:v>0.49666666666666665</c:v>
                </c:pt>
                <c:pt idx="469">
                  <c:v>0.49666666666666665</c:v>
                </c:pt>
                <c:pt idx="470">
                  <c:v>0.49666666666666665</c:v>
                </c:pt>
                <c:pt idx="471">
                  <c:v>0.49666666666666665</c:v>
                </c:pt>
                <c:pt idx="472">
                  <c:v>0.49666666666666665</c:v>
                </c:pt>
                <c:pt idx="473">
                  <c:v>0.49666666666666665</c:v>
                </c:pt>
                <c:pt idx="474">
                  <c:v>0.49666666666666665</c:v>
                </c:pt>
                <c:pt idx="475">
                  <c:v>0.49666666666666665</c:v>
                </c:pt>
                <c:pt idx="476">
                  <c:v>0.49666666666666665</c:v>
                </c:pt>
                <c:pt idx="477">
                  <c:v>0.49666666666666665</c:v>
                </c:pt>
                <c:pt idx="478">
                  <c:v>0.49666666666666665</c:v>
                </c:pt>
                <c:pt idx="479">
                  <c:v>0.49666666666666665</c:v>
                </c:pt>
                <c:pt idx="480">
                  <c:v>0.49666666666666665</c:v>
                </c:pt>
                <c:pt idx="481">
                  <c:v>0.49666666666666665</c:v>
                </c:pt>
                <c:pt idx="482">
                  <c:v>0.49666666666666665</c:v>
                </c:pt>
                <c:pt idx="483">
                  <c:v>0.49666666666666665</c:v>
                </c:pt>
                <c:pt idx="484">
                  <c:v>0.49666666666666665</c:v>
                </c:pt>
                <c:pt idx="485">
                  <c:v>0.49666666666666665</c:v>
                </c:pt>
                <c:pt idx="486">
                  <c:v>0.49666666666666665</c:v>
                </c:pt>
                <c:pt idx="487">
                  <c:v>0.49666666666666665</c:v>
                </c:pt>
                <c:pt idx="488">
                  <c:v>0.49666666666666665</c:v>
                </c:pt>
                <c:pt idx="489">
                  <c:v>0.49666666666666665</c:v>
                </c:pt>
                <c:pt idx="490">
                  <c:v>0.49666666666666665</c:v>
                </c:pt>
                <c:pt idx="491">
                  <c:v>0.49666666666666665</c:v>
                </c:pt>
                <c:pt idx="492">
                  <c:v>0.49666666666666665</c:v>
                </c:pt>
                <c:pt idx="493">
                  <c:v>0.49666666666666665</c:v>
                </c:pt>
                <c:pt idx="494">
                  <c:v>0.49666666666666665</c:v>
                </c:pt>
                <c:pt idx="495">
                  <c:v>0.49666666666666665</c:v>
                </c:pt>
                <c:pt idx="496">
                  <c:v>0.49666666666666665</c:v>
                </c:pt>
                <c:pt idx="497">
                  <c:v>0.49666666666666665</c:v>
                </c:pt>
                <c:pt idx="498">
                  <c:v>0.49666666666666665</c:v>
                </c:pt>
                <c:pt idx="499">
                  <c:v>0.49666666666666665</c:v>
                </c:pt>
                <c:pt idx="500">
                  <c:v>0.49666666666666665</c:v>
                </c:pt>
                <c:pt idx="501">
                  <c:v>0.49666666666666665</c:v>
                </c:pt>
                <c:pt idx="502">
                  <c:v>0.49666666666666665</c:v>
                </c:pt>
                <c:pt idx="503">
                  <c:v>0.49666666666666665</c:v>
                </c:pt>
                <c:pt idx="504">
                  <c:v>0.49666666666666665</c:v>
                </c:pt>
                <c:pt idx="505">
                  <c:v>0.49666666666666665</c:v>
                </c:pt>
                <c:pt idx="506">
                  <c:v>0.49666666666666665</c:v>
                </c:pt>
                <c:pt idx="507">
                  <c:v>0.49666666666666665</c:v>
                </c:pt>
                <c:pt idx="508">
                  <c:v>0.49666666666666665</c:v>
                </c:pt>
                <c:pt idx="509">
                  <c:v>0.49666666666666665</c:v>
                </c:pt>
                <c:pt idx="510">
                  <c:v>0.49666666666666665</c:v>
                </c:pt>
                <c:pt idx="511">
                  <c:v>0.49666666666666665</c:v>
                </c:pt>
                <c:pt idx="512">
                  <c:v>0.49666666666666665</c:v>
                </c:pt>
                <c:pt idx="513">
                  <c:v>0.49666666666666665</c:v>
                </c:pt>
                <c:pt idx="514">
                  <c:v>0.49666666666666665</c:v>
                </c:pt>
                <c:pt idx="515">
                  <c:v>0.49666666666666665</c:v>
                </c:pt>
                <c:pt idx="516">
                  <c:v>0.49666666666666665</c:v>
                </c:pt>
                <c:pt idx="517">
                  <c:v>0.49666666666666665</c:v>
                </c:pt>
                <c:pt idx="518">
                  <c:v>0.49666666666666665</c:v>
                </c:pt>
                <c:pt idx="519">
                  <c:v>0.49666666666666665</c:v>
                </c:pt>
                <c:pt idx="520">
                  <c:v>0.49666666666666665</c:v>
                </c:pt>
                <c:pt idx="521">
                  <c:v>0.49666666666666665</c:v>
                </c:pt>
                <c:pt idx="522">
                  <c:v>0.49666666666666665</c:v>
                </c:pt>
                <c:pt idx="523">
                  <c:v>0.49666666666666665</c:v>
                </c:pt>
                <c:pt idx="524">
                  <c:v>0.49666666666666665</c:v>
                </c:pt>
                <c:pt idx="525">
                  <c:v>0.49666666666666665</c:v>
                </c:pt>
                <c:pt idx="526">
                  <c:v>0.49666666666666665</c:v>
                </c:pt>
                <c:pt idx="527">
                  <c:v>0.49666666666666665</c:v>
                </c:pt>
                <c:pt idx="528">
                  <c:v>0.49666666666666665</c:v>
                </c:pt>
                <c:pt idx="529">
                  <c:v>0.49666666666666665</c:v>
                </c:pt>
                <c:pt idx="530">
                  <c:v>0.49666666666666665</c:v>
                </c:pt>
                <c:pt idx="531">
                  <c:v>0.49666666666666665</c:v>
                </c:pt>
                <c:pt idx="532">
                  <c:v>0.49666666666666665</c:v>
                </c:pt>
                <c:pt idx="533">
                  <c:v>0.49666666666666665</c:v>
                </c:pt>
                <c:pt idx="534">
                  <c:v>0.49666666666666665</c:v>
                </c:pt>
                <c:pt idx="535">
                  <c:v>0.49666666666666665</c:v>
                </c:pt>
                <c:pt idx="536">
                  <c:v>0.49666666666666665</c:v>
                </c:pt>
                <c:pt idx="537">
                  <c:v>0.49666666666666665</c:v>
                </c:pt>
                <c:pt idx="538">
                  <c:v>0.49666666666666665</c:v>
                </c:pt>
                <c:pt idx="539">
                  <c:v>0.49666666666666665</c:v>
                </c:pt>
                <c:pt idx="540">
                  <c:v>0.49666666666666665</c:v>
                </c:pt>
                <c:pt idx="541">
                  <c:v>0.49666666666666665</c:v>
                </c:pt>
                <c:pt idx="542">
                  <c:v>0.49666666666666665</c:v>
                </c:pt>
                <c:pt idx="543">
                  <c:v>0.49666666666666665</c:v>
                </c:pt>
                <c:pt idx="544">
                  <c:v>0.49666666666666665</c:v>
                </c:pt>
                <c:pt idx="545">
                  <c:v>0.49666666666666665</c:v>
                </c:pt>
                <c:pt idx="546">
                  <c:v>0.49666666666666665</c:v>
                </c:pt>
                <c:pt idx="547">
                  <c:v>0.49666666666666665</c:v>
                </c:pt>
                <c:pt idx="548">
                  <c:v>0.49666666666666665</c:v>
                </c:pt>
                <c:pt idx="549">
                  <c:v>0.49666666666666665</c:v>
                </c:pt>
                <c:pt idx="550">
                  <c:v>0.49666666666666665</c:v>
                </c:pt>
                <c:pt idx="551">
                  <c:v>0.49666666666666665</c:v>
                </c:pt>
                <c:pt idx="552">
                  <c:v>0.49666666666666665</c:v>
                </c:pt>
                <c:pt idx="553">
                  <c:v>0.49666666666666665</c:v>
                </c:pt>
                <c:pt idx="554">
                  <c:v>0.49666666666666665</c:v>
                </c:pt>
                <c:pt idx="555">
                  <c:v>0.49666666666666665</c:v>
                </c:pt>
                <c:pt idx="556">
                  <c:v>0.49666666666666665</c:v>
                </c:pt>
                <c:pt idx="557">
                  <c:v>0.49666666666666665</c:v>
                </c:pt>
                <c:pt idx="558">
                  <c:v>0.49666666666666665</c:v>
                </c:pt>
                <c:pt idx="559">
                  <c:v>0.49666666666666665</c:v>
                </c:pt>
                <c:pt idx="560">
                  <c:v>0.49666666666666665</c:v>
                </c:pt>
                <c:pt idx="561">
                  <c:v>0.49666666666666665</c:v>
                </c:pt>
                <c:pt idx="562">
                  <c:v>0.49666666666666665</c:v>
                </c:pt>
                <c:pt idx="563">
                  <c:v>0.49666666666666665</c:v>
                </c:pt>
                <c:pt idx="564">
                  <c:v>0.49666666666666665</c:v>
                </c:pt>
                <c:pt idx="565">
                  <c:v>0.49666666666666665</c:v>
                </c:pt>
                <c:pt idx="566">
                  <c:v>0.49666666666666665</c:v>
                </c:pt>
                <c:pt idx="567">
                  <c:v>0.49666666666666665</c:v>
                </c:pt>
                <c:pt idx="568">
                  <c:v>0.49666666666666665</c:v>
                </c:pt>
                <c:pt idx="569">
                  <c:v>0.49666666666666665</c:v>
                </c:pt>
                <c:pt idx="570">
                  <c:v>0.49666666666666665</c:v>
                </c:pt>
                <c:pt idx="571">
                  <c:v>0.49666666666666665</c:v>
                </c:pt>
                <c:pt idx="572">
                  <c:v>0.49666666666666665</c:v>
                </c:pt>
                <c:pt idx="573">
                  <c:v>0.49666666666666665</c:v>
                </c:pt>
                <c:pt idx="574">
                  <c:v>0.48666666666666664</c:v>
                </c:pt>
                <c:pt idx="575">
                  <c:v>0.48666666666666664</c:v>
                </c:pt>
                <c:pt idx="576">
                  <c:v>0.48666666666666664</c:v>
                </c:pt>
                <c:pt idx="577">
                  <c:v>0.48666666666666664</c:v>
                </c:pt>
                <c:pt idx="578">
                  <c:v>0.48666666666666664</c:v>
                </c:pt>
                <c:pt idx="579">
                  <c:v>0.48666666666666664</c:v>
                </c:pt>
                <c:pt idx="580">
                  <c:v>0.48666666666666664</c:v>
                </c:pt>
                <c:pt idx="581">
                  <c:v>0.48666666666666664</c:v>
                </c:pt>
                <c:pt idx="582">
                  <c:v>0.48666666666666664</c:v>
                </c:pt>
                <c:pt idx="583">
                  <c:v>0.48666666666666664</c:v>
                </c:pt>
                <c:pt idx="584">
                  <c:v>0.48666666666666664</c:v>
                </c:pt>
                <c:pt idx="585">
                  <c:v>0.48666666666666664</c:v>
                </c:pt>
                <c:pt idx="586">
                  <c:v>0.48666666666666664</c:v>
                </c:pt>
                <c:pt idx="587">
                  <c:v>0.48666666666666664</c:v>
                </c:pt>
                <c:pt idx="588">
                  <c:v>0.48666666666666664</c:v>
                </c:pt>
                <c:pt idx="589">
                  <c:v>0.48666666666666664</c:v>
                </c:pt>
                <c:pt idx="590">
                  <c:v>0.48666666666666664</c:v>
                </c:pt>
                <c:pt idx="591">
                  <c:v>0.48666666666666664</c:v>
                </c:pt>
                <c:pt idx="592">
                  <c:v>0.48666666666666664</c:v>
                </c:pt>
                <c:pt idx="593">
                  <c:v>0.48666666666666664</c:v>
                </c:pt>
                <c:pt idx="594">
                  <c:v>0.48666666666666664</c:v>
                </c:pt>
                <c:pt idx="595">
                  <c:v>0.48666666666666664</c:v>
                </c:pt>
                <c:pt idx="596">
                  <c:v>0.48666666666666664</c:v>
                </c:pt>
                <c:pt idx="597">
                  <c:v>0.48666666666666664</c:v>
                </c:pt>
                <c:pt idx="598">
                  <c:v>0.48666666666666664</c:v>
                </c:pt>
                <c:pt idx="599">
                  <c:v>0.48666666666666664</c:v>
                </c:pt>
                <c:pt idx="600">
                  <c:v>0.48666666666666664</c:v>
                </c:pt>
                <c:pt idx="601">
                  <c:v>0.48666666666666664</c:v>
                </c:pt>
                <c:pt idx="602">
                  <c:v>0.39333333333333337</c:v>
                </c:pt>
                <c:pt idx="603">
                  <c:v>0.39333333333333337</c:v>
                </c:pt>
                <c:pt idx="604">
                  <c:v>0.39333333333333337</c:v>
                </c:pt>
                <c:pt idx="605">
                  <c:v>0.39333333333333337</c:v>
                </c:pt>
                <c:pt idx="606">
                  <c:v>0.39333333333333337</c:v>
                </c:pt>
                <c:pt idx="607">
                  <c:v>0.39333333333333337</c:v>
                </c:pt>
                <c:pt idx="608">
                  <c:v>0.39333333333333337</c:v>
                </c:pt>
                <c:pt idx="609">
                  <c:v>0.39333333333333337</c:v>
                </c:pt>
                <c:pt idx="610">
                  <c:v>0.39333333333333337</c:v>
                </c:pt>
                <c:pt idx="611">
                  <c:v>0.39333333333333337</c:v>
                </c:pt>
                <c:pt idx="612">
                  <c:v>0.39333333333333337</c:v>
                </c:pt>
                <c:pt idx="613">
                  <c:v>0.39333333333333337</c:v>
                </c:pt>
                <c:pt idx="614">
                  <c:v>0.39333333333333337</c:v>
                </c:pt>
                <c:pt idx="615">
                  <c:v>0.39333333333333337</c:v>
                </c:pt>
                <c:pt idx="616">
                  <c:v>0.39333333333333337</c:v>
                </c:pt>
                <c:pt idx="617">
                  <c:v>0.39333333333333337</c:v>
                </c:pt>
                <c:pt idx="618">
                  <c:v>0.39333333333333337</c:v>
                </c:pt>
                <c:pt idx="619">
                  <c:v>0.39333333333333337</c:v>
                </c:pt>
                <c:pt idx="620">
                  <c:v>0.39333333333333337</c:v>
                </c:pt>
                <c:pt idx="621">
                  <c:v>0.39333333333333337</c:v>
                </c:pt>
                <c:pt idx="622">
                  <c:v>0.39333333333333337</c:v>
                </c:pt>
                <c:pt idx="623">
                  <c:v>0.39333333333333337</c:v>
                </c:pt>
                <c:pt idx="624">
                  <c:v>0.39333333333333337</c:v>
                </c:pt>
                <c:pt idx="625">
                  <c:v>0.39333333333333337</c:v>
                </c:pt>
                <c:pt idx="626">
                  <c:v>0.39333333333333337</c:v>
                </c:pt>
                <c:pt idx="627">
                  <c:v>0.39333333333333337</c:v>
                </c:pt>
                <c:pt idx="628">
                  <c:v>0.39333333333333337</c:v>
                </c:pt>
                <c:pt idx="629">
                  <c:v>0.39333333333333337</c:v>
                </c:pt>
                <c:pt idx="630">
                  <c:v>0.39333333333333337</c:v>
                </c:pt>
                <c:pt idx="631">
                  <c:v>0.39333333333333337</c:v>
                </c:pt>
                <c:pt idx="632">
                  <c:v>0.39333333333333337</c:v>
                </c:pt>
                <c:pt idx="633">
                  <c:v>0.39333333333333337</c:v>
                </c:pt>
                <c:pt idx="634">
                  <c:v>0.39333333333333337</c:v>
                </c:pt>
                <c:pt idx="635">
                  <c:v>0.39333333333333337</c:v>
                </c:pt>
                <c:pt idx="636">
                  <c:v>0.39333333333333337</c:v>
                </c:pt>
                <c:pt idx="637">
                  <c:v>0.39333333333333337</c:v>
                </c:pt>
                <c:pt idx="638">
                  <c:v>0.39333333333333337</c:v>
                </c:pt>
                <c:pt idx="639">
                  <c:v>0.39333333333333337</c:v>
                </c:pt>
                <c:pt idx="640">
                  <c:v>0.39333333333333337</c:v>
                </c:pt>
                <c:pt idx="641">
                  <c:v>0.39333333333333337</c:v>
                </c:pt>
                <c:pt idx="642">
                  <c:v>0.39333333333333337</c:v>
                </c:pt>
                <c:pt idx="643">
                  <c:v>0.39333333333333337</c:v>
                </c:pt>
                <c:pt idx="644">
                  <c:v>0.39333333333333337</c:v>
                </c:pt>
                <c:pt idx="645">
                  <c:v>0.39333333333333337</c:v>
                </c:pt>
                <c:pt idx="646">
                  <c:v>0.39333333333333337</c:v>
                </c:pt>
                <c:pt idx="647">
                  <c:v>0.39333333333333337</c:v>
                </c:pt>
                <c:pt idx="648">
                  <c:v>0.39333333333333337</c:v>
                </c:pt>
                <c:pt idx="649">
                  <c:v>0.39333333333333337</c:v>
                </c:pt>
                <c:pt idx="650">
                  <c:v>0.39333333333333337</c:v>
                </c:pt>
                <c:pt idx="651">
                  <c:v>0.39333333333333337</c:v>
                </c:pt>
                <c:pt idx="652">
                  <c:v>0.39333333333333337</c:v>
                </c:pt>
                <c:pt idx="653">
                  <c:v>0.39333333333333337</c:v>
                </c:pt>
                <c:pt idx="654">
                  <c:v>0.39333333333333337</c:v>
                </c:pt>
                <c:pt idx="655">
                  <c:v>0.39333333333333337</c:v>
                </c:pt>
                <c:pt idx="656">
                  <c:v>0.39333333333333337</c:v>
                </c:pt>
                <c:pt idx="657">
                  <c:v>0.39333333333333337</c:v>
                </c:pt>
                <c:pt idx="658">
                  <c:v>0.39333333333333337</c:v>
                </c:pt>
                <c:pt idx="659">
                  <c:v>0.39333333333333337</c:v>
                </c:pt>
                <c:pt idx="660">
                  <c:v>0.39333333333333337</c:v>
                </c:pt>
                <c:pt idx="661">
                  <c:v>0.39333333333333337</c:v>
                </c:pt>
                <c:pt idx="662">
                  <c:v>0.39333333333333337</c:v>
                </c:pt>
                <c:pt idx="663">
                  <c:v>0.39333333333333337</c:v>
                </c:pt>
                <c:pt idx="664">
                  <c:v>0.39333333333333337</c:v>
                </c:pt>
                <c:pt idx="665">
                  <c:v>0.39333333333333337</c:v>
                </c:pt>
                <c:pt idx="666">
                  <c:v>0.39333333333333337</c:v>
                </c:pt>
                <c:pt idx="667">
                  <c:v>0.39333333333333337</c:v>
                </c:pt>
                <c:pt idx="668">
                  <c:v>0.39333333333333337</c:v>
                </c:pt>
                <c:pt idx="669">
                  <c:v>0.39333333333333337</c:v>
                </c:pt>
                <c:pt idx="670">
                  <c:v>0.39333333333333337</c:v>
                </c:pt>
                <c:pt idx="671">
                  <c:v>0.39333333333333337</c:v>
                </c:pt>
                <c:pt idx="672">
                  <c:v>0.39333333333333337</c:v>
                </c:pt>
                <c:pt idx="673">
                  <c:v>0.39333333333333337</c:v>
                </c:pt>
                <c:pt idx="674">
                  <c:v>0.39333333333333337</c:v>
                </c:pt>
                <c:pt idx="675">
                  <c:v>0.39333333333333337</c:v>
                </c:pt>
                <c:pt idx="676">
                  <c:v>0.39333333333333337</c:v>
                </c:pt>
                <c:pt idx="677">
                  <c:v>0.39333333333333337</c:v>
                </c:pt>
                <c:pt idx="678">
                  <c:v>0.39333333333333337</c:v>
                </c:pt>
                <c:pt idx="679">
                  <c:v>0.39333333333333337</c:v>
                </c:pt>
                <c:pt idx="680">
                  <c:v>0.39333333333333337</c:v>
                </c:pt>
                <c:pt idx="681">
                  <c:v>0.39333333333333337</c:v>
                </c:pt>
                <c:pt idx="682">
                  <c:v>0.39333333333333337</c:v>
                </c:pt>
                <c:pt idx="683">
                  <c:v>0.39333333333333337</c:v>
                </c:pt>
                <c:pt idx="684">
                  <c:v>0.39333333333333337</c:v>
                </c:pt>
                <c:pt idx="685">
                  <c:v>0.39333333333333337</c:v>
                </c:pt>
                <c:pt idx="686">
                  <c:v>0.39333333333333337</c:v>
                </c:pt>
                <c:pt idx="687">
                  <c:v>0.39333333333333337</c:v>
                </c:pt>
                <c:pt idx="688">
                  <c:v>0.39333333333333337</c:v>
                </c:pt>
                <c:pt idx="689">
                  <c:v>0.39333333333333337</c:v>
                </c:pt>
                <c:pt idx="690">
                  <c:v>0.39333333333333337</c:v>
                </c:pt>
                <c:pt idx="691">
                  <c:v>0.39333333333333337</c:v>
                </c:pt>
                <c:pt idx="692">
                  <c:v>0.39333333333333337</c:v>
                </c:pt>
                <c:pt idx="693">
                  <c:v>0.39333333333333337</c:v>
                </c:pt>
                <c:pt idx="694">
                  <c:v>0.39333333333333337</c:v>
                </c:pt>
                <c:pt idx="695">
                  <c:v>0.39333333333333337</c:v>
                </c:pt>
                <c:pt idx="696">
                  <c:v>0.39333333333333337</c:v>
                </c:pt>
                <c:pt idx="697">
                  <c:v>0.39333333333333337</c:v>
                </c:pt>
                <c:pt idx="698">
                  <c:v>0.39333333333333337</c:v>
                </c:pt>
                <c:pt idx="699">
                  <c:v>0.39333333333333337</c:v>
                </c:pt>
                <c:pt idx="700">
                  <c:v>0.39333333333333337</c:v>
                </c:pt>
                <c:pt idx="701">
                  <c:v>0.39333333333333337</c:v>
                </c:pt>
                <c:pt idx="702">
                  <c:v>0.39333333333333337</c:v>
                </c:pt>
                <c:pt idx="703">
                  <c:v>0.39333333333333337</c:v>
                </c:pt>
                <c:pt idx="704">
                  <c:v>0.39333333333333337</c:v>
                </c:pt>
                <c:pt idx="705">
                  <c:v>0.39333333333333337</c:v>
                </c:pt>
                <c:pt idx="706">
                  <c:v>0.39333333333333337</c:v>
                </c:pt>
                <c:pt idx="707">
                  <c:v>0.39333333333333337</c:v>
                </c:pt>
                <c:pt idx="708">
                  <c:v>0.39333333333333337</c:v>
                </c:pt>
                <c:pt idx="709">
                  <c:v>0.39333333333333337</c:v>
                </c:pt>
                <c:pt idx="710">
                  <c:v>0.39333333333333337</c:v>
                </c:pt>
                <c:pt idx="711">
                  <c:v>0.39333333333333337</c:v>
                </c:pt>
                <c:pt idx="712">
                  <c:v>0.39333333333333337</c:v>
                </c:pt>
                <c:pt idx="713">
                  <c:v>0.39333333333333337</c:v>
                </c:pt>
                <c:pt idx="714">
                  <c:v>0.39333333333333337</c:v>
                </c:pt>
                <c:pt idx="715">
                  <c:v>0.39333333333333337</c:v>
                </c:pt>
                <c:pt idx="716">
                  <c:v>0.39333333333333337</c:v>
                </c:pt>
                <c:pt idx="717">
                  <c:v>0.39333333333333337</c:v>
                </c:pt>
                <c:pt idx="718">
                  <c:v>0.39333333333333337</c:v>
                </c:pt>
                <c:pt idx="719">
                  <c:v>0.39333333333333337</c:v>
                </c:pt>
                <c:pt idx="720">
                  <c:v>0.39333333333333337</c:v>
                </c:pt>
                <c:pt idx="721">
                  <c:v>0.39333333333333337</c:v>
                </c:pt>
                <c:pt idx="722">
                  <c:v>0.39333333333333337</c:v>
                </c:pt>
                <c:pt idx="723">
                  <c:v>0.39333333333333337</c:v>
                </c:pt>
                <c:pt idx="724">
                  <c:v>0.39333333333333337</c:v>
                </c:pt>
                <c:pt idx="725">
                  <c:v>0.39333333333333337</c:v>
                </c:pt>
                <c:pt idx="726">
                  <c:v>0.39333333333333337</c:v>
                </c:pt>
                <c:pt idx="727">
                  <c:v>0.39333333333333337</c:v>
                </c:pt>
                <c:pt idx="728">
                  <c:v>0.39333333333333337</c:v>
                </c:pt>
                <c:pt idx="729">
                  <c:v>0.39333333333333337</c:v>
                </c:pt>
                <c:pt idx="730">
                  <c:v>0.39333333333333337</c:v>
                </c:pt>
                <c:pt idx="731">
                  <c:v>0.39333333333333337</c:v>
                </c:pt>
                <c:pt idx="732">
                  <c:v>0.39333333333333337</c:v>
                </c:pt>
                <c:pt idx="733">
                  <c:v>0.39333333333333337</c:v>
                </c:pt>
                <c:pt idx="734">
                  <c:v>0.39333333333333337</c:v>
                </c:pt>
                <c:pt idx="735">
                  <c:v>0.40666666666666673</c:v>
                </c:pt>
                <c:pt idx="736">
                  <c:v>0.40666666666666673</c:v>
                </c:pt>
                <c:pt idx="737">
                  <c:v>0.40666666666666673</c:v>
                </c:pt>
              </c:numCache>
            </c:numRef>
          </c:val>
          <c:smooth val="0"/>
          <c:extLst>
            <c:ext xmlns:c16="http://schemas.microsoft.com/office/drawing/2014/chart" uri="{C3380CC4-5D6E-409C-BE32-E72D297353CC}">
              <c16:uniqueId val="{00000001-A5E8-4C0D-97CE-35F3907876BA}"/>
            </c:ext>
          </c:extLst>
        </c:ser>
        <c:ser>
          <c:idx val="2"/>
          <c:order val="2"/>
          <c:tx>
            <c:strRef>
              <c:f>主流省份电价!$CX$5</c:f>
              <c:strCache>
                <c:ptCount val="1"/>
                <c:pt idx="0">
                  <c:v>新疆电价</c:v>
                </c:pt>
              </c:strCache>
            </c:strRef>
          </c:tx>
          <c:spPr>
            <a:ln w="28575" cap="rnd">
              <a:solidFill>
                <a:schemeClr val="bg1">
                  <a:lumMod val="50000"/>
                </a:schemeClr>
              </a:solidFill>
              <a:round/>
            </a:ln>
            <a:effectLst/>
          </c:spPr>
          <c:marker>
            <c:symbol val="none"/>
          </c:marker>
          <c:cat>
            <c:numRef>
              <c:f>主流省份电价!$CU$6:$CU$743</c:f>
              <c:numCache>
                <c:formatCode>m/d/yyyy</c:formatCode>
                <c:ptCount val="738"/>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numCache>
            </c:numRef>
          </c:cat>
          <c:val>
            <c:numRef>
              <c:f>主流省份电价!$CX$6:$CX$743</c:f>
              <c:numCache>
                <c:formatCode>General</c:formatCode>
                <c:ptCount val="738"/>
                <c:pt idx="0">
                  <c:v>0.37</c:v>
                </c:pt>
                <c:pt idx="1">
                  <c:v>0.37</c:v>
                </c:pt>
                <c:pt idx="2">
                  <c:v>0.37</c:v>
                </c:pt>
                <c:pt idx="3">
                  <c:v>0.37</c:v>
                </c:pt>
                <c:pt idx="4">
                  <c:v>0.37</c:v>
                </c:pt>
                <c:pt idx="5">
                  <c:v>0.37</c:v>
                </c:pt>
                <c:pt idx="6">
                  <c:v>0.37</c:v>
                </c:pt>
                <c:pt idx="7">
                  <c:v>0.37</c:v>
                </c:pt>
                <c:pt idx="8">
                  <c:v>0.37</c:v>
                </c:pt>
                <c:pt idx="9">
                  <c:v>0.37</c:v>
                </c:pt>
                <c:pt idx="10">
                  <c:v>0.37</c:v>
                </c:pt>
                <c:pt idx="11">
                  <c:v>0.37</c:v>
                </c:pt>
                <c:pt idx="12">
                  <c:v>0.37</c:v>
                </c:pt>
                <c:pt idx="13">
                  <c:v>0.37</c:v>
                </c:pt>
                <c:pt idx="14">
                  <c:v>0.37</c:v>
                </c:pt>
                <c:pt idx="15">
                  <c:v>0.37</c:v>
                </c:pt>
                <c:pt idx="16">
                  <c:v>0.37</c:v>
                </c:pt>
                <c:pt idx="17">
                  <c:v>0.37</c:v>
                </c:pt>
                <c:pt idx="18">
                  <c:v>0.37</c:v>
                </c:pt>
                <c:pt idx="19">
                  <c:v>0.37</c:v>
                </c:pt>
                <c:pt idx="20">
                  <c:v>0.37</c:v>
                </c:pt>
                <c:pt idx="21">
                  <c:v>0.37</c:v>
                </c:pt>
                <c:pt idx="22">
                  <c:v>0.37</c:v>
                </c:pt>
                <c:pt idx="23">
                  <c:v>0.37</c:v>
                </c:pt>
                <c:pt idx="24">
                  <c:v>0.37</c:v>
                </c:pt>
                <c:pt idx="25">
                  <c:v>0.37</c:v>
                </c:pt>
                <c:pt idx="26">
                  <c:v>0.37</c:v>
                </c:pt>
                <c:pt idx="27">
                  <c:v>0.37</c:v>
                </c:pt>
                <c:pt idx="28">
                  <c:v>0.37</c:v>
                </c:pt>
                <c:pt idx="29">
                  <c:v>0.37</c:v>
                </c:pt>
                <c:pt idx="30">
                  <c:v>0.37</c:v>
                </c:pt>
                <c:pt idx="31">
                  <c:v>0.37</c:v>
                </c:pt>
                <c:pt idx="32">
                  <c:v>0.37</c:v>
                </c:pt>
                <c:pt idx="33">
                  <c:v>0.37</c:v>
                </c:pt>
                <c:pt idx="34">
                  <c:v>0.37</c:v>
                </c:pt>
                <c:pt idx="35">
                  <c:v>0.37</c:v>
                </c:pt>
                <c:pt idx="36">
                  <c:v>0.37</c:v>
                </c:pt>
                <c:pt idx="37">
                  <c:v>0.37</c:v>
                </c:pt>
                <c:pt idx="38">
                  <c:v>0.37</c:v>
                </c:pt>
                <c:pt idx="39">
                  <c:v>0.37</c:v>
                </c:pt>
                <c:pt idx="40">
                  <c:v>0.37</c:v>
                </c:pt>
                <c:pt idx="41">
                  <c:v>0.37</c:v>
                </c:pt>
                <c:pt idx="42">
                  <c:v>0.37</c:v>
                </c:pt>
                <c:pt idx="43">
                  <c:v>0.37</c:v>
                </c:pt>
                <c:pt idx="44">
                  <c:v>0.37</c:v>
                </c:pt>
                <c:pt idx="45">
                  <c:v>0.37</c:v>
                </c:pt>
                <c:pt idx="46">
                  <c:v>0.37</c:v>
                </c:pt>
                <c:pt idx="47">
                  <c:v>0.37</c:v>
                </c:pt>
                <c:pt idx="48">
                  <c:v>0.37</c:v>
                </c:pt>
                <c:pt idx="49">
                  <c:v>0.37</c:v>
                </c:pt>
                <c:pt idx="50">
                  <c:v>0.37</c:v>
                </c:pt>
                <c:pt idx="51">
                  <c:v>0.37</c:v>
                </c:pt>
                <c:pt idx="52">
                  <c:v>0.37</c:v>
                </c:pt>
                <c:pt idx="53">
                  <c:v>0.37</c:v>
                </c:pt>
                <c:pt idx="54">
                  <c:v>0.37</c:v>
                </c:pt>
                <c:pt idx="55">
                  <c:v>0.37</c:v>
                </c:pt>
                <c:pt idx="56">
                  <c:v>0.37</c:v>
                </c:pt>
                <c:pt idx="57">
                  <c:v>0.37</c:v>
                </c:pt>
                <c:pt idx="58">
                  <c:v>0.37</c:v>
                </c:pt>
                <c:pt idx="59">
                  <c:v>0.37</c:v>
                </c:pt>
                <c:pt idx="60">
                  <c:v>0.37</c:v>
                </c:pt>
                <c:pt idx="61">
                  <c:v>0.37</c:v>
                </c:pt>
                <c:pt idx="62">
                  <c:v>0.37</c:v>
                </c:pt>
                <c:pt idx="63">
                  <c:v>0.37</c:v>
                </c:pt>
                <c:pt idx="64">
                  <c:v>0.37</c:v>
                </c:pt>
                <c:pt idx="65">
                  <c:v>0.37</c:v>
                </c:pt>
                <c:pt idx="66">
                  <c:v>0.37</c:v>
                </c:pt>
                <c:pt idx="67">
                  <c:v>0.37</c:v>
                </c:pt>
                <c:pt idx="68">
                  <c:v>0.37</c:v>
                </c:pt>
                <c:pt idx="69">
                  <c:v>0.37</c:v>
                </c:pt>
                <c:pt idx="70">
                  <c:v>0.37</c:v>
                </c:pt>
                <c:pt idx="71">
                  <c:v>0.37</c:v>
                </c:pt>
                <c:pt idx="72">
                  <c:v>0.37</c:v>
                </c:pt>
                <c:pt idx="73">
                  <c:v>0.37</c:v>
                </c:pt>
                <c:pt idx="74">
                  <c:v>0.37</c:v>
                </c:pt>
                <c:pt idx="75">
                  <c:v>0.37</c:v>
                </c:pt>
                <c:pt idx="76">
                  <c:v>0.37</c:v>
                </c:pt>
                <c:pt idx="77">
                  <c:v>0.37</c:v>
                </c:pt>
                <c:pt idx="78">
                  <c:v>0.37</c:v>
                </c:pt>
                <c:pt idx="79">
                  <c:v>0.37</c:v>
                </c:pt>
                <c:pt idx="80">
                  <c:v>0.37</c:v>
                </c:pt>
                <c:pt idx="81">
                  <c:v>0.37</c:v>
                </c:pt>
                <c:pt idx="82">
                  <c:v>0.37</c:v>
                </c:pt>
                <c:pt idx="83">
                  <c:v>0.37</c:v>
                </c:pt>
                <c:pt idx="84">
                  <c:v>0.37</c:v>
                </c:pt>
                <c:pt idx="85">
                  <c:v>0.37</c:v>
                </c:pt>
                <c:pt idx="86">
                  <c:v>0.37</c:v>
                </c:pt>
                <c:pt idx="87">
                  <c:v>0.37</c:v>
                </c:pt>
                <c:pt idx="88">
                  <c:v>0.37</c:v>
                </c:pt>
                <c:pt idx="89">
                  <c:v>0.37</c:v>
                </c:pt>
                <c:pt idx="90">
                  <c:v>0.37</c:v>
                </c:pt>
                <c:pt idx="91">
                  <c:v>0.37</c:v>
                </c:pt>
                <c:pt idx="92">
                  <c:v>0.37</c:v>
                </c:pt>
                <c:pt idx="93">
                  <c:v>0.37</c:v>
                </c:pt>
                <c:pt idx="94">
                  <c:v>0.37</c:v>
                </c:pt>
                <c:pt idx="95">
                  <c:v>0.37</c:v>
                </c:pt>
                <c:pt idx="96">
                  <c:v>0.37</c:v>
                </c:pt>
                <c:pt idx="97">
                  <c:v>0.37</c:v>
                </c:pt>
                <c:pt idx="98">
                  <c:v>0.37</c:v>
                </c:pt>
                <c:pt idx="99">
                  <c:v>0.37</c:v>
                </c:pt>
                <c:pt idx="100">
                  <c:v>0.37</c:v>
                </c:pt>
                <c:pt idx="101">
                  <c:v>0.37</c:v>
                </c:pt>
                <c:pt idx="102">
                  <c:v>0.37</c:v>
                </c:pt>
                <c:pt idx="103">
                  <c:v>0.37</c:v>
                </c:pt>
                <c:pt idx="104">
                  <c:v>0.37</c:v>
                </c:pt>
                <c:pt idx="105">
                  <c:v>0.37</c:v>
                </c:pt>
                <c:pt idx="106">
                  <c:v>0.37</c:v>
                </c:pt>
                <c:pt idx="107">
                  <c:v>0.37</c:v>
                </c:pt>
                <c:pt idx="108">
                  <c:v>0.37</c:v>
                </c:pt>
                <c:pt idx="109">
                  <c:v>0.37</c:v>
                </c:pt>
                <c:pt idx="110">
                  <c:v>0.37</c:v>
                </c:pt>
                <c:pt idx="111">
                  <c:v>0.37</c:v>
                </c:pt>
                <c:pt idx="112">
                  <c:v>0.37</c:v>
                </c:pt>
                <c:pt idx="113">
                  <c:v>0.37</c:v>
                </c:pt>
                <c:pt idx="114">
                  <c:v>0.37</c:v>
                </c:pt>
                <c:pt idx="115">
                  <c:v>0.37</c:v>
                </c:pt>
                <c:pt idx="116">
                  <c:v>0.37</c:v>
                </c:pt>
                <c:pt idx="117">
                  <c:v>0.37</c:v>
                </c:pt>
                <c:pt idx="118">
                  <c:v>0.37</c:v>
                </c:pt>
                <c:pt idx="119">
                  <c:v>0.37</c:v>
                </c:pt>
                <c:pt idx="120">
                  <c:v>0.37</c:v>
                </c:pt>
                <c:pt idx="121">
                  <c:v>0.37</c:v>
                </c:pt>
                <c:pt idx="122">
                  <c:v>0.37</c:v>
                </c:pt>
                <c:pt idx="123">
                  <c:v>0.37</c:v>
                </c:pt>
                <c:pt idx="124">
                  <c:v>0.37</c:v>
                </c:pt>
                <c:pt idx="125">
                  <c:v>0.37</c:v>
                </c:pt>
                <c:pt idx="126">
                  <c:v>0.37</c:v>
                </c:pt>
                <c:pt idx="127">
                  <c:v>0.37</c:v>
                </c:pt>
                <c:pt idx="128">
                  <c:v>0.37</c:v>
                </c:pt>
                <c:pt idx="129">
                  <c:v>0.37</c:v>
                </c:pt>
                <c:pt idx="130">
                  <c:v>0.37</c:v>
                </c:pt>
                <c:pt idx="131">
                  <c:v>0.37</c:v>
                </c:pt>
                <c:pt idx="132">
                  <c:v>0.37</c:v>
                </c:pt>
                <c:pt idx="133">
                  <c:v>0.37</c:v>
                </c:pt>
                <c:pt idx="134">
                  <c:v>0.37</c:v>
                </c:pt>
                <c:pt idx="135">
                  <c:v>0.37</c:v>
                </c:pt>
                <c:pt idx="136">
                  <c:v>0.37</c:v>
                </c:pt>
                <c:pt idx="137">
                  <c:v>0.37</c:v>
                </c:pt>
                <c:pt idx="138">
                  <c:v>0.37</c:v>
                </c:pt>
                <c:pt idx="139">
                  <c:v>0.37</c:v>
                </c:pt>
                <c:pt idx="140">
                  <c:v>0.37</c:v>
                </c:pt>
                <c:pt idx="141">
                  <c:v>0.37</c:v>
                </c:pt>
                <c:pt idx="142">
                  <c:v>0.37</c:v>
                </c:pt>
                <c:pt idx="143">
                  <c:v>0.37</c:v>
                </c:pt>
                <c:pt idx="144">
                  <c:v>0.37</c:v>
                </c:pt>
                <c:pt idx="145">
                  <c:v>0.37</c:v>
                </c:pt>
                <c:pt idx="146">
                  <c:v>0.37</c:v>
                </c:pt>
                <c:pt idx="147">
                  <c:v>0.37</c:v>
                </c:pt>
                <c:pt idx="148">
                  <c:v>0.37</c:v>
                </c:pt>
                <c:pt idx="149">
                  <c:v>0.37</c:v>
                </c:pt>
                <c:pt idx="150">
                  <c:v>0.37</c:v>
                </c:pt>
                <c:pt idx="151">
                  <c:v>0.37</c:v>
                </c:pt>
                <c:pt idx="152">
                  <c:v>0.37</c:v>
                </c:pt>
                <c:pt idx="153">
                  <c:v>0.37</c:v>
                </c:pt>
                <c:pt idx="154">
                  <c:v>0.37</c:v>
                </c:pt>
                <c:pt idx="155">
                  <c:v>0.37</c:v>
                </c:pt>
                <c:pt idx="156">
                  <c:v>0.37</c:v>
                </c:pt>
                <c:pt idx="157">
                  <c:v>0.37</c:v>
                </c:pt>
                <c:pt idx="158">
                  <c:v>0.37</c:v>
                </c:pt>
                <c:pt idx="159">
                  <c:v>0.37</c:v>
                </c:pt>
                <c:pt idx="160">
                  <c:v>0.37</c:v>
                </c:pt>
                <c:pt idx="161">
                  <c:v>0.37</c:v>
                </c:pt>
                <c:pt idx="162">
                  <c:v>0.37</c:v>
                </c:pt>
                <c:pt idx="163">
                  <c:v>0.37</c:v>
                </c:pt>
                <c:pt idx="164">
                  <c:v>0.37</c:v>
                </c:pt>
                <c:pt idx="165">
                  <c:v>0.37</c:v>
                </c:pt>
                <c:pt idx="166">
                  <c:v>0.37</c:v>
                </c:pt>
                <c:pt idx="167">
                  <c:v>0.37</c:v>
                </c:pt>
                <c:pt idx="168">
                  <c:v>0.37</c:v>
                </c:pt>
                <c:pt idx="169">
                  <c:v>0.37</c:v>
                </c:pt>
                <c:pt idx="170">
                  <c:v>0.37</c:v>
                </c:pt>
                <c:pt idx="171">
                  <c:v>0.37</c:v>
                </c:pt>
                <c:pt idx="172">
                  <c:v>0.37</c:v>
                </c:pt>
                <c:pt idx="173">
                  <c:v>0.37</c:v>
                </c:pt>
                <c:pt idx="174">
                  <c:v>0.37</c:v>
                </c:pt>
                <c:pt idx="175">
                  <c:v>0.37</c:v>
                </c:pt>
                <c:pt idx="176">
                  <c:v>0.37</c:v>
                </c:pt>
                <c:pt idx="177">
                  <c:v>0.37</c:v>
                </c:pt>
                <c:pt idx="178">
                  <c:v>0.37</c:v>
                </c:pt>
                <c:pt idx="179">
                  <c:v>0.37</c:v>
                </c:pt>
                <c:pt idx="180">
                  <c:v>0.37</c:v>
                </c:pt>
                <c:pt idx="181">
                  <c:v>0.37</c:v>
                </c:pt>
                <c:pt idx="182">
                  <c:v>0.37</c:v>
                </c:pt>
                <c:pt idx="183">
                  <c:v>0.37</c:v>
                </c:pt>
                <c:pt idx="184">
                  <c:v>0.37</c:v>
                </c:pt>
                <c:pt idx="185">
                  <c:v>0.37</c:v>
                </c:pt>
                <c:pt idx="186">
                  <c:v>0.37</c:v>
                </c:pt>
                <c:pt idx="187">
                  <c:v>0.37</c:v>
                </c:pt>
                <c:pt idx="188">
                  <c:v>0.37</c:v>
                </c:pt>
                <c:pt idx="189">
                  <c:v>0.37</c:v>
                </c:pt>
                <c:pt idx="190">
                  <c:v>0.37</c:v>
                </c:pt>
                <c:pt idx="191">
                  <c:v>0.37</c:v>
                </c:pt>
                <c:pt idx="192">
                  <c:v>0.37</c:v>
                </c:pt>
                <c:pt idx="193">
                  <c:v>0.37</c:v>
                </c:pt>
                <c:pt idx="194">
                  <c:v>0.37</c:v>
                </c:pt>
                <c:pt idx="195">
                  <c:v>0.37</c:v>
                </c:pt>
                <c:pt idx="196">
                  <c:v>0.37</c:v>
                </c:pt>
                <c:pt idx="197">
                  <c:v>0.37</c:v>
                </c:pt>
                <c:pt idx="198">
                  <c:v>0.37</c:v>
                </c:pt>
                <c:pt idx="199">
                  <c:v>0.37</c:v>
                </c:pt>
                <c:pt idx="200">
                  <c:v>0.37</c:v>
                </c:pt>
                <c:pt idx="201">
                  <c:v>0.37</c:v>
                </c:pt>
                <c:pt idx="202">
                  <c:v>0.37</c:v>
                </c:pt>
                <c:pt idx="203">
                  <c:v>0.37</c:v>
                </c:pt>
                <c:pt idx="204">
                  <c:v>0.37</c:v>
                </c:pt>
                <c:pt idx="205">
                  <c:v>0.37</c:v>
                </c:pt>
                <c:pt idx="206">
                  <c:v>0.37</c:v>
                </c:pt>
                <c:pt idx="207">
                  <c:v>0.37</c:v>
                </c:pt>
                <c:pt idx="208">
                  <c:v>0.37</c:v>
                </c:pt>
                <c:pt idx="209">
                  <c:v>0.37</c:v>
                </c:pt>
                <c:pt idx="210">
                  <c:v>0.37</c:v>
                </c:pt>
                <c:pt idx="211">
                  <c:v>0.37</c:v>
                </c:pt>
                <c:pt idx="212">
                  <c:v>0.37</c:v>
                </c:pt>
                <c:pt idx="213">
                  <c:v>0.37</c:v>
                </c:pt>
                <c:pt idx="214">
                  <c:v>0.37</c:v>
                </c:pt>
                <c:pt idx="215">
                  <c:v>0.37</c:v>
                </c:pt>
                <c:pt idx="216">
                  <c:v>0.37</c:v>
                </c:pt>
                <c:pt idx="217">
                  <c:v>0.37</c:v>
                </c:pt>
                <c:pt idx="218">
                  <c:v>0.37</c:v>
                </c:pt>
                <c:pt idx="219">
                  <c:v>0.37</c:v>
                </c:pt>
                <c:pt idx="220">
                  <c:v>0.37</c:v>
                </c:pt>
                <c:pt idx="221">
                  <c:v>0.37</c:v>
                </c:pt>
                <c:pt idx="222">
                  <c:v>0.37</c:v>
                </c:pt>
                <c:pt idx="223">
                  <c:v>0.37</c:v>
                </c:pt>
                <c:pt idx="224">
                  <c:v>0.37</c:v>
                </c:pt>
                <c:pt idx="225">
                  <c:v>0.37</c:v>
                </c:pt>
                <c:pt idx="226">
                  <c:v>0.37</c:v>
                </c:pt>
                <c:pt idx="227">
                  <c:v>0.37</c:v>
                </c:pt>
                <c:pt idx="228">
                  <c:v>0.37</c:v>
                </c:pt>
                <c:pt idx="229">
                  <c:v>0.37</c:v>
                </c:pt>
                <c:pt idx="230">
                  <c:v>0.37</c:v>
                </c:pt>
                <c:pt idx="231">
                  <c:v>0.37</c:v>
                </c:pt>
                <c:pt idx="232">
                  <c:v>0.37</c:v>
                </c:pt>
                <c:pt idx="233">
                  <c:v>0.37</c:v>
                </c:pt>
                <c:pt idx="234">
                  <c:v>0.37</c:v>
                </c:pt>
                <c:pt idx="235">
                  <c:v>0.37</c:v>
                </c:pt>
                <c:pt idx="236">
                  <c:v>0.37</c:v>
                </c:pt>
                <c:pt idx="237">
                  <c:v>0.37</c:v>
                </c:pt>
                <c:pt idx="238">
                  <c:v>0.37</c:v>
                </c:pt>
                <c:pt idx="239">
                  <c:v>0.37</c:v>
                </c:pt>
                <c:pt idx="240">
                  <c:v>0.37</c:v>
                </c:pt>
                <c:pt idx="241">
                  <c:v>0.37</c:v>
                </c:pt>
                <c:pt idx="242">
                  <c:v>0.37</c:v>
                </c:pt>
                <c:pt idx="243">
                  <c:v>0.37</c:v>
                </c:pt>
                <c:pt idx="244">
                  <c:v>0.37</c:v>
                </c:pt>
                <c:pt idx="245">
                  <c:v>0.37</c:v>
                </c:pt>
                <c:pt idx="246">
                  <c:v>0.37</c:v>
                </c:pt>
                <c:pt idx="247">
                  <c:v>0.37</c:v>
                </c:pt>
                <c:pt idx="248">
                  <c:v>0.37</c:v>
                </c:pt>
                <c:pt idx="249">
                  <c:v>0.37</c:v>
                </c:pt>
                <c:pt idx="250">
                  <c:v>0.37</c:v>
                </c:pt>
                <c:pt idx="251">
                  <c:v>0.37</c:v>
                </c:pt>
                <c:pt idx="252">
                  <c:v>0.37</c:v>
                </c:pt>
                <c:pt idx="253">
                  <c:v>0.37</c:v>
                </c:pt>
                <c:pt idx="254">
                  <c:v>0.37</c:v>
                </c:pt>
                <c:pt idx="255">
                  <c:v>0.37</c:v>
                </c:pt>
                <c:pt idx="256">
                  <c:v>0.37</c:v>
                </c:pt>
                <c:pt idx="257">
                  <c:v>0.37</c:v>
                </c:pt>
                <c:pt idx="258">
                  <c:v>0.37</c:v>
                </c:pt>
                <c:pt idx="259">
                  <c:v>0.37</c:v>
                </c:pt>
                <c:pt idx="260">
                  <c:v>0.37</c:v>
                </c:pt>
                <c:pt idx="261">
                  <c:v>0.37</c:v>
                </c:pt>
                <c:pt idx="262">
                  <c:v>0.37</c:v>
                </c:pt>
                <c:pt idx="263">
                  <c:v>0.37</c:v>
                </c:pt>
                <c:pt idx="264">
                  <c:v>0.37</c:v>
                </c:pt>
                <c:pt idx="265">
                  <c:v>0.37</c:v>
                </c:pt>
                <c:pt idx="266">
                  <c:v>0.37</c:v>
                </c:pt>
                <c:pt idx="267">
                  <c:v>0.37</c:v>
                </c:pt>
                <c:pt idx="268">
                  <c:v>0.37</c:v>
                </c:pt>
                <c:pt idx="269">
                  <c:v>0.37</c:v>
                </c:pt>
                <c:pt idx="270">
                  <c:v>0.37</c:v>
                </c:pt>
                <c:pt idx="271">
                  <c:v>0.37</c:v>
                </c:pt>
                <c:pt idx="272">
                  <c:v>0.37</c:v>
                </c:pt>
                <c:pt idx="273">
                  <c:v>0.37</c:v>
                </c:pt>
                <c:pt idx="274">
                  <c:v>0.37</c:v>
                </c:pt>
                <c:pt idx="275">
                  <c:v>0.37</c:v>
                </c:pt>
                <c:pt idx="276">
                  <c:v>0.37</c:v>
                </c:pt>
                <c:pt idx="277">
                  <c:v>0.37</c:v>
                </c:pt>
                <c:pt idx="278">
                  <c:v>0.37</c:v>
                </c:pt>
                <c:pt idx="279">
                  <c:v>0.37</c:v>
                </c:pt>
                <c:pt idx="280">
                  <c:v>0.37</c:v>
                </c:pt>
                <c:pt idx="281">
                  <c:v>0.37</c:v>
                </c:pt>
                <c:pt idx="282">
                  <c:v>0.37</c:v>
                </c:pt>
                <c:pt idx="283">
                  <c:v>0.37</c:v>
                </c:pt>
                <c:pt idx="284">
                  <c:v>0.37</c:v>
                </c:pt>
                <c:pt idx="285">
                  <c:v>0.37</c:v>
                </c:pt>
                <c:pt idx="286">
                  <c:v>0.37</c:v>
                </c:pt>
                <c:pt idx="287">
                  <c:v>0.37</c:v>
                </c:pt>
                <c:pt idx="288">
                  <c:v>0.37</c:v>
                </c:pt>
                <c:pt idx="289">
                  <c:v>0.37</c:v>
                </c:pt>
                <c:pt idx="290">
                  <c:v>0.37</c:v>
                </c:pt>
                <c:pt idx="291">
                  <c:v>0.37</c:v>
                </c:pt>
                <c:pt idx="292">
                  <c:v>0.37</c:v>
                </c:pt>
                <c:pt idx="293">
                  <c:v>0.37</c:v>
                </c:pt>
                <c:pt idx="294">
                  <c:v>0.37</c:v>
                </c:pt>
                <c:pt idx="295">
                  <c:v>0.37</c:v>
                </c:pt>
                <c:pt idx="296">
                  <c:v>0.37</c:v>
                </c:pt>
                <c:pt idx="297">
                  <c:v>0.37</c:v>
                </c:pt>
                <c:pt idx="298">
                  <c:v>0.37</c:v>
                </c:pt>
                <c:pt idx="299">
                  <c:v>0.37</c:v>
                </c:pt>
                <c:pt idx="300">
                  <c:v>0.37</c:v>
                </c:pt>
                <c:pt idx="301">
                  <c:v>0.37</c:v>
                </c:pt>
                <c:pt idx="302">
                  <c:v>0.37</c:v>
                </c:pt>
                <c:pt idx="303">
                  <c:v>0.37</c:v>
                </c:pt>
                <c:pt idx="304">
                  <c:v>0.37</c:v>
                </c:pt>
                <c:pt idx="305">
                  <c:v>0.37</c:v>
                </c:pt>
                <c:pt idx="306">
                  <c:v>0.37</c:v>
                </c:pt>
                <c:pt idx="307">
                  <c:v>0.37</c:v>
                </c:pt>
                <c:pt idx="308">
                  <c:v>0.37</c:v>
                </c:pt>
                <c:pt idx="309">
                  <c:v>0.37</c:v>
                </c:pt>
                <c:pt idx="310">
                  <c:v>0.37</c:v>
                </c:pt>
                <c:pt idx="311">
                  <c:v>0.37</c:v>
                </c:pt>
                <c:pt idx="312">
                  <c:v>0.37</c:v>
                </c:pt>
                <c:pt idx="313">
                  <c:v>0.37</c:v>
                </c:pt>
                <c:pt idx="314">
                  <c:v>0.37</c:v>
                </c:pt>
                <c:pt idx="315">
                  <c:v>0.37</c:v>
                </c:pt>
                <c:pt idx="316">
                  <c:v>0.37</c:v>
                </c:pt>
                <c:pt idx="317">
                  <c:v>0.37</c:v>
                </c:pt>
                <c:pt idx="318">
                  <c:v>0.37</c:v>
                </c:pt>
                <c:pt idx="319">
                  <c:v>#N/A</c:v>
                </c:pt>
                <c:pt idx="320">
                  <c:v>#N/A</c:v>
                </c:pt>
                <c:pt idx="321">
                  <c:v>#N/A</c:v>
                </c:pt>
                <c:pt idx="322">
                  <c:v>#N/A</c:v>
                </c:pt>
                <c:pt idx="323">
                  <c:v>0.37</c:v>
                </c:pt>
                <c:pt idx="324">
                  <c:v>0.37</c:v>
                </c:pt>
                <c:pt idx="325">
                  <c:v>0.37</c:v>
                </c:pt>
                <c:pt idx="326">
                  <c:v>0.37</c:v>
                </c:pt>
                <c:pt idx="327">
                  <c:v>0.37</c:v>
                </c:pt>
                <c:pt idx="328">
                  <c:v>0.37</c:v>
                </c:pt>
                <c:pt idx="329">
                  <c:v>0.37</c:v>
                </c:pt>
                <c:pt idx="330">
                  <c:v>0.37</c:v>
                </c:pt>
                <c:pt idx="331">
                  <c:v>0.37</c:v>
                </c:pt>
                <c:pt idx="332">
                  <c:v>0.37</c:v>
                </c:pt>
                <c:pt idx="333">
                  <c:v>0.37</c:v>
                </c:pt>
                <c:pt idx="334">
                  <c:v>0.37</c:v>
                </c:pt>
                <c:pt idx="335">
                  <c:v>0.37</c:v>
                </c:pt>
                <c:pt idx="336">
                  <c:v>0.37</c:v>
                </c:pt>
                <c:pt idx="337">
                  <c:v>0.37</c:v>
                </c:pt>
                <c:pt idx="338">
                  <c:v>0.37</c:v>
                </c:pt>
                <c:pt idx="339">
                  <c:v>0.37</c:v>
                </c:pt>
                <c:pt idx="340">
                  <c:v>0.37</c:v>
                </c:pt>
                <c:pt idx="341">
                  <c:v>0.37</c:v>
                </c:pt>
                <c:pt idx="342">
                  <c:v>0.37</c:v>
                </c:pt>
                <c:pt idx="343">
                  <c:v>0.37</c:v>
                </c:pt>
                <c:pt idx="344">
                  <c:v>0.37</c:v>
                </c:pt>
                <c:pt idx="345">
                  <c:v>0.37</c:v>
                </c:pt>
                <c:pt idx="346">
                  <c:v>0.37</c:v>
                </c:pt>
                <c:pt idx="347">
                  <c:v>0.37</c:v>
                </c:pt>
                <c:pt idx="348">
                  <c:v>0.37</c:v>
                </c:pt>
                <c:pt idx="349">
                  <c:v>0.37</c:v>
                </c:pt>
                <c:pt idx="350">
                  <c:v>0.37</c:v>
                </c:pt>
                <c:pt idx="351">
                  <c:v>0.37</c:v>
                </c:pt>
                <c:pt idx="352">
                  <c:v>0.37</c:v>
                </c:pt>
                <c:pt idx="353">
                  <c:v>0.37</c:v>
                </c:pt>
                <c:pt idx="354">
                  <c:v>0.37</c:v>
                </c:pt>
                <c:pt idx="355">
                  <c:v>0.37</c:v>
                </c:pt>
                <c:pt idx="356">
                  <c:v>0.37</c:v>
                </c:pt>
                <c:pt idx="357">
                  <c:v>0.37</c:v>
                </c:pt>
                <c:pt idx="358">
                  <c:v>0.37</c:v>
                </c:pt>
                <c:pt idx="359">
                  <c:v>0.37</c:v>
                </c:pt>
                <c:pt idx="360">
                  <c:v>0.37</c:v>
                </c:pt>
                <c:pt idx="361">
                  <c:v>0.37</c:v>
                </c:pt>
                <c:pt idx="362">
                  <c:v>0.37</c:v>
                </c:pt>
                <c:pt idx="363">
                  <c:v>0.37</c:v>
                </c:pt>
                <c:pt idx="364">
                  <c:v>0.37</c:v>
                </c:pt>
                <c:pt idx="365">
                  <c:v>0.37</c:v>
                </c:pt>
                <c:pt idx="366">
                  <c:v>0.37</c:v>
                </c:pt>
                <c:pt idx="367">
                  <c:v>0.37</c:v>
                </c:pt>
                <c:pt idx="368">
                  <c:v>0.37</c:v>
                </c:pt>
                <c:pt idx="369">
                  <c:v>0.37</c:v>
                </c:pt>
                <c:pt idx="370">
                  <c:v>0.37</c:v>
                </c:pt>
                <c:pt idx="371">
                  <c:v>0.37</c:v>
                </c:pt>
                <c:pt idx="372">
                  <c:v>0.37</c:v>
                </c:pt>
                <c:pt idx="373">
                  <c:v>0.37</c:v>
                </c:pt>
                <c:pt idx="374">
                  <c:v>0.37</c:v>
                </c:pt>
                <c:pt idx="375">
                  <c:v>0.37</c:v>
                </c:pt>
                <c:pt idx="376">
                  <c:v>0.37</c:v>
                </c:pt>
                <c:pt idx="377">
                  <c:v>0.37</c:v>
                </c:pt>
                <c:pt idx="378">
                  <c:v>0.37</c:v>
                </c:pt>
                <c:pt idx="379">
                  <c:v>0.37</c:v>
                </c:pt>
                <c:pt idx="380">
                  <c:v>0.37</c:v>
                </c:pt>
                <c:pt idx="381">
                  <c:v>0.37</c:v>
                </c:pt>
                <c:pt idx="382">
                  <c:v>0.37</c:v>
                </c:pt>
                <c:pt idx="383">
                  <c:v>0.37</c:v>
                </c:pt>
                <c:pt idx="384">
                  <c:v>0.37</c:v>
                </c:pt>
                <c:pt idx="385">
                  <c:v>0.37</c:v>
                </c:pt>
                <c:pt idx="386">
                  <c:v>0.37</c:v>
                </c:pt>
                <c:pt idx="387">
                  <c:v>0.37</c:v>
                </c:pt>
                <c:pt idx="388">
                  <c:v>0.37</c:v>
                </c:pt>
                <c:pt idx="389">
                  <c:v>0.37</c:v>
                </c:pt>
                <c:pt idx="390">
                  <c:v>0.37</c:v>
                </c:pt>
                <c:pt idx="391">
                  <c:v>0.37</c:v>
                </c:pt>
                <c:pt idx="392">
                  <c:v>0.37</c:v>
                </c:pt>
                <c:pt idx="393">
                  <c:v>0.37</c:v>
                </c:pt>
                <c:pt idx="394">
                  <c:v>0.37</c:v>
                </c:pt>
                <c:pt idx="395">
                  <c:v>0.37</c:v>
                </c:pt>
                <c:pt idx="396">
                  <c:v>0.37</c:v>
                </c:pt>
                <c:pt idx="397">
                  <c:v>0.37</c:v>
                </c:pt>
                <c:pt idx="398">
                  <c:v>0.37</c:v>
                </c:pt>
                <c:pt idx="399">
                  <c:v>0.37</c:v>
                </c:pt>
                <c:pt idx="400">
                  <c:v>0.37</c:v>
                </c:pt>
                <c:pt idx="401">
                  <c:v>0.37</c:v>
                </c:pt>
                <c:pt idx="402">
                  <c:v>0.37</c:v>
                </c:pt>
                <c:pt idx="403">
                  <c:v>0.37</c:v>
                </c:pt>
                <c:pt idx="404">
                  <c:v>0.37</c:v>
                </c:pt>
                <c:pt idx="405">
                  <c:v>0.37</c:v>
                </c:pt>
                <c:pt idx="406">
                  <c:v>0.37</c:v>
                </c:pt>
                <c:pt idx="407">
                  <c:v>0.37</c:v>
                </c:pt>
                <c:pt idx="408">
                  <c:v>0.37</c:v>
                </c:pt>
                <c:pt idx="409">
                  <c:v>0.37</c:v>
                </c:pt>
                <c:pt idx="410">
                  <c:v>0.37</c:v>
                </c:pt>
                <c:pt idx="411">
                  <c:v>0.37</c:v>
                </c:pt>
                <c:pt idx="412">
                  <c:v>0.37</c:v>
                </c:pt>
                <c:pt idx="413">
                  <c:v>0.37</c:v>
                </c:pt>
                <c:pt idx="414">
                  <c:v>0.37</c:v>
                </c:pt>
                <c:pt idx="415">
                  <c:v>0.37</c:v>
                </c:pt>
                <c:pt idx="416">
                  <c:v>0.37</c:v>
                </c:pt>
                <c:pt idx="417">
                  <c:v>0.37</c:v>
                </c:pt>
                <c:pt idx="418">
                  <c:v>0.37</c:v>
                </c:pt>
                <c:pt idx="419">
                  <c:v>0.37</c:v>
                </c:pt>
                <c:pt idx="420">
                  <c:v>0.37</c:v>
                </c:pt>
                <c:pt idx="421">
                  <c:v>0.37</c:v>
                </c:pt>
                <c:pt idx="422">
                  <c:v>0.37</c:v>
                </c:pt>
                <c:pt idx="423">
                  <c:v>0.37</c:v>
                </c:pt>
                <c:pt idx="424">
                  <c:v>0.37</c:v>
                </c:pt>
                <c:pt idx="425">
                  <c:v>0.37</c:v>
                </c:pt>
                <c:pt idx="426">
                  <c:v>0.37</c:v>
                </c:pt>
                <c:pt idx="427">
                  <c:v>0.37</c:v>
                </c:pt>
                <c:pt idx="428">
                  <c:v>0.37</c:v>
                </c:pt>
                <c:pt idx="429">
                  <c:v>0.37</c:v>
                </c:pt>
                <c:pt idx="430">
                  <c:v>0.37</c:v>
                </c:pt>
                <c:pt idx="431">
                  <c:v>0.37</c:v>
                </c:pt>
                <c:pt idx="432">
                  <c:v>0.37</c:v>
                </c:pt>
                <c:pt idx="433">
                  <c:v>0.37</c:v>
                </c:pt>
                <c:pt idx="434">
                  <c:v>0.37</c:v>
                </c:pt>
                <c:pt idx="435">
                  <c:v>0.37</c:v>
                </c:pt>
                <c:pt idx="436">
                  <c:v>0.37</c:v>
                </c:pt>
                <c:pt idx="437">
                  <c:v>0.37</c:v>
                </c:pt>
                <c:pt idx="438">
                  <c:v>0.37</c:v>
                </c:pt>
                <c:pt idx="439">
                  <c:v>0.37</c:v>
                </c:pt>
                <c:pt idx="440">
                  <c:v>0.37</c:v>
                </c:pt>
                <c:pt idx="441">
                  <c:v>0.34</c:v>
                </c:pt>
                <c:pt idx="442">
                  <c:v>0.34</c:v>
                </c:pt>
                <c:pt idx="443">
                  <c:v>0.34</c:v>
                </c:pt>
                <c:pt idx="444">
                  <c:v>0.34</c:v>
                </c:pt>
                <c:pt idx="445">
                  <c:v>0.34</c:v>
                </c:pt>
                <c:pt idx="446">
                  <c:v>0.34</c:v>
                </c:pt>
                <c:pt idx="447">
                  <c:v>0.34</c:v>
                </c:pt>
                <c:pt idx="448">
                  <c:v>0.34</c:v>
                </c:pt>
                <c:pt idx="449">
                  <c:v>0.34</c:v>
                </c:pt>
                <c:pt idx="450">
                  <c:v>0.34</c:v>
                </c:pt>
                <c:pt idx="451">
                  <c:v>0.34</c:v>
                </c:pt>
                <c:pt idx="452">
                  <c:v>0.34</c:v>
                </c:pt>
                <c:pt idx="453">
                  <c:v>0.34</c:v>
                </c:pt>
                <c:pt idx="454">
                  <c:v>0.34</c:v>
                </c:pt>
                <c:pt idx="455">
                  <c:v>0.34</c:v>
                </c:pt>
                <c:pt idx="456">
                  <c:v>0.34</c:v>
                </c:pt>
                <c:pt idx="457">
                  <c:v>0.34</c:v>
                </c:pt>
                <c:pt idx="458">
                  <c:v>0.34</c:v>
                </c:pt>
                <c:pt idx="459">
                  <c:v>0.34</c:v>
                </c:pt>
                <c:pt idx="460">
                  <c:v>0.34</c:v>
                </c:pt>
                <c:pt idx="461">
                  <c:v>0.34</c:v>
                </c:pt>
                <c:pt idx="462">
                  <c:v>0.34</c:v>
                </c:pt>
                <c:pt idx="463">
                  <c:v>0.34</c:v>
                </c:pt>
                <c:pt idx="464">
                  <c:v>0.34</c:v>
                </c:pt>
                <c:pt idx="465">
                  <c:v>0.34</c:v>
                </c:pt>
                <c:pt idx="466">
                  <c:v>0.34</c:v>
                </c:pt>
                <c:pt idx="467">
                  <c:v>0.34</c:v>
                </c:pt>
                <c:pt idx="468">
                  <c:v>0.34</c:v>
                </c:pt>
                <c:pt idx="469">
                  <c:v>0.34</c:v>
                </c:pt>
                <c:pt idx="470">
                  <c:v>0.34</c:v>
                </c:pt>
                <c:pt idx="471">
                  <c:v>0.34</c:v>
                </c:pt>
                <c:pt idx="472">
                  <c:v>0.34</c:v>
                </c:pt>
                <c:pt idx="473">
                  <c:v>0.34</c:v>
                </c:pt>
                <c:pt idx="474">
                  <c:v>0.34</c:v>
                </c:pt>
                <c:pt idx="475">
                  <c:v>0.34</c:v>
                </c:pt>
                <c:pt idx="476">
                  <c:v>0.34</c:v>
                </c:pt>
                <c:pt idx="477">
                  <c:v>0.34</c:v>
                </c:pt>
                <c:pt idx="478">
                  <c:v>0.34</c:v>
                </c:pt>
                <c:pt idx="479">
                  <c:v>0.34</c:v>
                </c:pt>
                <c:pt idx="480">
                  <c:v>0.34</c:v>
                </c:pt>
                <c:pt idx="481">
                  <c:v>0.34</c:v>
                </c:pt>
                <c:pt idx="482">
                  <c:v>0.34</c:v>
                </c:pt>
                <c:pt idx="483">
                  <c:v>0.34</c:v>
                </c:pt>
                <c:pt idx="484">
                  <c:v>0.34</c:v>
                </c:pt>
                <c:pt idx="485">
                  <c:v>0.34</c:v>
                </c:pt>
                <c:pt idx="486">
                  <c:v>0.34</c:v>
                </c:pt>
                <c:pt idx="487">
                  <c:v>0.34</c:v>
                </c:pt>
                <c:pt idx="488">
                  <c:v>0.34</c:v>
                </c:pt>
                <c:pt idx="489">
                  <c:v>0.34</c:v>
                </c:pt>
                <c:pt idx="490">
                  <c:v>0.34</c:v>
                </c:pt>
                <c:pt idx="491">
                  <c:v>0.34</c:v>
                </c:pt>
                <c:pt idx="492">
                  <c:v>0.34</c:v>
                </c:pt>
                <c:pt idx="493">
                  <c:v>0.34</c:v>
                </c:pt>
                <c:pt idx="494">
                  <c:v>0.34</c:v>
                </c:pt>
                <c:pt idx="495">
                  <c:v>0.34</c:v>
                </c:pt>
                <c:pt idx="496">
                  <c:v>0.34</c:v>
                </c:pt>
                <c:pt idx="497">
                  <c:v>0.34</c:v>
                </c:pt>
                <c:pt idx="498">
                  <c:v>0.34</c:v>
                </c:pt>
                <c:pt idx="499">
                  <c:v>0.34</c:v>
                </c:pt>
                <c:pt idx="500">
                  <c:v>0.34</c:v>
                </c:pt>
                <c:pt idx="501">
                  <c:v>0.34</c:v>
                </c:pt>
                <c:pt idx="502">
                  <c:v>0.34</c:v>
                </c:pt>
                <c:pt idx="503">
                  <c:v>0.34</c:v>
                </c:pt>
                <c:pt idx="504">
                  <c:v>0.34</c:v>
                </c:pt>
                <c:pt idx="505">
                  <c:v>0.34</c:v>
                </c:pt>
                <c:pt idx="506">
                  <c:v>0.34</c:v>
                </c:pt>
                <c:pt idx="507">
                  <c:v>0.34</c:v>
                </c:pt>
                <c:pt idx="508">
                  <c:v>0.34</c:v>
                </c:pt>
                <c:pt idx="509">
                  <c:v>0.34</c:v>
                </c:pt>
                <c:pt idx="510">
                  <c:v>0.34</c:v>
                </c:pt>
                <c:pt idx="511">
                  <c:v>0.34</c:v>
                </c:pt>
                <c:pt idx="512">
                  <c:v>0.34</c:v>
                </c:pt>
                <c:pt idx="513">
                  <c:v>0.34</c:v>
                </c:pt>
                <c:pt idx="514">
                  <c:v>0.34</c:v>
                </c:pt>
                <c:pt idx="515">
                  <c:v>0.34</c:v>
                </c:pt>
                <c:pt idx="516">
                  <c:v>0.34</c:v>
                </c:pt>
                <c:pt idx="517">
                  <c:v>0.34</c:v>
                </c:pt>
                <c:pt idx="518">
                  <c:v>0.34</c:v>
                </c:pt>
                <c:pt idx="519">
                  <c:v>0.34</c:v>
                </c:pt>
                <c:pt idx="520">
                  <c:v>0.34</c:v>
                </c:pt>
                <c:pt idx="521">
                  <c:v>0.34</c:v>
                </c:pt>
                <c:pt idx="522">
                  <c:v>0.34</c:v>
                </c:pt>
                <c:pt idx="523">
                  <c:v>0.34</c:v>
                </c:pt>
                <c:pt idx="524">
                  <c:v>0.34</c:v>
                </c:pt>
                <c:pt idx="525">
                  <c:v>0.34</c:v>
                </c:pt>
                <c:pt idx="526">
                  <c:v>0.34</c:v>
                </c:pt>
                <c:pt idx="527">
                  <c:v>0.34</c:v>
                </c:pt>
                <c:pt idx="528">
                  <c:v>0.34</c:v>
                </c:pt>
                <c:pt idx="529">
                  <c:v>0.34</c:v>
                </c:pt>
                <c:pt idx="530">
                  <c:v>0.34</c:v>
                </c:pt>
                <c:pt idx="531">
                  <c:v>0.34</c:v>
                </c:pt>
                <c:pt idx="532">
                  <c:v>0.34</c:v>
                </c:pt>
                <c:pt idx="533">
                  <c:v>0.34</c:v>
                </c:pt>
                <c:pt idx="534">
                  <c:v>0.34</c:v>
                </c:pt>
                <c:pt idx="535">
                  <c:v>0.34</c:v>
                </c:pt>
                <c:pt idx="536">
                  <c:v>0.34</c:v>
                </c:pt>
                <c:pt idx="537">
                  <c:v>0.34</c:v>
                </c:pt>
                <c:pt idx="538">
                  <c:v>0.34</c:v>
                </c:pt>
                <c:pt idx="539">
                  <c:v>0.34</c:v>
                </c:pt>
                <c:pt idx="540">
                  <c:v>0.34</c:v>
                </c:pt>
                <c:pt idx="541">
                  <c:v>0.34</c:v>
                </c:pt>
                <c:pt idx="542">
                  <c:v>0.34</c:v>
                </c:pt>
                <c:pt idx="543">
                  <c:v>0.34</c:v>
                </c:pt>
                <c:pt idx="544">
                  <c:v>0.34</c:v>
                </c:pt>
                <c:pt idx="545">
                  <c:v>0.34</c:v>
                </c:pt>
                <c:pt idx="546">
                  <c:v>0.34</c:v>
                </c:pt>
                <c:pt idx="547">
                  <c:v>0.34</c:v>
                </c:pt>
                <c:pt idx="548">
                  <c:v>0.34</c:v>
                </c:pt>
                <c:pt idx="549">
                  <c:v>0.34</c:v>
                </c:pt>
                <c:pt idx="550">
                  <c:v>0.34</c:v>
                </c:pt>
                <c:pt idx="551">
                  <c:v>0.34</c:v>
                </c:pt>
                <c:pt idx="552">
                  <c:v>0.34</c:v>
                </c:pt>
                <c:pt idx="553">
                  <c:v>0.34</c:v>
                </c:pt>
                <c:pt idx="554">
                  <c:v>0.34</c:v>
                </c:pt>
                <c:pt idx="555">
                  <c:v>0.34</c:v>
                </c:pt>
                <c:pt idx="556">
                  <c:v>0.34</c:v>
                </c:pt>
                <c:pt idx="557">
                  <c:v>0.34</c:v>
                </c:pt>
                <c:pt idx="558">
                  <c:v>0.34</c:v>
                </c:pt>
                <c:pt idx="559">
                  <c:v>0.34</c:v>
                </c:pt>
                <c:pt idx="560">
                  <c:v>0.34</c:v>
                </c:pt>
                <c:pt idx="561">
                  <c:v>0.34</c:v>
                </c:pt>
                <c:pt idx="562">
                  <c:v>0.34</c:v>
                </c:pt>
                <c:pt idx="563">
                  <c:v>0.34</c:v>
                </c:pt>
                <c:pt idx="564">
                  <c:v>0.34</c:v>
                </c:pt>
                <c:pt idx="565">
                  <c:v>0.34</c:v>
                </c:pt>
                <c:pt idx="566">
                  <c:v>0.34</c:v>
                </c:pt>
                <c:pt idx="567">
                  <c:v>0.34</c:v>
                </c:pt>
                <c:pt idx="568">
                  <c:v>0.34</c:v>
                </c:pt>
                <c:pt idx="569">
                  <c:v>0.34</c:v>
                </c:pt>
                <c:pt idx="570">
                  <c:v>0.34</c:v>
                </c:pt>
                <c:pt idx="571">
                  <c:v>0.34</c:v>
                </c:pt>
                <c:pt idx="572">
                  <c:v>0.34</c:v>
                </c:pt>
                <c:pt idx="573">
                  <c:v>0.34</c:v>
                </c:pt>
                <c:pt idx="574">
                  <c:v>0.34</c:v>
                </c:pt>
                <c:pt idx="575">
                  <c:v>0.34</c:v>
                </c:pt>
                <c:pt idx="576">
                  <c:v>0.34</c:v>
                </c:pt>
                <c:pt idx="577">
                  <c:v>0.34</c:v>
                </c:pt>
                <c:pt idx="578">
                  <c:v>0.34</c:v>
                </c:pt>
                <c:pt idx="579">
                  <c:v>0.34</c:v>
                </c:pt>
                <c:pt idx="580">
                  <c:v>0.34</c:v>
                </c:pt>
                <c:pt idx="581">
                  <c:v>0.34</c:v>
                </c:pt>
                <c:pt idx="582">
                  <c:v>0.34</c:v>
                </c:pt>
                <c:pt idx="583">
                  <c:v>0.34</c:v>
                </c:pt>
                <c:pt idx="584">
                  <c:v>0.34</c:v>
                </c:pt>
                <c:pt idx="585">
                  <c:v>0.34</c:v>
                </c:pt>
                <c:pt idx="586">
                  <c:v>0.34</c:v>
                </c:pt>
                <c:pt idx="587">
                  <c:v>0.34</c:v>
                </c:pt>
                <c:pt idx="588">
                  <c:v>0.34</c:v>
                </c:pt>
                <c:pt idx="589">
                  <c:v>0.34</c:v>
                </c:pt>
                <c:pt idx="590">
                  <c:v>0.34</c:v>
                </c:pt>
                <c:pt idx="591">
                  <c:v>0.34</c:v>
                </c:pt>
                <c:pt idx="592">
                  <c:v>0.34</c:v>
                </c:pt>
                <c:pt idx="593">
                  <c:v>0.34</c:v>
                </c:pt>
                <c:pt idx="594">
                  <c:v>0.34</c:v>
                </c:pt>
                <c:pt idx="595">
                  <c:v>0.34</c:v>
                </c:pt>
                <c:pt idx="596">
                  <c:v>0.34</c:v>
                </c:pt>
                <c:pt idx="597">
                  <c:v>0.34</c:v>
                </c:pt>
                <c:pt idx="598">
                  <c:v>0.34</c:v>
                </c:pt>
                <c:pt idx="599">
                  <c:v>0.34</c:v>
                </c:pt>
                <c:pt idx="600">
                  <c:v>0.34</c:v>
                </c:pt>
                <c:pt idx="601">
                  <c:v>0.34</c:v>
                </c:pt>
                <c:pt idx="602">
                  <c:v>0.34</c:v>
                </c:pt>
                <c:pt idx="603">
                  <c:v>0.34</c:v>
                </c:pt>
                <c:pt idx="604">
                  <c:v>0.34</c:v>
                </c:pt>
                <c:pt idx="605">
                  <c:v>0.34</c:v>
                </c:pt>
                <c:pt idx="606">
                  <c:v>0.34</c:v>
                </c:pt>
                <c:pt idx="607">
                  <c:v>0.34</c:v>
                </c:pt>
                <c:pt idx="608">
                  <c:v>0.34</c:v>
                </c:pt>
                <c:pt idx="609">
                  <c:v>0.34</c:v>
                </c:pt>
                <c:pt idx="610">
                  <c:v>0.34</c:v>
                </c:pt>
                <c:pt idx="611">
                  <c:v>0.34</c:v>
                </c:pt>
                <c:pt idx="612">
                  <c:v>0.34</c:v>
                </c:pt>
                <c:pt idx="613">
                  <c:v>0.34</c:v>
                </c:pt>
                <c:pt idx="614">
                  <c:v>0.34</c:v>
                </c:pt>
                <c:pt idx="615">
                  <c:v>0.34</c:v>
                </c:pt>
                <c:pt idx="616">
                  <c:v>0.34</c:v>
                </c:pt>
                <c:pt idx="617">
                  <c:v>0.34</c:v>
                </c:pt>
                <c:pt idx="618">
                  <c:v>0.34</c:v>
                </c:pt>
                <c:pt idx="619">
                  <c:v>0.34</c:v>
                </c:pt>
                <c:pt idx="620">
                  <c:v>0.34</c:v>
                </c:pt>
                <c:pt idx="621">
                  <c:v>0.34</c:v>
                </c:pt>
                <c:pt idx="622">
                  <c:v>0.34</c:v>
                </c:pt>
                <c:pt idx="623">
                  <c:v>0.34</c:v>
                </c:pt>
                <c:pt idx="624">
                  <c:v>0.34</c:v>
                </c:pt>
                <c:pt idx="625">
                  <c:v>0.34</c:v>
                </c:pt>
                <c:pt idx="626">
                  <c:v>0.34</c:v>
                </c:pt>
                <c:pt idx="627">
                  <c:v>0.34</c:v>
                </c:pt>
                <c:pt idx="628">
                  <c:v>0.34</c:v>
                </c:pt>
                <c:pt idx="629">
                  <c:v>0.34</c:v>
                </c:pt>
                <c:pt idx="630">
                  <c:v>0.34</c:v>
                </c:pt>
                <c:pt idx="631">
                  <c:v>0.34</c:v>
                </c:pt>
                <c:pt idx="632">
                  <c:v>0.34</c:v>
                </c:pt>
                <c:pt idx="633">
                  <c:v>0.34</c:v>
                </c:pt>
                <c:pt idx="634">
                  <c:v>0.34</c:v>
                </c:pt>
                <c:pt idx="635">
                  <c:v>0.34</c:v>
                </c:pt>
                <c:pt idx="636">
                  <c:v>0.34</c:v>
                </c:pt>
                <c:pt idx="637">
                  <c:v>0.34</c:v>
                </c:pt>
                <c:pt idx="638">
                  <c:v>0.34</c:v>
                </c:pt>
                <c:pt idx="639">
                  <c:v>0.34</c:v>
                </c:pt>
                <c:pt idx="640">
                  <c:v>0.34</c:v>
                </c:pt>
                <c:pt idx="641">
                  <c:v>0.34</c:v>
                </c:pt>
                <c:pt idx="642">
                  <c:v>0.34</c:v>
                </c:pt>
                <c:pt idx="643">
                  <c:v>0.34</c:v>
                </c:pt>
                <c:pt idx="644">
                  <c:v>0.34</c:v>
                </c:pt>
                <c:pt idx="645">
                  <c:v>0.34</c:v>
                </c:pt>
                <c:pt idx="646">
                  <c:v>0.34</c:v>
                </c:pt>
                <c:pt idx="647">
                  <c:v>0.34</c:v>
                </c:pt>
                <c:pt idx="648">
                  <c:v>0.34</c:v>
                </c:pt>
                <c:pt idx="649">
                  <c:v>0.34</c:v>
                </c:pt>
                <c:pt idx="650">
                  <c:v>0.34</c:v>
                </c:pt>
                <c:pt idx="651">
                  <c:v>0.34</c:v>
                </c:pt>
                <c:pt idx="652">
                  <c:v>0.34</c:v>
                </c:pt>
                <c:pt idx="653">
                  <c:v>0.34</c:v>
                </c:pt>
                <c:pt idx="654">
                  <c:v>0.34</c:v>
                </c:pt>
                <c:pt idx="655">
                  <c:v>0.34</c:v>
                </c:pt>
                <c:pt idx="656">
                  <c:v>0.34</c:v>
                </c:pt>
                <c:pt idx="657">
                  <c:v>0.34</c:v>
                </c:pt>
                <c:pt idx="658">
                  <c:v>0.34</c:v>
                </c:pt>
                <c:pt idx="659">
                  <c:v>0.34</c:v>
                </c:pt>
                <c:pt idx="660">
                  <c:v>0.34</c:v>
                </c:pt>
                <c:pt idx="661">
                  <c:v>0.34</c:v>
                </c:pt>
                <c:pt idx="662">
                  <c:v>0.34</c:v>
                </c:pt>
                <c:pt idx="663">
                  <c:v>0.34</c:v>
                </c:pt>
                <c:pt idx="664">
                  <c:v>0.34</c:v>
                </c:pt>
                <c:pt idx="665">
                  <c:v>0.34</c:v>
                </c:pt>
                <c:pt idx="666">
                  <c:v>0.34</c:v>
                </c:pt>
                <c:pt idx="667">
                  <c:v>0.34</c:v>
                </c:pt>
                <c:pt idx="668">
                  <c:v>0.34</c:v>
                </c:pt>
                <c:pt idx="669">
                  <c:v>0.34</c:v>
                </c:pt>
                <c:pt idx="670">
                  <c:v>0.34</c:v>
                </c:pt>
                <c:pt idx="671">
                  <c:v>0.34</c:v>
                </c:pt>
                <c:pt idx="672">
                  <c:v>0.34</c:v>
                </c:pt>
                <c:pt idx="673">
                  <c:v>0.34</c:v>
                </c:pt>
                <c:pt idx="674">
                  <c:v>0.34</c:v>
                </c:pt>
                <c:pt idx="675">
                  <c:v>0.34</c:v>
                </c:pt>
                <c:pt idx="676">
                  <c:v>0.34</c:v>
                </c:pt>
                <c:pt idx="677">
                  <c:v>0.34</c:v>
                </c:pt>
                <c:pt idx="678">
                  <c:v>0.34</c:v>
                </c:pt>
                <c:pt idx="679">
                  <c:v>0.34</c:v>
                </c:pt>
                <c:pt idx="680">
                  <c:v>0.34</c:v>
                </c:pt>
                <c:pt idx="681">
                  <c:v>0.34</c:v>
                </c:pt>
                <c:pt idx="682">
                  <c:v>0.34</c:v>
                </c:pt>
                <c:pt idx="683">
                  <c:v>0.34</c:v>
                </c:pt>
                <c:pt idx="684">
                  <c:v>0.34</c:v>
                </c:pt>
                <c:pt idx="685">
                  <c:v>0.34</c:v>
                </c:pt>
                <c:pt idx="686">
                  <c:v>0.34</c:v>
                </c:pt>
                <c:pt idx="687">
                  <c:v>0.34</c:v>
                </c:pt>
                <c:pt idx="688">
                  <c:v>0.34</c:v>
                </c:pt>
                <c:pt idx="689">
                  <c:v>0.34</c:v>
                </c:pt>
                <c:pt idx="690">
                  <c:v>0.34</c:v>
                </c:pt>
                <c:pt idx="691">
                  <c:v>0.34</c:v>
                </c:pt>
                <c:pt idx="692">
                  <c:v>0.34</c:v>
                </c:pt>
                <c:pt idx="693">
                  <c:v>0.34</c:v>
                </c:pt>
                <c:pt idx="694">
                  <c:v>0.34</c:v>
                </c:pt>
                <c:pt idx="695">
                  <c:v>0.34</c:v>
                </c:pt>
                <c:pt idx="696">
                  <c:v>0.34</c:v>
                </c:pt>
                <c:pt idx="697">
                  <c:v>0.34</c:v>
                </c:pt>
                <c:pt idx="698">
                  <c:v>0.34</c:v>
                </c:pt>
                <c:pt idx="699">
                  <c:v>0.34</c:v>
                </c:pt>
                <c:pt idx="700">
                  <c:v>0.34</c:v>
                </c:pt>
                <c:pt idx="701">
                  <c:v>0.34</c:v>
                </c:pt>
                <c:pt idx="702">
                  <c:v>0.34</c:v>
                </c:pt>
                <c:pt idx="703">
                  <c:v>0.34</c:v>
                </c:pt>
                <c:pt idx="704">
                  <c:v>0.34</c:v>
                </c:pt>
                <c:pt idx="705">
                  <c:v>0.34</c:v>
                </c:pt>
                <c:pt idx="706">
                  <c:v>0.34</c:v>
                </c:pt>
                <c:pt idx="707">
                  <c:v>0.34</c:v>
                </c:pt>
                <c:pt idx="708">
                  <c:v>0.32</c:v>
                </c:pt>
                <c:pt idx="709">
                  <c:v>0.32</c:v>
                </c:pt>
                <c:pt idx="710">
                  <c:v>0.32</c:v>
                </c:pt>
                <c:pt idx="711">
                  <c:v>0.32</c:v>
                </c:pt>
                <c:pt idx="712">
                  <c:v>0.32</c:v>
                </c:pt>
                <c:pt idx="713">
                  <c:v>0.32</c:v>
                </c:pt>
                <c:pt idx="714">
                  <c:v>0.32</c:v>
                </c:pt>
                <c:pt idx="715">
                  <c:v>0.32</c:v>
                </c:pt>
                <c:pt idx="716">
                  <c:v>0.32</c:v>
                </c:pt>
                <c:pt idx="717">
                  <c:v>0.32</c:v>
                </c:pt>
                <c:pt idx="718">
                  <c:v>0.32</c:v>
                </c:pt>
                <c:pt idx="719">
                  <c:v>0.32</c:v>
                </c:pt>
                <c:pt idx="720">
                  <c:v>0.32</c:v>
                </c:pt>
                <c:pt idx="721">
                  <c:v>0.32</c:v>
                </c:pt>
                <c:pt idx="722">
                  <c:v>0.32</c:v>
                </c:pt>
                <c:pt idx="723">
                  <c:v>0.32</c:v>
                </c:pt>
                <c:pt idx="724">
                  <c:v>0.32</c:v>
                </c:pt>
                <c:pt idx="725">
                  <c:v>0.32</c:v>
                </c:pt>
                <c:pt idx="726">
                  <c:v>0.32</c:v>
                </c:pt>
                <c:pt idx="727">
                  <c:v>0.32</c:v>
                </c:pt>
                <c:pt idx="728">
                  <c:v>0.32</c:v>
                </c:pt>
                <c:pt idx="729">
                  <c:v>0.32</c:v>
                </c:pt>
                <c:pt idx="730">
                  <c:v>0.32</c:v>
                </c:pt>
                <c:pt idx="731">
                  <c:v>0.32</c:v>
                </c:pt>
                <c:pt idx="732">
                  <c:v>0.32</c:v>
                </c:pt>
                <c:pt idx="733">
                  <c:v>0.32</c:v>
                </c:pt>
                <c:pt idx="734">
                  <c:v>0.32</c:v>
                </c:pt>
                <c:pt idx="735">
                  <c:v>0.32</c:v>
                </c:pt>
                <c:pt idx="736">
                  <c:v>0.32</c:v>
                </c:pt>
                <c:pt idx="737">
                  <c:v>0.32</c:v>
                </c:pt>
              </c:numCache>
            </c:numRef>
          </c:val>
          <c:smooth val="0"/>
          <c:extLst>
            <c:ext xmlns:c16="http://schemas.microsoft.com/office/drawing/2014/chart" uri="{C3380CC4-5D6E-409C-BE32-E72D297353CC}">
              <c16:uniqueId val="{00000002-A5E8-4C0D-97CE-35F3907876BA}"/>
            </c:ext>
          </c:extLst>
        </c:ser>
        <c:ser>
          <c:idx val="3"/>
          <c:order val="3"/>
          <c:tx>
            <c:strRef>
              <c:f>主流省份电价!$CY$5</c:f>
              <c:strCache>
                <c:ptCount val="1"/>
                <c:pt idx="0">
                  <c:v>福建电价</c:v>
                </c:pt>
              </c:strCache>
            </c:strRef>
          </c:tx>
          <c:spPr>
            <a:ln w="28575" cap="rnd">
              <a:solidFill>
                <a:schemeClr val="accent4"/>
              </a:solidFill>
              <a:round/>
            </a:ln>
            <a:effectLst/>
          </c:spPr>
          <c:marker>
            <c:symbol val="none"/>
          </c:marker>
          <c:cat>
            <c:numRef>
              <c:f>主流省份电价!$CU$6:$CU$743</c:f>
              <c:numCache>
                <c:formatCode>m/d/yyyy</c:formatCode>
                <c:ptCount val="738"/>
                <c:pt idx="0">
                  <c:v>45477</c:v>
                </c:pt>
                <c:pt idx="1">
                  <c:v>45476</c:v>
                </c:pt>
                <c:pt idx="2">
                  <c:v>45475</c:v>
                </c:pt>
                <c:pt idx="3">
                  <c:v>45474</c:v>
                </c:pt>
                <c:pt idx="4">
                  <c:v>45473</c:v>
                </c:pt>
                <c:pt idx="5">
                  <c:v>45472</c:v>
                </c:pt>
                <c:pt idx="6">
                  <c:v>45471</c:v>
                </c:pt>
                <c:pt idx="7">
                  <c:v>45470</c:v>
                </c:pt>
                <c:pt idx="8">
                  <c:v>45469</c:v>
                </c:pt>
                <c:pt idx="9">
                  <c:v>45468</c:v>
                </c:pt>
                <c:pt idx="10">
                  <c:v>45467</c:v>
                </c:pt>
                <c:pt idx="11">
                  <c:v>45466</c:v>
                </c:pt>
                <c:pt idx="12">
                  <c:v>45465</c:v>
                </c:pt>
                <c:pt idx="13">
                  <c:v>45464</c:v>
                </c:pt>
                <c:pt idx="14">
                  <c:v>45463</c:v>
                </c:pt>
                <c:pt idx="15">
                  <c:v>45462</c:v>
                </c:pt>
                <c:pt idx="16">
                  <c:v>45461</c:v>
                </c:pt>
                <c:pt idx="17">
                  <c:v>45460</c:v>
                </c:pt>
                <c:pt idx="18">
                  <c:v>45459</c:v>
                </c:pt>
                <c:pt idx="19">
                  <c:v>45458</c:v>
                </c:pt>
                <c:pt idx="20">
                  <c:v>45457</c:v>
                </c:pt>
                <c:pt idx="21">
                  <c:v>45456</c:v>
                </c:pt>
                <c:pt idx="22">
                  <c:v>45455</c:v>
                </c:pt>
                <c:pt idx="23">
                  <c:v>45454</c:v>
                </c:pt>
                <c:pt idx="24">
                  <c:v>45453</c:v>
                </c:pt>
                <c:pt idx="25">
                  <c:v>45452</c:v>
                </c:pt>
                <c:pt idx="26">
                  <c:v>45451</c:v>
                </c:pt>
                <c:pt idx="27">
                  <c:v>45450</c:v>
                </c:pt>
                <c:pt idx="28">
                  <c:v>45449</c:v>
                </c:pt>
                <c:pt idx="29">
                  <c:v>45448</c:v>
                </c:pt>
                <c:pt idx="30">
                  <c:v>45447</c:v>
                </c:pt>
                <c:pt idx="31">
                  <c:v>45446</c:v>
                </c:pt>
                <c:pt idx="32">
                  <c:v>45445</c:v>
                </c:pt>
                <c:pt idx="33">
                  <c:v>45444</c:v>
                </c:pt>
                <c:pt idx="34">
                  <c:v>45443</c:v>
                </c:pt>
                <c:pt idx="35">
                  <c:v>45442</c:v>
                </c:pt>
                <c:pt idx="36">
                  <c:v>45441</c:v>
                </c:pt>
                <c:pt idx="37">
                  <c:v>45440</c:v>
                </c:pt>
                <c:pt idx="38">
                  <c:v>45439</c:v>
                </c:pt>
                <c:pt idx="39">
                  <c:v>45438</c:v>
                </c:pt>
                <c:pt idx="40">
                  <c:v>45437</c:v>
                </c:pt>
                <c:pt idx="41">
                  <c:v>45436</c:v>
                </c:pt>
                <c:pt idx="42">
                  <c:v>45435</c:v>
                </c:pt>
                <c:pt idx="43">
                  <c:v>45434</c:v>
                </c:pt>
                <c:pt idx="44">
                  <c:v>45433</c:v>
                </c:pt>
                <c:pt idx="45">
                  <c:v>45432</c:v>
                </c:pt>
                <c:pt idx="46">
                  <c:v>45431</c:v>
                </c:pt>
                <c:pt idx="47">
                  <c:v>45430</c:v>
                </c:pt>
                <c:pt idx="48">
                  <c:v>45429</c:v>
                </c:pt>
                <c:pt idx="49">
                  <c:v>45428</c:v>
                </c:pt>
                <c:pt idx="50">
                  <c:v>45427</c:v>
                </c:pt>
                <c:pt idx="51">
                  <c:v>45426</c:v>
                </c:pt>
                <c:pt idx="52">
                  <c:v>45425</c:v>
                </c:pt>
                <c:pt idx="53">
                  <c:v>45424</c:v>
                </c:pt>
                <c:pt idx="54">
                  <c:v>45423</c:v>
                </c:pt>
                <c:pt idx="55">
                  <c:v>45422</c:v>
                </c:pt>
                <c:pt idx="56">
                  <c:v>45421</c:v>
                </c:pt>
                <c:pt idx="57">
                  <c:v>45420</c:v>
                </c:pt>
                <c:pt idx="58">
                  <c:v>45419</c:v>
                </c:pt>
                <c:pt idx="59">
                  <c:v>45418</c:v>
                </c:pt>
                <c:pt idx="60">
                  <c:v>45417</c:v>
                </c:pt>
                <c:pt idx="61">
                  <c:v>45416</c:v>
                </c:pt>
                <c:pt idx="62">
                  <c:v>45415</c:v>
                </c:pt>
                <c:pt idx="63">
                  <c:v>45414</c:v>
                </c:pt>
                <c:pt idx="64">
                  <c:v>45413</c:v>
                </c:pt>
                <c:pt idx="65">
                  <c:v>45412</c:v>
                </c:pt>
                <c:pt idx="66">
                  <c:v>45411</c:v>
                </c:pt>
                <c:pt idx="67">
                  <c:v>45410</c:v>
                </c:pt>
                <c:pt idx="68">
                  <c:v>45409</c:v>
                </c:pt>
                <c:pt idx="69">
                  <c:v>45408</c:v>
                </c:pt>
                <c:pt idx="70">
                  <c:v>45407</c:v>
                </c:pt>
                <c:pt idx="71">
                  <c:v>45406</c:v>
                </c:pt>
                <c:pt idx="72">
                  <c:v>45405</c:v>
                </c:pt>
                <c:pt idx="73">
                  <c:v>45404</c:v>
                </c:pt>
                <c:pt idx="74">
                  <c:v>45403</c:v>
                </c:pt>
                <c:pt idx="75">
                  <c:v>45402</c:v>
                </c:pt>
                <c:pt idx="76">
                  <c:v>45401</c:v>
                </c:pt>
                <c:pt idx="77">
                  <c:v>45400</c:v>
                </c:pt>
                <c:pt idx="78">
                  <c:v>45399</c:v>
                </c:pt>
                <c:pt idx="79">
                  <c:v>45398</c:v>
                </c:pt>
                <c:pt idx="80">
                  <c:v>45397</c:v>
                </c:pt>
                <c:pt idx="81">
                  <c:v>45396</c:v>
                </c:pt>
                <c:pt idx="82">
                  <c:v>45395</c:v>
                </c:pt>
                <c:pt idx="83">
                  <c:v>45394</c:v>
                </c:pt>
                <c:pt idx="84">
                  <c:v>45393</c:v>
                </c:pt>
                <c:pt idx="85">
                  <c:v>45392</c:v>
                </c:pt>
                <c:pt idx="86">
                  <c:v>45391</c:v>
                </c:pt>
                <c:pt idx="87">
                  <c:v>45390</c:v>
                </c:pt>
                <c:pt idx="88">
                  <c:v>45389</c:v>
                </c:pt>
                <c:pt idx="89">
                  <c:v>45388</c:v>
                </c:pt>
                <c:pt idx="90">
                  <c:v>45387</c:v>
                </c:pt>
                <c:pt idx="91">
                  <c:v>45386</c:v>
                </c:pt>
                <c:pt idx="92">
                  <c:v>45385</c:v>
                </c:pt>
                <c:pt idx="93">
                  <c:v>45384</c:v>
                </c:pt>
                <c:pt idx="94">
                  <c:v>45383</c:v>
                </c:pt>
                <c:pt idx="95">
                  <c:v>45382</c:v>
                </c:pt>
                <c:pt idx="96">
                  <c:v>45381</c:v>
                </c:pt>
                <c:pt idx="97">
                  <c:v>45380</c:v>
                </c:pt>
                <c:pt idx="98">
                  <c:v>45379</c:v>
                </c:pt>
                <c:pt idx="99">
                  <c:v>45378</c:v>
                </c:pt>
                <c:pt idx="100">
                  <c:v>45377</c:v>
                </c:pt>
                <c:pt idx="101">
                  <c:v>45376</c:v>
                </c:pt>
                <c:pt idx="102">
                  <c:v>45375</c:v>
                </c:pt>
                <c:pt idx="103">
                  <c:v>45374</c:v>
                </c:pt>
                <c:pt idx="104">
                  <c:v>45373</c:v>
                </c:pt>
                <c:pt idx="105">
                  <c:v>45372</c:v>
                </c:pt>
                <c:pt idx="106">
                  <c:v>45371</c:v>
                </c:pt>
                <c:pt idx="107">
                  <c:v>45370</c:v>
                </c:pt>
                <c:pt idx="108">
                  <c:v>45369</c:v>
                </c:pt>
                <c:pt idx="109">
                  <c:v>45368</c:v>
                </c:pt>
                <c:pt idx="110">
                  <c:v>45367</c:v>
                </c:pt>
                <c:pt idx="111">
                  <c:v>45366</c:v>
                </c:pt>
                <c:pt idx="112">
                  <c:v>45365</c:v>
                </c:pt>
                <c:pt idx="113">
                  <c:v>45364</c:v>
                </c:pt>
                <c:pt idx="114">
                  <c:v>45363</c:v>
                </c:pt>
                <c:pt idx="115">
                  <c:v>45362</c:v>
                </c:pt>
                <c:pt idx="116">
                  <c:v>45361</c:v>
                </c:pt>
                <c:pt idx="117">
                  <c:v>45360</c:v>
                </c:pt>
                <c:pt idx="118">
                  <c:v>45359</c:v>
                </c:pt>
                <c:pt idx="119">
                  <c:v>45358</c:v>
                </c:pt>
                <c:pt idx="120">
                  <c:v>45357</c:v>
                </c:pt>
                <c:pt idx="121">
                  <c:v>45356</c:v>
                </c:pt>
                <c:pt idx="122">
                  <c:v>45355</c:v>
                </c:pt>
                <c:pt idx="123">
                  <c:v>45354</c:v>
                </c:pt>
                <c:pt idx="124">
                  <c:v>45353</c:v>
                </c:pt>
                <c:pt idx="125">
                  <c:v>45352</c:v>
                </c:pt>
                <c:pt idx="126">
                  <c:v>45351</c:v>
                </c:pt>
                <c:pt idx="127">
                  <c:v>45350</c:v>
                </c:pt>
                <c:pt idx="128">
                  <c:v>45349</c:v>
                </c:pt>
                <c:pt idx="129">
                  <c:v>45348</c:v>
                </c:pt>
                <c:pt idx="130">
                  <c:v>45347</c:v>
                </c:pt>
                <c:pt idx="131">
                  <c:v>45346</c:v>
                </c:pt>
                <c:pt idx="132">
                  <c:v>45345</c:v>
                </c:pt>
                <c:pt idx="133">
                  <c:v>45344</c:v>
                </c:pt>
                <c:pt idx="134">
                  <c:v>45343</c:v>
                </c:pt>
                <c:pt idx="135">
                  <c:v>45342</c:v>
                </c:pt>
                <c:pt idx="136">
                  <c:v>45341</c:v>
                </c:pt>
                <c:pt idx="137">
                  <c:v>45340</c:v>
                </c:pt>
                <c:pt idx="138">
                  <c:v>45339</c:v>
                </c:pt>
                <c:pt idx="139">
                  <c:v>45338</c:v>
                </c:pt>
                <c:pt idx="140">
                  <c:v>45337</c:v>
                </c:pt>
                <c:pt idx="141">
                  <c:v>45336</c:v>
                </c:pt>
                <c:pt idx="142">
                  <c:v>45335</c:v>
                </c:pt>
                <c:pt idx="143">
                  <c:v>45334</c:v>
                </c:pt>
                <c:pt idx="144">
                  <c:v>45333</c:v>
                </c:pt>
                <c:pt idx="145">
                  <c:v>45332</c:v>
                </c:pt>
                <c:pt idx="146">
                  <c:v>45331</c:v>
                </c:pt>
                <c:pt idx="147">
                  <c:v>45330</c:v>
                </c:pt>
                <c:pt idx="148">
                  <c:v>45329</c:v>
                </c:pt>
                <c:pt idx="149">
                  <c:v>45328</c:v>
                </c:pt>
                <c:pt idx="150">
                  <c:v>45327</c:v>
                </c:pt>
                <c:pt idx="151">
                  <c:v>45326</c:v>
                </c:pt>
                <c:pt idx="152">
                  <c:v>45325</c:v>
                </c:pt>
                <c:pt idx="153">
                  <c:v>45324</c:v>
                </c:pt>
                <c:pt idx="154">
                  <c:v>45323</c:v>
                </c:pt>
                <c:pt idx="155">
                  <c:v>45322</c:v>
                </c:pt>
                <c:pt idx="156">
                  <c:v>45321</c:v>
                </c:pt>
                <c:pt idx="157">
                  <c:v>45320</c:v>
                </c:pt>
                <c:pt idx="158">
                  <c:v>45319</c:v>
                </c:pt>
                <c:pt idx="159">
                  <c:v>45318</c:v>
                </c:pt>
                <c:pt idx="160">
                  <c:v>45317</c:v>
                </c:pt>
                <c:pt idx="161">
                  <c:v>45316</c:v>
                </c:pt>
                <c:pt idx="162">
                  <c:v>45315</c:v>
                </c:pt>
                <c:pt idx="163">
                  <c:v>45314</c:v>
                </c:pt>
                <c:pt idx="164">
                  <c:v>45313</c:v>
                </c:pt>
                <c:pt idx="165">
                  <c:v>45312</c:v>
                </c:pt>
                <c:pt idx="166">
                  <c:v>45311</c:v>
                </c:pt>
                <c:pt idx="167">
                  <c:v>45310</c:v>
                </c:pt>
                <c:pt idx="168">
                  <c:v>45309</c:v>
                </c:pt>
                <c:pt idx="169">
                  <c:v>45308</c:v>
                </c:pt>
                <c:pt idx="170">
                  <c:v>45307</c:v>
                </c:pt>
                <c:pt idx="171">
                  <c:v>45306</c:v>
                </c:pt>
                <c:pt idx="172">
                  <c:v>45305</c:v>
                </c:pt>
                <c:pt idx="173">
                  <c:v>45304</c:v>
                </c:pt>
                <c:pt idx="174">
                  <c:v>45303</c:v>
                </c:pt>
                <c:pt idx="175">
                  <c:v>45302</c:v>
                </c:pt>
                <c:pt idx="176">
                  <c:v>45301</c:v>
                </c:pt>
                <c:pt idx="177">
                  <c:v>45300</c:v>
                </c:pt>
                <c:pt idx="178">
                  <c:v>45299</c:v>
                </c:pt>
                <c:pt idx="179">
                  <c:v>45298</c:v>
                </c:pt>
                <c:pt idx="180">
                  <c:v>45297</c:v>
                </c:pt>
                <c:pt idx="181">
                  <c:v>45296</c:v>
                </c:pt>
                <c:pt idx="182">
                  <c:v>45295</c:v>
                </c:pt>
                <c:pt idx="183">
                  <c:v>45294</c:v>
                </c:pt>
                <c:pt idx="184">
                  <c:v>45293</c:v>
                </c:pt>
                <c:pt idx="185">
                  <c:v>45292</c:v>
                </c:pt>
                <c:pt idx="186">
                  <c:v>45291</c:v>
                </c:pt>
                <c:pt idx="187">
                  <c:v>45290</c:v>
                </c:pt>
                <c:pt idx="188">
                  <c:v>45289</c:v>
                </c:pt>
                <c:pt idx="189">
                  <c:v>45288</c:v>
                </c:pt>
                <c:pt idx="190">
                  <c:v>45287</c:v>
                </c:pt>
                <c:pt idx="191">
                  <c:v>45286</c:v>
                </c:pt>
                <c:pt idx="192">
                  <c:v>45285</c:v>
                </c:pt>
                <c:pt idx="193">
                  <c:v>45284</c:v>
                </c:pt>
                <c:pt idx="194">
                  <c:v>45283</c:v>
                </c:pt>
                <c:pt idx="195">
                  <c:v>45282</c:v>
                </c:pt>
                <c:pt idx="196">
                  <c:v>45281</c:v>
                </c:pt>
                <c:pt idx="197">
                  <c:v>45280</c:v>
                </c:pt>
                <c:pt idx="198">
                  <c:v>45279</c:v>
                </c:pt>
                <c:pt idx="199">
                  <c:v>45278</c:v>
                </c:pt>
                <c:pt idx="200">
                  <c:v>45277</c:v>
                </c:pt>
                <c:pt idx="201">
                  <c:v>45276</c:v>
                </c:pt>
                <c:pt idx="202">
                  <c:v>45275</c:v>
                </c:pt>
                <c:pt idx="203">
                  <c:v>45274</c:v>
                </c:pt>
                <c:pt idx="204">
                  <c:v>45273</c:v>
                </c:pt>
                <c:pt idx="205">
                  <c:v>45272</c:v>
                </c:pt>
                <c:pt idx="206">
                  <c:v>45271</c:v>
                </c:pt>
                <c:pt idx="207">
                  <c:v>45270</c:v>
                </c:pt>
                <c:pt idx="208">
                  <c:v>45269</c:v>
                </c:pt>
                <c:pt idx="209">
                  <c:v>45268</c:v>
                </c:pt>
                <c:pt idx="210">
                  <c:v>45267</c:v>
                </c:pt>
                <c:pt idx="211">
                  <c:v>45266</c:v>
                </c:pt>
                <c:pt idx="212">
                  <c:v>45265</c:v>
                </c:pt>
                <c:pt idx="213">
                  <c:v>45264</c:v>
                </c:pt>
                <c:pt idx="214">
                  <c:v>45263</c:v>
                </c:pt>
                <c:pt idx="215">
                  <c:v>45262</c:v>
                </c:pt>
                <c:pt idx="216">
                  <c:v>45261</c:v>
                </c:pt>
                <c:pt idx="217">
                  <c:v>45260</c:v>
                </c:pt>
                <c:pt idx="218">
                  <c:v>45259</c:v>
                </c:pt>
                <c:pt idx="219">
                  <c:v>45258</c:v>
                </c:pt>
                <c:pt idx="220">
                  <c:v>45257</c:v>
                </c:pt>
                <c:pt idx="221">
                  <c:v>45256</c:v>
                </c:pt>
                <c:pt idx="222">
                  <c:v>45255</c:v>
                </c:pt>
                <c:pt idx="223">
                  <c:v>45254</c:v>
                </c:pt>
                <c:pt idx="224">
                  <c:v>45253</c:v>
                </c:pt>
                <c:pt idx="225">
                  <c:v>45252</c:v>
                </c:pt>
                <c:pt idx="226">
                  <c:v>45251</c:v>
                </c:pt>
                <c:pt idx="227">
                  <c:v>45250</c:v>
                </c:pt>
                <c:pt idx="228">
                  <c:v>45249</c:v>
                </c:pt>
                <c:pt idx="229">
                  <c:v>45248</c:v>
                </c:pt>
                <c:pt idx="230">
                  <c:v>45247</c:v>
                </c:pt>
                <c:pt idx="231">
                  <c:v>45246</c:v>
                </c:pt>
                <c:pt idx="232">
                  <c:v>45245</c:v>
                </c:pt>
                <c:pt idx="233">
                  <c:v>45244</c:v>
                </c:pt>
                <c:pt idx="234">
                  <c:v>45243</c:v>
                </c:pt>
                <c:pt idx="235">
                  <c:v>45242</c:v>
                </c:pt>
                <c:pt idx="236">
                  <c:v>45241</c:v>
                </c:pt>
                <c:pt idx="237">
                  <c:v>45240</c:v>
                </c:pt>
                <c:pt idx="238">
                  <c:v>45239</c:v>
                </c:pt>
                <c:pt idx="239">
                  <c:v>45238</c:v>
                </c:pt>
                <c:pt idx="240">
                  <c:v>45237</c:v>
                </c:pt>
                <c:pt idx="241">
                  <c:v>45236</c:v>
                </c:pt>
                <c:pt idx="242">
                  <c:v>45235</c:v>
                </c:pt>
                <c:pt idx="243">
                  <c:v>45234</c:v>
                </c:pt>
                <c:pt idx="244">
                  <c:v>45233</c:v>
                </c:pt>
                <c:pt idx="245">
                  <c:v>45232</c:v>
                </c:pt>
                <c:pt idx="246">
                  <c:v>45231</c:v>
                </c:pt>
                <c:pt idx="247">
                  <c:v>45230</c:v>
                </c:pt>
                <c:pt idx="248">
                  <c:v>45229</c:v>
                </c:pt>
                <c:pt idx="249">
                  <c:v>45228</c:v>
                </c:pt>
                <c:pt idx="250">
                  <c:v>45227</c:v>
                </c:pt>
                <c:pt idx="251">
                  <c:v>45226</c:v>
                </c:pt>
                <c:pt idx="252">
                  <c:v>45225</c:v>
                </c:pt>
                <c:pt idx="253">
                  <c:v>45224</c:v>
                </c:pt>
                <c:pt idx="254">
                  <c:v>45223</c:v>
                </c:pt>
                <c:pt idx="255">
                  <c:v>45222</c:v>
                </c:pt>
                <c:pt idx="256">
                  <c:v>45221</c:v>
                </c:pt>
                <c:pt idx="257">
                  <c:v>45220</c:v>
                </c:pt>
                <c:pt idx="258">
                  <c:v>45219</c:v>
                </c:pt>
                <c:pt idx="259">
                  <c:v>45218</c:v>
                </c:pt>
                <c:pt idx="260">
                  <c:v>45217</c:v>
                </c:pt>
                <c:pt idx="261">
                  <c:v>45216</c:v>
                </c:pt>
                <c:pt idx="262">
                  <c:v>45215</c:v>
                </c:pt>
                <c:pt idx="263">
                  <c:v>45214</c:v>
                </c:pt>
                <c:pt idx="264">
                  <c:v>45213</c:v>
                </c:pt>
                <c:pt idx="265">
                  <c:v>45212</c:v>
                </c:pt>
                <c:pt idx="266">
                  <c:v>45211</c:v>
                </c:pt>
                <c:pt idx="267">
                  <c:v>45210</c:v>
                </c:pt>
                <c:pt idx="268">
                  <c:v>45209</c:v>
                </c:pt>
                <c:pt idx="269">
                  <c:v>45208</c:v>
                </c:pt>
                <c:pt idx="270">
                  <c:v>45207</c:v>
                </c:pt>
                <c:pt idx="271">
                  <c:v>45206</c:v>
                </c:pt>
                <c:pt idx="272">
                  <c:v>45205</c:v>
                </c:pt>
                <c:pt idx="273">
                  <c:v>45204</c:v>
                </c:pt>
                <c:pt idx="274">
                  <c:v>45203</c:v>
                </c:pt>
                <c:pt idx="275">
                  <c:v>45202</c:v>
                </c:pt>
                <c:pt idx="276">
                  <c:v>45201</c:v>
                </c:pt>
                <c:pt idx="277">
                  <c:v>45200</c:v>
                </c:pt>
                <c:pt idx="278">
                  <c:v>45199</c:v>
                </c:pt>
                <c:pt idx="279">
                  <c:v>45198</c:v>
                </c:pt>
                <c:pt idx="280">
                  <c:v>45197</c:v>
                </c:pt>
                <c:pt idx="281">
                  <c:v>45196</c:v>
                </c:pt>
                <c:pt idx="282">
                  <c:v>45195</c:v>
                </c:pt>
                <c:pt idx="283">
                  <c:v>45194</c:v>
                </c:pt>
                <c:pt idx="284">
                  <c:v>45193</c:v>
                </c:pt>
                <c:pt idx="285">
                  <c:v>45192</c:v>
                </c:pt>
                <c:pt idx="286">
                  <c:v>45191</c:v>
                </c:pt>
                <c:pt idx="287">
                  <c:v>45190</c:v>
                </c:pt>
                <c:pt idx="288">
                  <c:v>45189</c:v>
                </c:pt>
                <c:pt idx="289">
                  <c:v>45188</c:v>
                </c:pt>
                <c:pt idx="290">
                  <c:v>45187</c:v>
                </c:pt>
                <c:pt idx="291">
                  <c:v>45186</c:v>
                </c:pt>
                <c:pt idx="292">
                  <c:v>45185</c:v>
                </c:pt>
                <c:pt idx="293">
                  <c:v>45184</c:v>
                </c:pt>
                <c:pt idx="294">
                  <c:v>45183</c:v>
                </c:pt>
                <c:pt idx="295">
                  <c:v>45182</c:v>
                </c:pt>
                <c:pt idx="296">
                  <c:v>45181</c:v>
                </c:pt>
                <c:pt idx="297">
                  <c:v>45180</c:v>
                </c:pt>
                <c:pt idx="298">
                  <c:v>45179</c:v>
                </c:pt>
                <c:pt idx="299">
                  <c:v>45178</c:v>
                </c:pt>
                <c:pt idx="300">
                  <c:v>45177</c:v>
                </c:pt>
                <c:pt idx="301">
                  <c:v>45176</c:v>
                </c:pt>
                <c:pt idx="302">
                  <c:v>45175</c:v>
                </c:pt>
                <c:pt idx="303">
                  <c:v>45174</c:v>
                </c:pt>
                <c:pt idx="304">
                  <c:v>45173</c:v>
                </c:pt>
                <c:pt idx="305">
                  <c:v>45172</c:v>
                </c:pt>
                <c:pt idx="306">
                  <c:v>45171</c:v>
                </c:pt>
                <c:pt idx="307">
                  <c:v>45170</c:v>
                </c:pt>
                <c:pt idx="308">
                  <c:v>45169</c:v>
                </c:pt>
                <c:pt idx="309">
                  <c:v>45168</c:v>
                </c:pt>
                <c:pt idx="310">
                  <c:v>45167</c:v>
                </c:pt>
                <c:pt idx="311">
                  <c:v>45166</c:v>
                </c:pt>
                <c:pt idx="312">
                  <c:v>45165</c:v>
                </c:pt>
                <c:pt idx="313">
                  <c:v>45164</c:v>
                </c:pt>
                <c:pt idx="314">
                  <c:v>45163</c:v>
                </c:pt>
                <c:pt idx="315">
                  <c:v>45162</c:v>
                </c:pt>
                <c:pt idx="316">
                  <c:v>45161</c:v>
                </c:pt>
                <c:pt idx="317">
                  <c:v>45160</c:v>
                </c:pt>
                <c:pt idx="318">
                  <c:v>45159</c:v>
                </c:pt>
                <c:pt idx="319">
                  <c:v>45158</c:v>
                </c:pt>
                <c:pt idx="320">
                  <c:v>45157</c:v>
                </c:pt>
                <c:pt idx="321">
                  <c:v>45156</c:v>
                </c:pt>
                <c:pt idx="322">
                  <c:v>45155</c:v>
                </c:pt>
                <c:pt idx="323">
                  <c:v>45154</c:v>
                </c:pt>
                <c:pt idx="324">
                  <c:v>45153</c:v>
                </c:pt>
                <c:pt idx="325">
                  <c:v>45152</c:v>
                </c:pt>
                <c:pt idx="326">
                  <c:v>45151</c:v>
                </c:pt>
                <c:pt idx="327">
                  <c:v>45150</c:v>
                </c:pt>
                <c:pt idx="328">
                  <c:v>45149</c:v>
                </c:pt>
                <c:pt idx="329">
                  <c:v>45148</c:v>
                </c:pt>
                <c:pt idx="330">
                  <c:v>45147</c:v>
                </c:pt>
                <c:pt idx="331">
                  <c:v>45146</c:v>
                </c:pt>
                <c:pt idx="332">
                  <c:v>45145</c:v>
                </c:pt>
                <c:pt idx="333">
                  <c:v>45144</c:v>
                </c:pt>
                <c:pt idx="334">
                  <c:v>45143</c:v>
                </c:pt>
                <c:pt idx="335">
                  <c:v>45142</c:v>
                </c:pt>
                <c:pt idx="336">
                  <c:v>45141</c:v>
                </c:pt>
                <c:pt idx="337">
                  <c:v>45140</c:v>
                </c:pt>
                <c:pt idx="338">
                  <c:v>45139</c:v>
                </c:pt>
                <c:pt idx="339">
                  <c:v>45138</c:v>
                </c:pt>
                <c:pt idx="340">
                  <c:v>45137</c:v>
                </c:pt>
                <c:pt idx="341">
                  <c:v>45136</c:v>
                </c:pt>
                <c:pt idx="342">
                  <c:v>45135</c:v>
                </c:pt>
                <c:pt idx="343">
                  <c:v>45134</c:v>
                </c:pt>
                <c:pt idx="344">
                  <c:v>45133</c:v>
                </c:pt>
                <c:pt idx="345">
                  <c:v>45132</c:v>
                </c:pt>
                <c:pt idx="346">
                  <c:v>45131</c:v>
                </c:pt>
                <c:pt idx="347">
                  <c:v>45130</c:v>
                </c:pt>
                <c:pt idx="348">
                  <c:v>45129</c:v>
                </c:pt>
                <c:pt idx="349">
                  <c:v>45128</c:v>
                </c:pt>
                <c:pt idx="350">
                  <c:v>45127</c:v>
                </c:pt>
                <c:pt idx="351">
                  <c:v>45126</c:v>
                </c:pt>
                <c:pt idx="352">
                  <c:v>45125</c:v>
                </c:pt>
                <c:pt idx="353">
                  <c:v>45124</c:v>
                </c:pt>
                <c:pt idx="354">
                  <c:v>45123</c:v>
                </c:pt>
                <c:pt idx="355">
                  <c:v>45122</c:v>
                </c:pt>
                <c:pt idx="356">
                  <c:v>45121</c:v>
                </c:pt>
                <c:pt idx="357">
                  <c:v>45120</c:v>
                </c:pt>
                <c:pt idx="358">
                  <c:v>45119</c:v>
                </c:pt>
                <c:pt idx="359">
                  <c:v>45118</c:v>
                </c:pt>
                <c:pt idx="360">
                  <c:v>45117</c:v>
                </c:pt>
                <c:pt idx="361">
                  <c:v>45116</c:v>
                </c:pt>
                <c:pt idx="362">
                  <c:v>45115</c:v>
                </c:pt>
                <c:pt idx="363">
                  <c:v>45114</c:v>
                </c:pt>
                <c:pt idx="364">
                  <c:v>45113</c:v>
                </c:pt>
                <c:pt idx="365">
                  <c:v>45112</c:v>
                </c:pt>
                <c:pt idx="366">
                  <c:v>45111</c:v>
                </c:pt>
                <c:pt idx="367">
                  <c:v>45110</c:v>
                </c:pt>
                <c:pt idx="368">
                  <c:v>45109</c:v>
                </c:pt>
                <c:pt idx="369">
                  <c:v>45108</c:v>
                </c:pt>
                <c:pt idx="370">
                  <c:v>45107</c:v>
                </c:pt>
                <c:pt idx="371">
                  <c:v>45106</c:v>
                </c:pt>
                <c:pt idx="372">
                  <c:v>45105</c:v>
                </c:pt>
                <c:pt idx="373">
                  <c:v>45104</c:v>
                </c:pt>
                <c:pt idx="374">
                  <c:v>45103</c:v>
                </c:pt>
                <c:pt idx="375">
                  <c:v>45102</c:v>
                </c:pt>
                <c:pt idx="376">
                  <c:v>45101</c:v>
                </c:pt>
                <c:pt idx="377">
                  <c:v>45100</c:v>
                </c:pt>
                <c:pt idx="378">
                  <c:v>45099</c:v>
                </c:pt>
                <c:pt idx="379">
                  <c:v>45098</c:v>
                </c:pt>
                <c:pt idx="380">
                  <c:v>45097</c:v>
                </c:pt>
                <c:pt idx="381">
                  <c:v>45096</c:v>
                </c:pt>
                <c:pt idx="382">
                  <c:v>45095</c:v>
                </c:pt>
                <c:pt idx="383">
                  <c:v>45094</c:v>
                </c:pt>
                <c:pt idx="384">
                  <c:v>45093</c:v>
                </c:pt>
                <c:pt idx="385">
                  <c:v>45092</c:v>
                </c:pt>
                <c:pt idx="386">
                  <c:v>45091</c:v>
                </c:pt>
                <c:pt idx="387">
                  <c:v>45090</c:v>
                </c:pt>
                <c:pt idx="388">
                  <c:v>45089</c:v>
                </c:pt>
                <c:pt idx="389">
                  <c:v>45088</c:v>
                </c:pt>
                <c:pt idx="390">
                  <c:v>45087</c:v>
                </c:pt>
                <c:pt idx="391">
                  <c:v>45086</c:v>
                </c:pt>
                <c:pt idx="392">
                  <c:v>45085</c:v>
                </c:pt>
                <c:pt idx="393">
                  <c:v>45084</c:v>
                </c:pt>
                <c:pt idx="394">
                  <c:v>45083</c:v>
                </c:pt>
                <c:pt idx="395">
                  <c:v>45082</c:v>
                </c:pt>
                <c:pt idx="396">
                  <c:v>45081</c:v>
                </c:pt>
                <c:pt idx="397">
                  <c:v>45080</c:v>
                </c:pt>
                <c:pt idx="398">
                  <c:v>45079</c:v>
                </c:pt>
                <c:pt idx="399">
                  <c:v>45078</c:v>
                </c:pt>
                <c:pt idx="400">
                  <c:v>45077</c:v>
                </c:pt>
                <c:pt idx="401">
                  <c:v>45076</c:v>
                </c:pt>
                <c:pt idx="402">
                  <c:v>45075</c:v>
                </c:pt>
                <c:pt idx="403">
                  <c:v>45074</c:v>
                </c:pt>
                <c:pt idx="404">
                  <c:v>45073</c:v>
                </c:pt>
                <c:pt idx="405">
                  <c:v>45072</c:v>
                </c:pt>
                <c:pt idx="406">
                  <c:v>45071</c:v>
                </c:pt>
                <c:pt idx="407">
                  <c:v>45070</c:v>
                </c:pt>
                <c:pt idx="408">
                  <c:v>45069</c:v>
                </c:pt>
                <c:pt idx="409">
                  <c:v>45068</c:v>
                </c:pt>
                <c:pt idx="410">
                  <c:v>45067</c:v>
                </c:pt>
                <c:pt idx="411">
                  <c:v>45066</c:v>
                </c:pt>
                <c:pt idx="412">
                  <c:v>45065</c:v>
                </c:pt>
                <c:pt idx="413">
                  <c:v>45064</c:v>
                </c:pt>
                <c:pt idx="414">
                  <c:v>45063</c:v>
                </c:pt>
                <c:pt idx="415">
                  <c:v>45062</c:v>
                </c:pt>
                <c:pt idx="416">
                  <c:v>45061</c:v>
                </c:pt>
                <c:pt idx="417">
                  <c:v>45060</c:v>
                </c:pt>
                <c:pt idx="418">
                  <c:v>45059</c:v>
                </c:pt>
                <c:pt idx="419">
                  <c:v>45058</c:v>
                </c:pt>
                <c:pt idx="420">
                  <c:v>45057</c:v>
                </c:pt>
                <c:pt idx="421">
                  <c:v>45056</c:v>
                </c:pt>
                <c:pt idx="422">
                  <c:v>45055</c:v>
                </c:pt>
                <c:pt idx="423">
                  <c:v>45054</c:v>
                </c:pt>
                <c:pt idx="424">
                  <c:v>45053</c:v>
                </c:pt>
                <c:pt idx="425">
                  <c:v>45052</c:v>
                </c:pt>
                <c:pt idx="426">
                  <c:v>45051</c:v>
                </c:pt>
                <c:pt idx="427">
                  <c:v>45050</c:v>
                </c:pt>
                <c:pt idx="428">
                  <c:v>45049</c:v>
                </c:pt>
                <c:pt idx="429">
                  <c:v>45048</c:v>
                </c:pt>
                <c:pt idx="430">
                  <c:v>45047</c:v>
                </c:pt>
                <c:pt idx="431">
                  <c:v>45046</c:v>
                </c:pt>
                <c:pt idx="432">
                  <c:v>45045</c:v>
                </c:pt>
                <c:pt idx="433">
                  <c:v>45044</c:v>
                </c:pt>
                <c:pt idx="434">
                  <c:v>45043</c:v>
                </c:pt>
                <c:pt idx="435">
                  <c:v>45042</c:v>
                </c:pt>
                <c:pt idx="436">
                  <c:v>45041</c:v>
                </c:pt>
                <c:pt idx="437">
                  <c:v>45040</c:v>
                </c:pt>
                <c:pt idx="438">
                  <c:v>45039</c:v>
                </c:pt>
                <c:pt idx="439">
                  <c:v>45038</c:v>
                </c:pt>
                <c:pt idx="440">
                  <c:v>45037</c:v>
                </c:pt>
                <c:pt idx="441">
                  <c:v>45036</c:v>
                </c:pt>
                <c:pt idx="442">
                  <c:v>45035</c:v>
                </c:pt>
                <c:pt idx="443">
                  <c:v>45034</c:v>
                </c:pt>
                <c:pt idx="444">
                  <c:v>45033</c:v>
                </c:pt>
                <c:pt idx="445">
                  <c:v>45032</c:v>
                </c:pt>
                <c:pt idx="446">
                  <c:v>45031</c:v>
                </c:pt>
                <c:pt idx="447">
                  <c:v>45030</c:v>
                </c:pt>
                <c:pt idx="448">
                  <c:v>45029</c:v>
                </c:pt>
                <c:pt idx="449">
                  <c:v>45028</c:v>
                </c:pt>
                <c:pt idx="450">
                  <c:v>45027</c:v>
                </c:pt>
                <c:pt idx="451">
                  <c:v>45026</c:v>
                </c:pt>
                <c:pt idx="452">
                  <c:v>45025</c:v>
                </c:pt>
                <c:pt idx="453">
                  <c:v>45024</c:v>
                </c:pt>
                <c:pt idx="454">
                  <c:v>45023</c:v>
                </c:pt>
                <c:pt idx="455">
                  <c:v>45022</c:v>
                </c:pt>
                <c:pt idx="456">
                  <c:v>45021</c:v>
                </c:pt>
                <c:pt idx="457">
                  <c:v>45020</c:v>
                </c:pt>
                <c:pt idx="458">
                  <c:v>45019</c:v>
                </c:pt>
                <c:pt idx="459">
                  <c:v>45018</c:v>
                </c:pt>
                <c:pt idx="460">
                  <c:v>45017</c:v>
                </c:pt>
                <c:pt idx="461">
                  <c:v>45016</c:v>
                </c:pt>
                <c:pt idx="462">
                  <c:v>45015</c:v>
                </c:pt>
                <c:pt idx="463">
                  <c:v>45014</c:v>
                </c:pt>
                <c:pt idx="464">
                  <c:v>45013</c:v>
                </c:pt>
                <c:pt idx="465">
                  <c:v>45012</c:v>
                </c:pt>
                <c:pt idx="466">
                  <c:v>45011</c:v>
                </c:pt>
                <c:pt idx="467">
                  <c:v>45010</c:v>
                </c:pt>
                <c:pt idx="468">
                  <c:v>45009</c:v>
                </c:pt>
                <c:pt idx="469">
                  <c:v>45008</c:v>
                </c:pt>
                <c:pt idx="470">
                  <c:v>45007</c:v>
                </c:pt>
                <c:pt idx="471">
                  <c:v>45006</c:v>
                </c:pt>
                <c:pt idx="472">
                  <c:v>45005</c:v>
                </c:pt>
                <c:pt idx="473">
                  <c:v>45004</c:v>
                </c:pt>
                <c:pt idx="474">
                  <c:v>45003</c:v>
                </c:pt>
                <c:pt idx="475">
                  <c:v>45002</c:v>
                </c:pt>
                <c:pt idx="476">
                  <c:v>45001</c:v>
                </c:pt>
                <c:pt idx="477">
                  <c:v>45000</c:v>
                </c:pt>
                <c:pt idx="478">
                  <c:v>44999</c:v>
                </c:pt>
                <c:pt idx="479">
                  <c:v>44998</c:v>
                </c:pt>
                <c:pt idx="480">
                  <c:v>44997</c:v>
                </c:pt>
                <c:pt idx="481">
                  <c:v>44996</c:v>
                </c:pt>
                <c:pt idx="482">
                  <c:v>44995</c:v>
                </c:pt>
                <c:pt idx="483">
                  <c:v>44994</c:v>
                </c:pt>
                <c:pt idx="484">
                  <c:v>44993</c:v>
                </c:pt>
                <c:pt idx="485">
                  <c:v>44992</c:v>
                </c:pt>
                <c:pt idx="486">
                  <c:v>44991</c:v>
                </c:pt>
                <c:pt idx="487">
                  <c:v>44990</c:v>
                </c:pt>
                <c:pt idx="488">
                  <c:v>44989</c:v>
                </c:pt>
                <c:pt idx="489">
                  <c:v>44988</c:v>
                </c:pt>
                <c:pt idx="490">
                  <c:v>44987</c:v>
                </c:pt>
                <c:pt idx="491">
                  <c:v>44986</c:v>
                </c:pt>
                <c:pt idx="492">
                  <c:v>44985</c:v>
                </c:pt>
                <c:pt idx="493">
                  <c:v>44984</c:v>
                </c:pt>
                <c:pt idx="494">
                  <c:v>44983</c:v>
                </c:pt>
                <c:pt idx="495">
                  <c:v>44982</c:v>
                </c:pt>
                <c:pt idx="496">
                  <c:v>44981</c:v>
                </c:pt>
                <c:pt idx="497">
                  <c:v>44980</c:v>
                </c:pt>
                <c:pt idx="498">
                  <c:v>44979</c:v>
                </c:pt>
                <c:pt idx="499">
                  <c:v>44978</c:v>
                </c:pt>
                <c:pt idx="500">
                  <c:v>44977</c:v>
                </c:pt>
                <c:pt idx="501">
                  <c:v>44976</c:v>
                </c:pt>
                <c:pt idx="502">
                  <c:v>44975</c:v>
                </c:pt>
                <c:pt idx="503">
                  <c:v>44974</c:v>
                </c:pt>
                <c:pt idx="504">
                  <c:v>44973</c:v>
                </c:pt>
                <c:pt idx="505">
                  <c:v>44972</c:v>
                </c:pt>
                <c:pt idx="506">
                  <c:v>44971</c:v>
                </c:pt>
                <c:pt idx="507">
                  <c:v>44970</c:v>
                </c:pt>
                <c:pt idx="508">
                  <c:v>44969</c:v>
                </c:pt>
                <c:pt idx="509">
                  <c:v>44968</c:v>
                </c:pt>
                <c:pt idx="510">
                  <c:v>44967</c:v>
                </c:pt>
                <c:pt idx="511">
                  <c:v>44966</c:v>
                </c:pt>
                <c:pt idx="512">
                  <c:v>44965</c:v>
                </c:pt>
                <c:pt idx="513">
                  <c:v>44964</c:v>
                </c:pt>
                <c:pt idx="514">
                  <c:v>44963</c:v>
                </c:pt>
                <c:pt idx="515">
                  <c:v>44962</c:v>
                </c:pt>
                <c:pt idx="516">
                  <c:v>44961</c:v>
                </c:pt>
                <c:pt idx="517">
                  <c:v>44960</c:v>
                </c:pt>
                <c:pt idx="518">
                  <c:v>44959</c:v>
                </c:pt>
                <c:pt idx="519">
                  <c:v>44958</c:v>
                </c:pt>
                <c:pt idx="520">
                  <c:v>44957</c:v>
                </c:pt>
                <c:pt idx="521">
                  <c:v>44956</c:v>
                </c:pt>
                <c:pt idx="522">
                  <c:v>44955</c:v>
                </c:pt>
                <c:pt idx="523">
                  <c:v>44954</c:v>
                </c:pt>
                <c:pt idx="524">
                  <c:v>44953</c:v>
                </c:pt>
                <c:pt idx="525">
                  <c:v>44952</c:v>
                </c:pt>
                <c:pt idx="526">
                  <c:v>44951</c:v>
                </c:pt>
                <c:pt idx="527">
                  <c:v>44950</c:v>
                </c:pt>
                <c:pt idx="528">
                  <c:v>44949</c:v>
                </c:pt>
                <c:pt idx="529">
                  <c:v>44948</c:v>
                </c:pt>
                <c:pt idx="530">
                  <c:v>44947</c:v>
                </c:pt>
                <c:pt idx="531">
                  <c:v>44946</c:v>
                </c:pt>
                <c:pt idx="532">
                  <c:v>44945</c:v>
                </c:pt>
                <c:pt idx="533">
                  <c:v>44944</c:v>
                </c:pt>
                <c:pt idx="534">
                  <c:v>44943</c:v>
                </c:pt>
                <c:pt idx="535">
                  <c:v>44942</c:v>
                </c:pt>
                <c:pt idx="536">
                  <c:v>44941</c:v>
                </c:pt>
                <c:pt idx="537">
                  <c:v>44940</c:v>
                </c:pt>
                <c:pt idx="538">
                  <c:v>44939</c:v>
                </c:pt>
                <c:pt idx="539">
                  <c:v>44938</c:v>
                </c:pt>
                <c:pt idx="540">
                  <c:v>44937</c:v>
                </c:pt>
                <c:pt idx="541">
                  <c:v>44936</c:v>
                </c:pt>
                <c:pt idx="542">
                  <c:v>44935</c:v>
                </c:pt>
                <c:pt idx="543">
                  <c:v>44934</c:v>
                </c:pt>
                <c:pt idx="544">
                  <c:v>44933</c:v>
                </c:pt>
                <c:pt idx="545">
                  <c:v>44932</c:v>
                </c:pt>
                <c:pt idx="546">
                  <c:v>44931</c:v>
                </c:pt>
                <c:pt idx="547">
                  <c:v>44930</c:v>
                </c:pt>
                <c:pt idx="548">
                  <c:v>44929</c:v>
                </c:pt>
                <c:pt idx="549">
                  <c:v>44928</c:v>
                </c:pt>
                <c:pt idx="550">
                  <c:v>44927</c:v>
                </c:pt>
                <c:pt idx="551">
                  <c:v>44926</c:v>
                </c:pt>
                <c:pt idx="552">
                  <c:v>44925</c:v>
                </c:pt>
                <c:pt idx="553">
                  <c:v>44924</c:v>
                </c:pt>
                <c:pt idx="554">
                  <c:v>44923</c:v>
                </c:pt>
                <c:pt idx="555">
                  <c:v>44922</c:v>
                </c:pt>
                <c:pt idx="556">
                  <c:v>44921</c:v>
                </c:pt>
                <c:pt idx="557">
                  <c:v>44920</c:v>
                </c:pt>
                <c:pt idx="558">
                  <c:v>44919</c:v>
                </c:pt>
                <c:pt idx="559">
                  <c:v>44918</c:v>
                </c:pt>
                <c:pt idx="560">
                  <c:v>44917</c:v>
                </c:pt>
                <c:pt idx="561">
                  <c:v>44916</c:v>
                </c:pt>
                <c:pt idx="562">
                  <c:v>44915</c:v>
                </c:pt>
                <c:pt idx="563">
                  <c:v>44914</c:v>
                </c:pt>
                <c:pt idx="564">
                  <c:v>44913</c:v>
                </c:pt>
                <c:pt idx="565">
                  <c:v>44912</c:v>
                </c:pt>
                <c:pt idx="566">
                  <c:v>44911</c:v>
                </c:pt>
                <c:pt idx="567">
                  <c:v>44910</c:v>
                </c:pt>
                <c:pt idx="568">
                  <c:v>44909</c:v>
                </c:pt>
                <c:pt idx="569">
                  <c:v>44908</c:v>
                </c:pt>
                <c:pt idx="570">
                  <c:v>44907</c:v>
                </c:pt>
                <c:pt idx="571">
                  <c:v>44906</c:v>
                </c:pt>
                <c:pt idx="572">
                  <c:v>44905</c:v>
                </c:pt>
                <c:pt idx="573">
                  <c:v>44904</c:v>
                </c:pt>
                <c:pt idx="574">
                  <c:v>44903</c:v>
                </c:pt>
                <c:pt idx="575">
                  <c:v>44902</c:v>
                </c:pt>
                <c:pt idx="576">
                  <c:v>44901</c:v>
                </c:pt>
                <c:pt idx="577">
                  <c:v>44900</c:v>
                </c:pt>
                <c:pt idx="578">
                  <c:v>44899</c:v>
                </c:pt>
                <c:pt idx="579">
                  <c:v>44898</c:v>
                </c:pt>
                <c:pt idx="580">
                  <c:v>44897</c:v>
                </c:pt>
                <c:pt idx="581">
                  <c:v>44896</c:v>
                </c:pt>
                <c:pt idx="582">
                  <c:v>44895</c:v>
                </c:pt>
                <c:pt idx="583">
                  <c:v>44894</c:v>
                </c:pt>
                <c:pt idx="584">
                  <c:v>44893</c:v>
                </c:pt>
                <c:pt idx="585">
                  <c:v>44892</c:v>
                </c:pt>
                <c:pt idx="586">
                  <c:v>44891</c:v>
                </c:pt>
                <c:pt idx="587">
                  <c:v>44890</c:v>
                </c:pt>
                <c:pt idx="588">
                  <c:v>44889</c:v>
                </c:pt>
                <c:pt idx="589">
                  <c:v>44888</c:v>
                </c:pt>
                <c:pt idx="590">
                  <c:v>44887</c:v>
                </c:pt>
                <c:pt idx="591">
                  <c:v>44886</c:v>
                </c:pt>
                <c:pt idx="592">
                  <c:v>44885</c:v>
                </c:pt>
                <c:pt idx="593">
                  <c:v>44884</c:v>
                </c:pt>
                <c:pt idx="594">
                  <c:v>44883</c:v>
                </c:pt>
                <c:pt idx="595">
                  <c:v>44882</c:v>
                </c:pt>
                <c:pt idx="596">
                  <c:v>44881</c:v>
                </c:pt>
                <c:pt idx="597">
                  <c:v>44880</c:v>
                </c:pt>
                <c:pt idx="598">
                  <c:v>44879</c:v>
                </c:pt>
                <c:pt idx="599">
                  <c:v>44878</c:v>
                </c:pt>
                <c:pt idx="600">
                  <c:v>44877</c:v>
                </c:pt>
                <c:pt idx="601">
                  <c:v>44876</c:v>
                </c:pt>
                <c:pt idx="602">
                  <c:v>44875</c:v>
                </c:pt>
                <c:pt idx="603">
                  <c:v>44874</c:v>
                </c:pt>
                <c:pt idx="604">
                  <c:v>44873</c:v>
                </c:pt>
                <c:pt idx="605">
                  <c:v>44872</c:v>
                </c:pt>
                <c:pt idx="606">
                  <c:v>44871</c:v>
                </c:pt>
                <c:pt idx="607">
                  <c:v>44870</c:v>
                </c:pt>
                <c:pt idx="608">
                  <c:v>44869</c:v>
                </c:pt>
                <c:pt idx="609">
                  <c:v>44868</c:v>
                </c:pt>
                <c:pt idx="610">
                  <c:v>44867</c:v>
                </c:pt>
                <c:pt idx="611">
                  <c:v>44866</c:v>
                </c:pt>
                <c:pt idx="612">
                  <c:v>44865</c:v>
                </c:pt>
                <c:pt idx="613">
                  <c:v>44864</c:v>
                </c:pt>
                <c:pt idx="614">
                  <c:v>44863</c:v>
                </c:pt>
                <c:pt idx="615">
                  <c:v>44862</c:v>
                </c:pt>
                <c:pt idx="616">
                  <c:v>44861</c:v>
                </c:pt>
                <c:pt idx="617">
                  <c:v>44860</c:v>
                </c:pt>
                <c:pt idx="618">
                  <c:v>44859</c:v>
                </c:pt>
                <c:pt idx="619">
                  <c:v>44858</c:v>
                </c:pt>
                <c:pt idx="620">
                  <c:v>44857</c:v>
                </c:pt>
                <c:pt idx="621">
                  <c:v>44856</c:v>
                </c:pt>
                <c:pt idx="622">
                  <c:v>44855</c:v>
                </c:pt>
                <c:pt idx="623">
                  <c:v>44854</c:v>
                </c:pt>
                <c:pt idx="624">
                  <c:v>44853</c:v>
                </c:pt>
                <c:pt idx="625">
                  <c:v>44852</c:v>
                </c:pt>
                <c:pt idx="626">
                  <c:v>44851</c:v>
                </c:pt>
                <c:pt idx="627">
                  <c:v>44850</c:v>
                </c:pt>
                <c:pt idx="628">
                  <c:v>44849</c:v>
                </c:pt>
                <c:pt idx="629">
                  <c:v>44848</c:v>
                </c:pt>
                <c:pt idx="630">
                  <c:v>44847</c:v>
                </c:pt>
                <c:pt idx="631">
                  <c:v>44846</c:v>
                </c:pt>
                <c:pt idx="632">
                  <c:v>44845</c:v>
                </c:pt>
                <c:pt idx="633">
                  <c:v>44844</c:v>
                </c:pt>
                <c:pt idx="634">
                  <c:v>44843</c:v>
                </c:pt>
                <c:pt idx="635">
                  <c:v>44842</c:v>
                </c:pt>
                <c:pt idx="636">
                  <c:v>44841</c:v>
                </c:pt>
                <c:pt idx="637">
                  <c:v>44840</c:v>
                </c:pt>
                <c:pt idx="638">
                  <c:v>44839</c:v>
                </c:pt>
                <c:pt idx="639">
                  <c:v>44838</c:v>
                </c:pt>
                <c:pt idx="640">
                  <c:v>44837</c:v>
                </c:pt>
                <c:pt idx="641">
                  <c:v>44836</c:v>
                </c:pt>
                <c:pt idx="642">
                  <c:v>44835</c:v>
                </c:pt>
                <c:pt idx="643">
                  <c:v>44834</c:v>
                </c:pt>
                <c:pt idx="644">
                  <c:v>44833</c:v>
                </c:pt>
                <c:pt idx="645">
                  <c:v>44832</c:v>
                </c:pt>
                <c:pt idx="646">
                  <c:v>44831</c:v>
                </c:pt>
                <c:pt idx="647">
                  <c:v>44830</c:v>
                </c:pt>
                <c:pt idx="648">
                  <c:v>44829</c:v>
                </c:pt>
                <c:pt idx="649">
                  <c:v>44828</c:v>
                </c:pt>
                <c:pt idx="650">
                  <c:v>44827</c:v>
                </c:pt>
                <c:pt idx="651">
                  <c:v>44826</c:v>
                </c:pt>
                <c:pt idx="652">
                  <c:v>44825</c:v>
                </c:pt>
                <c:pt idx="653">
                  <c:v>44824</c:v>
                </c:pt>
                <c:pt idx="654">
                  <c:v>44823</c:v>
                </c:pt>
                <c:pt idx="655">
                  <c:v>44822</c:v>
                </c:pt>
                <c:pt idx="656">
                  <c:v>44821</c:v>
                </c:pt>
                <c:pt idx="657">
                  <c:v>44820</c:v>
                </c:pt>
                <c:pt idx="658">
                  <c:v>44819</c:v>
                </c:pt>
                <c:pt idx="659">
                  <c:v>44818</c:v>
                </c:pt>
                <c:pt idx="660">
                  <c:v>44817</c:v>
                </c:pt>
                <c:pt idx="661">
                  <c:v>44816</c:v>
                </c:pt>
                <c:pt idx="662">
                  <c:v>44815</c:v>
                </c:pt>
                <c:pt idx="663">
                  <c:v>44814</c:v>
                </c:pt>
                <c:pt idx="664">
                  <c:v>44813</c:v>
                </c:pt>
                <c:pt idx="665">
                  <c:v>44812</c:v>
                </c:pt>
                <c:pt idx="666">
                  <c:v>44811</c:v>
                </c:pt>
                <c:pt idx="667">
                  <c:v>44810</c:v>
                </c:pt>
                <c:pt idx="668">
                  <c:v>44809</c:v>
                </c:pt>
                <c:pt idx="669">
                  <c:v>44808</c:v>
                </c:pt>
                <c:pt idx="670">
                  <c:v>44807</c:v>
                </c:pt>
                <c:pt idx="671">
                  <c:v>44806</c:v>
                </c:pt>
                <c:pt idx="672">
                  <c:v>44805</c:v>
                </c:pt>
                <c:pt idx="673">
                  <c:v>44804</c:v>
                </c:pt>
                <c:pt idx="674">
                  <c:v>44803</c:v>
                </c:pt>
                <c:pt idx="675">
                  <c:v>44802</c:v>
                </c:pt>
                <c:pt idx="676">
                  <c:v>44801</c:v>
                </c:pt>
                <c:pt idx="677">
                  <c:v>44800</c:v>
                </c:pt>
                <c:pt idx="678">
                  <c:v>44799</c:v>
                </c:pt>
                <c:pt idx="679">
                  <c:v>44798</c:v>
                </c:pt>
                <c:pt idx="680">
                  <c:v>44797</c:v>
                </c:pt>
                <c:pt idx="681">
                  <c:v>44796</c:v>
                </c:pt>
                <c:pt idx="682">
                  <c:v>44795</c:v>
                </c:pt>
                <c:pt idx="683">
                  <c:v>44794</c:v>
                </c:pt>
                <c:pt idx="684">
                  <c:v>44793</c:v>
                </c:pt>
                <c:pt idx="685">
                  <c:v>44792</c:v>
                </c:pt>
                <c:pt idx="686">
                  <c:v>44791</c:v>
                </c:pt>
                <c:pt idx="687">
                  <c:v>44790</c:v>
                </c:pt>
                <c:pt idx="688">
                  <c:v>44789</c:v>
                </c:pt>
                <c:pt idx="689">
                  <c:v>44788</c:v>
                </c:pt>
                <c:pt idx="690">
                  <c:v>44787</c:v>
                </c:pt>
                <c:pt idx="691">
                  <c:v>44786</c:v>
                </c:pt>
                <c:pt idx="692">
                  <c:v>44785</c:v>
                </c:pt>
                <c:pt idx="693">
                  <c:v>44784</c:v>
                </c:pt>
                <c:pt idx="694">
                  <c:v>44783</c:v>
                </c:pt>
                <c:pt idx="695">
                  <c:v>44782</c:v>
                </c:pt>
                <c:pt idx="696">
                  <c:v>44781</c:v>
                </c:pt>
                <c:pt idx="697">
                  <c:v>44780</c:v>
                </c:pt>
                <c:pt idx="698">
                  <c:v>44779</c:v>
                </c:pt>
                <c:pt idx="699">
                  <c:v>44778</c:v>
                </c:pt>
                <c:pt idx="700">
                  <c:v>44777</c:v>
                </c:pt>
                <c:pt idx="701">
                  <c:v>44776</c:v>
                </c:pt>
                <c:pt idx="702">
                  <c:v>44775</c:v>
                </c:pt>
                <c:pt idx="703">
                  <c:v>44774</c:v>
                </c:pt>
                <c:pt idx="704">
                  <c:v>44773</c:v>
                </c:pt>
                <c:pt idx="705">
                  <c:v>44772</c:v>
                </c:pt>
                <c:pt idx="706">
                  <c:v>44771</c:v>
                </c:pt>
                <c:pt idx="707">
                  <c:v>44770</c:v>
                </c:pt>
                <c:pt idx="708">
                  <c:v>44769</c:v>
                </c:pt>
                <c:pt idx="709">
                  <c:v>44768</c:v>
                </c:pt>
                <c:pt idx="710">
                  <c:v>44767</c:v>
                </c:pt>
                <c:pt idx="711">
                  <c:v>44766</c:v>
                </c:pt>
                <c:pt idx="712">
                  <c:v>44765</c:v>
                </c:pt>
                <c:pt idx="713">
                  <c:v>44764</c:v>
                </c:pt>
                <c:pt idx="714">
                  <c:v>44763</c:v>
                </c:pt>
                <c:pt idx="715">
                  <c:v>44762</c:v>
                </c:pt>
                <c:pt idx="716">
                  <c:v>44761</c:v>
                </c:pt>
                <c:pt idx="717">
                  <c:v>44760</c:v>
                </c:pt>
                <c:pt idx="718">
                  <c:v>44759</c:v>
                </c:pt>
                <c:pt idx="719">
                  <c:v>44758</c:v>
                </c:pt>
                <c:pt idx="720">
                  <c:v>44757</c:v>
                </c:pt>
                <c:pt idx="721">
                  <c:v>44756</c:v>
                </c:pt>
                <c:pt idx="722">
                  <c:v>44755</c:v>
                </c:pt>
                <c:pt idx="723">
                  <c:v>44754</c:v>
                </c:pt>
                <c:pt idx="724">
                  <c:v>44753</c:v>
                </c:pt>
                <c:pt idx="725">
                  <c:v>44752</c:v>
                </c:pt>
                <c:pt idx="726">
                  <c:v>44751</c:v>
                </c:pt>
                <c:pt idx="727">
                  <c:v>44750</c:v>
                </c:pt>
                <c:pt idx="728">
                  <c:v>44749</c:v>
                </c:pt>
                <c:pt idx="729">
                  <c:v>44748</c:v>
                </c:pt>
                <c:pt idx="730">
                  <c:v>44747</c:v>
                </c:pt>
                <c:pt idx="731">
                  <c:v>44746</c:v>
                </c:pt>
                <c:pt idx="732">
                  <c:v>44745</c:v>
                </c:pt>
                <c:pt idx="733">
                  <c:v>44744</c:v>
                </c:pt>
                <c:pt idx="734">
                  <c:v>44743</c:v>
                </c:pt>
                <c:pt idx="735">
                  <c:v>44742</c:v>
                </c:pt>
                <c:pt idx="736">
                  <c:v>44741</c:v>
                </c:pt>
                <c:pt idx="737">
                  <c:v>44740</c:v>
                </c:pt>
              </c:numCache>
            </c:numRef>
          </c:cat>
          <c:val>
            <c:numRef>
              <c:f>主流省份电价!$CY$6:$CY$743</c:f>
              <c:numCache>
                <c:formatCode>General</c:formatCode>
                <c:ptCount val="738"/>
                <c:pt idx="0">
                  <c:v>0.65</c:v>
                </c:pt>
                <c:pt idx="1">
                  <c:v>0.65</c:v>
                </c:pt>
                <c:pt idx="2">
                  <c:v>0.65</c:v>
                </c:pt>
                <c:pt idx="3">
                  <c:v>0.65</c:v>
                </c:pt>
                <c:pt idx="4">
                  <c:v>0.65</c:v>
                </c:pt>
                <c:pt idx="5">
                  <c:v>0.65</c:v>
                </c:pt>
                <c:pt idx="6">
                  <c:v>0.65</c:v>
                </c:pt>
                <c:pt idx="7">
                  <c:v>0.65</c:v>
                </c:pt>
                <c:pt idx="8">
                  <c:v>0.65</c:v>
                </c:pt>
                <c:pt idx="9">
                  <c:v>0.65</c:v>
                </c:pt>
                <c:pt idx="10">
                  <c:v>0.65</c:v>
                </c:pt>
                <c:pt idx="11">
                  <c:v>0.65</c:v>
                </c:pt>
                <c:pt idx="12">
                  <c:v>0.65</c:v>
                </c:pt>
                <c:pt idx="13">
                  <c:v>0.65</c:v>
                </c:pt>
                <c:pt idx="14">
                  <c:v>0.65</c:v>
                </c:pt>
                <c:pt idx="15">
                  <c:v>0.65</c:v>
                </c:pt>
                <c:pt idx="16">
                  <c:v>0.65</c:v>
                </c:pt>
                <c:pt idx="17">
                  <c:v>0.65</c:v>
                </c:pt>
                <c:pt idx="18">
                  <c:v>0.65</c:v>
                </c:pt>
                <c:pt idx="19">
                  <c:v>0.65</c:v>
                </c:pt>
                <c:pt idx="20">
                  <c:v>0.65</c:v>
                </c:pt>
                <c:pt idx="21">
                  <c:v>0.65</c:v>
                </c:pt>
                <c:pt idx="22">
                  <c:v>0.65</c:v>
                </c:pt>
                <c:pt idx="23">
                  <c:v>0.65</c:v>
                </c:pt>
                <c:pt idx="24">
                  <c:v>0.65</c:v>
                </c:pt>
                <c:pt idx="25">
                  <c:v>0.65</c:v>
                </c:pt>
                <c:pt idx="26">
                  <c:v>0.65</c:v>
                </c:pt>
                <c:pt idx="27">
                  <c:v>0.65</c:v>
                </c:pt>
                <c:pt idx="28">
                  <c:v>0.65</c:v>
                </c:pt>
                <c:pt idx="29">
                  <c:v>0.65</c:v>
                </c:pt>
                <c:pt idx="30">
                  <c:v>0.65</c:v>
                </c:pt>
                <c:pt idx="31">
                  <c:v>0.65</c:v>
                </c:pt>
                <c:pt idx="32">
                  <c:v>0.65</c:v>
                </c:pt>
                <c:pt idx="33">
                  <c:v>0.65</c:v>
                </c:pt>
                <c:pt idx="34">
                  <c:v>0.65</c:v>
                </c:pt>
                <c:pt idx="35">
                  <c:v>0.65</c:v>
                </c:pt>
                <c:pt idx="36">
                  <c:v>0.65</c:v>
                </c:pt>
                <c:pt idx="37">
                  <c:v>0.65</c:v>
                </c:pt>
                <c:pt idx="38">
                  <c:v>0.65</c:v>
                </c:pt>
                <c:pt idx="39">
                  <c:v>0.65</c:v>
                </c:pt>
                <c:pt idx="40">
                  <c:v>0.65</c:v>
                </c:pt>
                <c:pt idx="41">
                  <c:v>0.65</c:v>
                </c:pt>
                <c:pt idx="42">
                  <c:v>0.65</c:v>
                </c:pt>
                <c:pt idx="43">
                  <c:v>0.65</c:v>
                </c:pt>
                <c:pt idx="44">
                  <c:v>0.65</c:v>
                </c:pt>
                <c:pt idx="45">
                  <c:v>0.65</c:v>
                </c:pt>
                <c:pt idx="46">
                  <c:v>0.65</c:v>
                </c:pt>
                <c:pt idx="47">
                  <c:v>0.65</c:v>
                </c:pt>
                <c:pt idx="48">
                  <c:v>0.65</c:v>
                </c:pt>
                <c:pt idx="49">
                  <c:v>0.65</c:v>
                </c:pt>
                <c:pt idx="50">
                  <c:v>0.65</c:v>
                </c:pt>
                <c:pt idx="51">
                  <c:v>0.65</c:v>
                </c:pt>
                <c:pt idx="52">
                  <c:v>0.65</c:v>
                </c:pt>
                <c:pt idx="53">
                  <c:v>0.65</c:v>
                </c:pt>
                <c:pt idx="54">
                  <c:v>0.65</c:v>
                </c:pt>
                <c:pt idx="55">
                  <c:v>0.65</c:v>
                </c:pt>
                <c:pt idx="56">
                  <c:v>0.65</c:v>
                </c:pt>
                <c:pt idx="57">
                  <c:v>0.65</c:v>
                </c:pt>
                <c:pt idx="58">
                  <c:v>0.65</c:v>
                </c:pt>
                <c:pt idx="59">
                  <c:v>0.65</c:v>
                </c:pt>
                <c:pt idx="60">
                  <c:v>0.65</c:v>
                </c:pt>
                <c:pt idx="61">
                  <c:v>0.65</c:v>
                </c:pt>
                <c:pt idx="62">
                  <c:v>0.65</c:v>
                </c:pt>
                <c:pt idx="63">
                  <c:v>0.65</c:v>
                </c:pt>
                <c:pt idx="64">
                  <c:v>0.65</c:v>
                </c:pt>
                <c:pt idx="65">
                  <c:v>0.65</c:v>
                </c:pt>
                <c:pt idx="66">
                  <c:v>0.65</c:v>
                </c:pt>
                <c:pt idx="67">
                  <c:v>0.65</c:v>
                </c:pt>
                <c:pt idx="68">
                  <c:v>0.65</c:v>
                </c:pt>
                <c:pt idx="69">
                  <c:v>0.65</c:v>
                </c:pt>
                <c:pt idx="70">
                  <c:v>0.65</c:v>
                </c:pt>
                <c:pt idx="71">
                  <c:v>0.65</c:v>
                </c:pt>
                <c:pt idx="72">
                  <c:v>0.65</c:v>
                </c:pt>
                <c:pt idx="73">
                  <c:v>0.65</c:v>
                </c:pt>
                <c:pt idx="74">
                  <c:v>0.65</c:v>
                </c:pt>
                <c:pt idx="75">
                  <c:v>0.65</c:v>
                </c:pt>
                <c:pt idx="76">
                  <c:v>0.65</c:v>
                </c:pt>
                <c:pt idx="77">
                  <c:v>0.65</c:v>
                </c:pt>
                <c:pt idx="78">
                  <c:v>0.65</c:v>
                </c:pt>
                <c:pt idx="79">
                  <c:v>0.65</c:v>
                </c:pt>
                <c:pt idx="80">
                  <c:v>0.65</c:v>
                </c:pt>
                <c:pt idx="81">
                  <c:v>0.65</c:v>
                </c:pt>
                <c:pt idx="82">
                  <c:v>0.65</c:v>
                </c:pt>
                <c:pt idx="83">
                  <c:v>0.65</c:v>
                </c:pt>
                <c:pt idx="84">
                  <c:v>0.65</c:v>
                </c:pt>
                <c:pt idx="85">
                  <c:v>0.65</c:v>
                </c:pt>
                <c:pt idx="86">
                  <c:v>0.65</c:v>
                </c:pt>
                <c:pt idx="87">
                  <c:v>0.65</c:v>
                </c:pt>
                <c:pt idx="88">
                  <c:v>0.65</c:v>
                </c:pt>
                <c:pt idx="89">
                  <c:v>0.65</c:v>
                </c:pt>
                <c:pt idx="90">
                  <c:v>0.65</c:v>
                </c:pt>
                <c:pt idx="91">
                  <c:v>0.65</c:v>
                </c:pt>
                <c:pt idx="92">
                  <c:v>0.65</c:v>
                </c:pt>
                <c:pt idx="93">
                  <c:v>0.65</c:v>
                </c:pt>
                <c:pt idx="94">
                  <c:v>0.65</c:v>
                </c:pt>
                <c:pt idx="95">
                  <c:v>0.65</c:v>
                </c:pt>
                <c:pt idx="96">
                  <c:v>0.65</c:v>
                </c:pt>
                <c:pt idx="97">
                  <c:v>0.65</c:v>
                </c:pt>
                <c:pt idx="98">
                  <c:v>0.65</c:v>
                </c:pt>
                <c:pt idx="99">
                  <c:v>0.65</c:v>
                </c:pt>
                <c:pt idx="100">
                  <c:v>0.65</c:v>
                </c:pt>
                <c:pt idx="101">
                  <c:v>0.65</c:v>
                </c:pt>
                <c:pt idx="102">
                  <c:v>0.65</c:v>
                </c:pt>
                <c:pt idx="103">
                  <c:v>0.65</c:v>
                </c:pt>
                <c:pt idx="104">
                  <c:v>0.65</c:v>
                </c:pt>
                <c:pt idx="105">
                  <c:v>0.65</c:v>
                </c:pt>
                <c:pt idx="106">
                  <c:v>0.65</c:v>
                </c:pt>
                <c:pt idx="107">
                  <c:v>0.65</c:v>
                </c:pt>
                <c:pt idx="108">
                  <c:v>0.65</c:v>
                </c:pt>
                <c:pt idx="109">
                  <c:v>0.65</c:v>
                </c:pt>
                <c:pt idx="110">
                  <c:v>0.65</c:v>
                </c:pt>
                <c:pt idx="111">
                  <c:v>0.65</c:v>
                </c:pt>
                <c:pt idx="112">
                  <c:v>0.65</c:v>
                </c:pt>
                <c:pt idx="113">
                  <c:v>0.65</c:v>
                </c:pt>
                <c:pt idx="114">
                  <c:v>0.65</c:v>
                </c:pt>
                <c:pt idx="115">
                  <c:v>0.65</c:v>
                </c:pt>
                <c:pt idx="116">
                  <c:v>0.65</c:v>
                </c:pt>
                <c:pt idx="117">
                  <c:v>0.65</c:v>
                </c:pt>
                <c:pt idx="118">
                  <c:v>0.65</c:v>
                </c:pt>
                <c:pt idx="119">
                  <c:v>0.65</c:v>
                </c:pt>
                <c:pt idx="120">
                  <c:v>0.65</c:v>
                </c:pt>
                <c:pt idx="121">
                  <c:v>0.65</c:v>
                </c:pt>
                <c:pt idx="122">
                  <c:v>0.65</c:v>
                </c:pt>
                <c:pt idx="123">
                  <c:v>0.65</c:v>
                </c:pt>
                <c:pt idx="124">
                  <c:v>0.65</c:v>
                </c:pt>
                <c:pt idx="125">
                  <c:v>0.65</c:v>
                </c:pt>
                <c:pt idx="126">
                  <c:v>0.65</c:v>
                </c:pt>
                <c:pt idx="127">
                  <c:v>0.65</c:v>
                </c:pt>
                <c:pt idx="128">
                  <c:v>0.65</c:v>
                </c:pt>
                <c:pt idx="129">
                  <c:v>0.65</c:v>
                </c:pt>
                <c:pt idx="130">
                  <c:v>0.65</c:v>
                </c:pt>
                <c:pt idx="131">
                  <c:v>0.65</c:v>
                </c:pt>
                <c:pt idx="132">
                  <c:v>0.65</c:v>
                </c:pt>
                <c:pt idx="133">
                  <c:v>0.65</c:v>
                </c:pt>
                <c:pt idx="134">
                  <c:v>0.65</c:v>
                </c:pt>
                <c:pt idx="135">
                  <c:v>0.65</c:v>
                </c:pt>
                <c:pt idx="136">
                  <c:v>0.65</c:v>
                </c:pt>
                <c:pt idx="137">
                  <c:v>0.65</c:v>
                </c:pt>
                <c:pt idx="138">
                  <c:v>0.65</c:v>
                </c:pt>
                <c:pt idx="139">
                  <c:v>0.65</c:v>
                </c:pt>
                <c:pt idx="140">
                  <c:v>0.65</c:v>
                </c:pt>
                <c:pt idx="141">
                  <c:v>0.65</c:v>
                </c:pt>
                <c:pt idx="142">
                  <c:v>0.65</c:v>
                </c:pt>
                <c:pt idx="143">
                  <c:v>0.65</c:v>
                </c:pt>
                <c:pt idx="144">
                  <c:v>0.65</c:v>
                </c:pt>
                <c:pt idx="145">
                  <c:v>0.65</c:v>
                </c:pt>
                <c:pt idx="146">
                  <c:v>0.65</c:v>
                </c:pt>
                <c:pt idx="147">
                  <c:v>0.65</c:v>
                </c:pt>
                <c:pt idx="148">
                  <c:v>0.65</c:v>
                </c:pt>
                <c:pt idx="149">
                  <c:v>0.65</c:v>
                </c:pt>
                <c:pt idx="150">
                  <c:v>0.65</c:v>
                </c:pt>
                <c:pt idx="151">
                  <c:v>0.65</c:v>
                </c:pt>
                <c:pt idx="152">
                  <c:v>0.65</c:v>
                </c:pt>
                <c:pt idx="153">
                  <c:v>0.65</c:v>
                </c:pt>
                <c:pt idx="154">
                  <c:v>0.65</c:v>
                </c:pt>
                <c:pt idx="155">
                  <c:v>0.65</c:v>
                </c:pt>
                <c:pt idx="156">
                  <c:v>0.65</c:v>
                </c:pt>
                <c:pt idx="157">
                  <c:v>0.65</c:v>
                </c:pt>
                <c:pt idx="158">
                  <c:v>0.65</c:v>
                </c:pt>
                <c:pt idx="159">
                  <c:v>0.65</c:v>
                </c:pt>
                <c:pt idx="160">
                  <c:v>0.65</c:v>
                </c:pt>
                <c:pt idx="161">
                  <c:v>0.65</c:v>
                </c:pt>
                <c:pt idx="162">
                  <c:v>0.65</c:v>
                </c:pt>
                <c:pt idx="163">
                  <c:v>0.65</c:v>
                </c:pt>
                <c:pt idx="164">
                  <c:v>0.65</c:v>
                </c:pt>
                <c:pt idx="165">
                  <c:v>0.65</c:v>
                </c:pt>
                <c:pt idx="166">
                  <c:v>0.65</c:v>
                </c:pt>
                <c:pt idx="167">
                  <c:v>0.65</c:v>
                </c:pt>
                <c:pt idx="168">
                  <c:v>0.65</c:v>
                </c:pt>
                <c:pt idx="169">
                  <c:v>0.65</c:v>
                </c:pt>
                <c:pt idx="170">
                  <c:v>0.65</c:v>
                </c:pt>
                <c:pt idx="171">
                  <c:v>0.65</c:v>
                </c:pt>
                <c:pt idx="172">
                  <c:v>0.65</c:v>
                </c:pt>
                <c:pt idx="173">
                  <c:v>0.65</c:v>
                </c:pt>
                <c:pt idx="174">
                  <c:v>0.65</c:v>
                </c:pt>
                <c:pt idx="175">
                  <c:v>0.65</c:v>
                </c:pt>
                <c:pt idx="176">
                  <c:v>0.65</c:v>
                </c:pt>
                <c:pt idx="177">
                  <c:v>0.65</c:v>
                </c:pt>
                <c:pt idx="178">
                  <c:v>0.65</c:v>
                </c:pt>
                <c:pt idx="179">
                  <c:v>0.65</c:v>
                </c:pt>
                <c:pt idx="180">
                  <c:v>0.65</c:v>
                </c:pt>
                <c:pt idx="181">
                  <c:v>0.65</c:v>
                </c:pt>
                <c:pt idx="182">
                  <c:v>0.65</c:v>
                </c:pt>
                <c:pt idx="183">
                  <c:v>0.65</c:v>
                </c:pt>
                <c:pt idx="184">
                  <c:v>0.65</c:v>
                </c:pt>
                <c:pt idx="185">
                  <c:v>0.65</c:v>
                </c:pt>
                <c:pt idx="186">
                  <c:v>0.65</c:v>
                </c:pt>
                <c:pt idx="187">
                  <c:v>0.65</c:v>
                </c:pt>
                <c:pt idx="188">
                  <c:v>0.65</c:v>
                </c:pt>
                <c:pt idx="189">
                  <c:v>0.65</c:v>
                </c:pt>
                <c:pt idx="190">
                  <c:v>0.65</c:v>
                </c:pt>
                <c:pt idx="191">
                  <c:v>0.65</c:v>
                </c:pt>
                <c:pt idx="192">
                  <c:v>0.65</c:v>
                </c:pt>
                <c:pt idx="193">
                  <c:v>0.65</c:v>
                </c:pt>
                <c:pt idx="194">
                  <c:v>0.65</c:v>
                </c:pt>
                <c:pt idx="195">
                  <c:v>0.65</c:v>
                </c:pt>
                <c:pt idx="196">
                  <c:v>0.65</c:v>
                </c:pt>
                <c:pt idx="197">
                  <c:v>0.65</c:v>
                </c:pt>
                <c:pt idx="198">
                  <c:v>0.65</c:v>
                </c:pt>
                <c:pt idx="199">
                  <c:v>0.65</c:v>
                </c:pt>
                <c:pt idx="200">
                  <c:v>0.65</c:v>
                </c:pt>
                <c:pt idx="201">
                  <c:v>0.65</c:v>
                </c:pt>
                <c:pt idx="202">
                  <c:v>0.65</c:v>
                </c:pt>
                <c:pt idx="203">
                  <c:v>0.65</c:v>
                </c:pt>
                <c:pt idx="204">
                  <c:v>0.65</c:v>
                </c:pt>
                <c:pt idx="205">
                  <c:v>0.65</c:v>
                </c:pt>
                <c:pt idx="206">
                  <c:v>0.65</c:v>
                </c:pt>
                <c:pt idx="207">
                  <c:v>0.65</c:v>
                </c:pt>
                <c:pt idx="208">
                  <c:v>0.65</c:v>
                </c:pt>
                <c:pt idx="209">
                  <c:v>0.65</c:v>
                </c:pt>
                <c:pt idx="210">
                  <c:v>0.65</c:v>
                </c:pt>
                <c:pt idx="211">
                  <c:v>0.65</c:v>
                </c:pt>
                <c:pt idx="212">
                  <c:v>0.65</c:v>
                </c:pt>
                <c:pt idx="213">
                  <c:v>0.65</c:v>
                </c:pt>
                <c:pt idx="214">
                  <c:v>0.65</c:v>
                </c:pt>
                <c:pt idx="215">
                  <c:v>0.65</c:v>
                </c:pt>
                <c:pt idx="216">
                  <c:v>0.65</c:v>
                </c:pt>
                <c:pt idx="217">
                  <c:v>0.65</c:v>
                </c:pt>
                <c:pt idx="218">
                  <c:v>0.65</c:v>
                </c:pt>
                <c:pt idx="219">
                  <c:v>0.65</c:v>
                </c:pt>
                <c:pt idx="220">
                  <c:v>0.65</c:v>
                </c:pt>
                <c:pt idx="221">
                  <c:v>0.65</c:v>
                </c:pt>
                <c:pt idx="222">
                  <c:v>0.65</c:v>
                </c:pt>
                <c:pt idx="223">
                  <c:v>0.65</c:v>
                </c:pt>
                <c:pt idx="224">
                  <c:v>0.65</c:v>
                </c:pt>
                <c:pt idx="225">
                  <c:v>0.65</c:v>
                </c:pt>
                <c:pt idx="226">
                  <c:v>0.65</c:v>
                </c:pt>
                <c:pt idx="227">
                  <c:v>0.65</c:v>
                </c:pt>
                <c:pt idx="228">
                  <c:v>0.65</c:v>
                </c:pt>
                <c:pt idx="229">
                  <c:v>0.65</c:v>
                </c:pt>
                <c:pt idx="230">
                  <c:v>0.65</c:v>
                </c:pt>
                <c:pt idx="231">
                  <c:v>0.65</c:v>
                </c:pt>
                <c:pt idx="232">
                  <c:v>0.65</c:v>
                </c:pt>
                <c:pt idx="233">
                  <c:v>0.65</c:v>
                </c:pt>
                <c:pt idx="234">
                  <c:v>0.65</c:v>
                </c:pt>
                <c:pt idx="235">
                  <c:v>0.65</c:v>
                </c:pt>
                <c:pt idx="236">
                  <c:v>0.65</c:v>
                </c:pt>
                <c:pt idx="237">
                  <c:v>0.65</c:v>
                </c:pt>
                <c:pt idx="238">
                  <c:v>0.65</c:v>
                </c:pt>
                <c:pt idx="239">
                  <c:v>0.65</c:v>
                </c:pt>
                <c:pt idx="240">
                  <c:v>0.65</c:v>
                </c:pt>
                <c:pt idx="241">
                  <c:v>0.65</c:v>
                </c:pt>
                <c:pt idx="242">
                  <c:v>0.65</c:v>
                </c:pt>
                <c:pt idx="243">
                  <c:v>0.65</c:v>
                </c:pt>
                <c:pt idx="244">
                  <c:v>0.65</c:v>
                </c:pt>
                <c:pt idx="245">
                  <c:v>0.65</c:v>
                </c:pt>
                <c:pt idx="246">
                  <c:v>0.65</c:v>
                </c:pt>
                <c:pt idx="247">
                  <c:v>0.65</c:v>
                </c:pt>
                <c:pt idx="248">
                  <c:v>0.65</c:v>
                </c:pt>
                <c:pt idx="249">
                  <c:v>0.65</c:v>
                </c:pt>
                <c:pt idx="250">
                  <c:v>0.65</c:v>
                </c:pt>
                <c:pt idx="251">
                  <c:v>0.65</c:v>
                </c:pt>
                <c:pt idx="252">
                  <c:v>0.65</c:v>
                </c:pt>
                <c:pt idx="253">
                  <c:v>0.65</c:v>
                </c:pt>
                <c:pt idx="254">
                  <c:v>0.65</c:v>
                </c:pt>
                <c:pt idx="255">
                  <c:v>0.65</c:v>
                </c:pt>
                <c:pt idx="256">
                  <c:v>0.65</c:v>
                </c:pt>
                <c:pt idx="257">
                  <c:v>0.65</c:v>
                </c:pt>
                <c:pt idx="258">
                  <c:v>0.65</c:v>
                </c:pt>
                <c:pt idx="259">
                  <c:v>0.65</c:v>
                </c:pt>
                <c:pt idx="260">
                  <c:v>0.65</c:v>
                </c:pt>
                <c:pt idx="261">
                  <c:v>0.65</c:v>
                </c:pt>
                <c:pt idx="262">
                  <c:v>0.65</c:v>
                </c:pt>
                <c:pt idx="263">
                  <c:v>0.65</c:v>
                </c:pt>
                <c:pt idx="264">
                  <c:v>0.65</c:v>
                </c:pt>
                <c:pt idx="265">
                  <c:v>0.65</c:v>
                </c:pt>
                <c:pt idx="266">
                  <c:v>0.65</c:v>
                </c:pt>
                <c:pt idx="267">
                  <c:v>0.65</c:v>
                </c:pt>
                <c:pt idx="268">
                  <c:v>0.65</c:v>
                </c:pt>
                <c:pt idx="269">
                  <c:v>0.65</c:v>
                </c:pt>
                <c:pt idx="270">
                  <c:v>0.65</c:v>
                </c:pt>
                <c:pt idx="271">
                  <c:v>0.65</c:v>
                </c:pt>
                <c:pt idx="272">
                  <c:v>0.65</c:v>
                </c:pt>
                <c:pt idx="273">
                  <c:v>0.65</c:v>
                </c:pt>
                <c:pt idx="274">
                  <c:v>0.65</c:v>
                </c:pt>
                <c:pt idx="275">
                  <c:v>0.65</c:v>
                </c:pt>
                <c:pt idx="276">
                  <c:v>0.65</c:v>
                </c:pt>
                <c:pt idx="277">
                  <c:v>0.65</c:v>
                </c:pt>
                <c:pt idx="278">
                  <c:v>0.65</c:v>
                </c:pt>
                <c:pt idx="279">
                  <c:v>0.65</c:v>
                </c:pt>
                <c:pt idx="280">
                  <c:v>0.65</c:v>
                </c:pt>
                <c:pt idx="281">
                  <c:v>0.65</c:v>
                </c:pt>
                <c:pt idx="282">
                  <c:v>0.65</c:v>
                </c:pt>
                <c:pt idx="283">
                  <c:v>0.65</c:v>
                </c:pt>
                <c:pt idx="284">
                  <c:v>0.65</c:v>
                </c:pt>
                <c:pt idx="285">
                  <c:v>0.65</c:v>
                </c:pt>
                <c:pt idx="286">
                  <c:v>0.65</c:v>
                </c:pt>
                <c:pt idx="287">
                  <c:v>0.65</c:v>
                </c:pt>
                <c:pt idx="288">
                  <c:v>0.65</c:v>
                </c:pt>
                <c:pt idx="289">
                  <c:v>0.65</c:v>
                </c:pt>
                <c:pt idx="290">
                  <c:v>0.65</c:v>
                </c:pt>
                <c:pt idx="291">
                  <c:v>0.65</c:v>
                </c:pt>
                <c:pt idx="292">
                  <c:v>0.65</c:v>
                </c:pt>
                <c:pt idx="293">
                  <c:v>0.65</c:v>
                </c:pt>
                <c:pt idx="294">
                  <c:v>0.65</c:v>
                </c:pt>
                <c:pt idx="295">
                  <c:v>0.65</c:v>
                </c:pt>
                <c:pt idx="296">
                  <c:v>0.65</c:v>
                </c:pt>
                <c:pt idx="297">
                  <c:v>0.65</c:v>
                </c:pt>
                <c:pt idx="298">
                  <c:v>0.65</c:v>
                </c:pt>
                <c:pt idx="299">
                  <c:v>0.65</c:v>
                </c:pt>
                <c:pt idx="300">
                  <c:v>0.65</c:v>
                </c:pt>
                <c:pt idx="301">
                  <c:v>0.65</c:v>
                </c:pt>
                <c:pt idx="302">
                  <c:v>0.65</c:v>
                </c:pt>
                <c:pt idx="303">
                  <c:v>0.65</c:v>
                </c:pt>
                <c:pt idx="304">
                  <c:v>0.65</c:v>
                </c:pt>
                <c:pt idx="305">
                  <c:v>0.65</c:v>
                </c:pt>
                <c:pt idx="306">
                  <c:v>0.65</c:v>
                </c:pt>
                <c:pt idx="307">
                  <c:v>0.65</c:v>
                </c:pt>
                <c:pt idx="308">
                  <c:v>0.65</c:v>
                </c:pt>
                <c:pt idx="309">
                  <c:v>0.65</c:v>
                </c:pt>
                <c:pt idx="310">
                  <c:v>0.65</c:v>
                </c:pt>
                <c:pt idx="311">
                  <c:v>0.65</c:v>
                </c:pt>
                <c:pt idx="312">
                  <c:v>0.65</c:v>
                </c:pt>
                <c:pt idx="313">
                  <c:v>0.65</c:v>
                </c:pt>
                <c:pt idx="314">
                  <c:v>0.65</c:v>
                </c:pt>
                <c:pt idx="315">
                  <c:v>0.65</c:v>
                </c:pt>
                <c:pt idx="316">
                  <c:v>0.65</c:v>
                </c:pt>
                <c:pt idx="317">
                  <c:v>0.65</c:v>
                </c:pt>
                <c:pt idx="318">
                  <c:v>0.65</c:v>
                </c:pt>
                <c:pt idx="319">
                  <c:v>#N/A</c:v>
                </c:pt>
                <c:pt idx="320">
                  <c:v>#N/A</c:v>
                </c:pt>
                <c:pt idx="321">
                  <c:v>#N/A</c:v>
                </c:pt>
                <c:pt idx="322">
                  <c:v>#N/A</c:v>
                </c:pt>
                <c:pt idx="323">
                  <c:v>0.65</c:v>
                </c:pt>
                <c:pt idx="324">
                  <c:v>0.65</c:v>
                </c:pt>
                <c:pt idx="325">
                  <c:v>0.65</c:v>
                </c:pt>
                <c:pt idx="326">
                  <c:v>0.65</c:v>
                </c:pt>
                <c:pt idx="327">
                  <c:v>0.65</c:v>
                </c:pt>
                <c:pt idx="328">
                  <c:v>0.65</c:v>
                </c:pt>
                <c:pt idx="329">
                  <c:v>0.65</c:v>
                </c:pt>
                <c:pt idx="330">
                  <c:v>0.65</c:v>
                </c:pt>
                <c:pt idx="331">
                  <c:v>0.65</c:v>
                </c:pt>
                <c:pt idx="332">
                  <c:v>0.65</c:v>
                </c:pt>
                <c:pt idx="333">
                  <c:v>0.65</c:v>
                </c:pt>
                <c:pt idx="334">
                  <c:v>0.65</c:v>
                </c:pt>
                <c:pt idx="335">
                  <c:v>0.65</c:v>
                </c:pt>
                <c:pt idx="336">
                  <c:v>0.65</c:v>
                </c:pt>
                <c:pt idx="337">
                  <c:v>0.65</c:v>
                </c:pt>
                <c:pt idx="338">
                  <c:v>0.65</c:v>
                </c:pt>
                <c:pt idx="339">
                  <c:v>0.65</c:v>
                </c:pt>
                <c:pt idx="340">
                  <c:v>0.65</c:v>
                </c:pt>
                <c:pt idx="341">
                  <c:v>0.65</c:v>
                </c:pt>
                <c:pt idx="342">
                  <c:v>0.65</c:v>
                </c:pt>
                <c:pt idx="343">
                  <c:v>0.65</c:v>
                </c:pt>
                <c:pt idx="344">
                  <c:v>0.65</c:v>
                </c:pt>
                <c:pt idx="345">
                  <c:v>0.65</c:v>
                </c:pt>
                <c:pt idx="346">
                  <c:v>0.65</c:v>
                </c:pt>
                <c:pt idx="347">
                  <c:v>0.65</c:v>
                </c:pt>
                <c:pt idx="348">
                  <c:v>0.65</c:v>
                </c:pt>
                <c:pt idx="349">
                  <c:v>0.65</c:v>
                </c:pt>
                <c:pt idx="350">
                  <c:v>0.65</c:v>
                </c:pt>
                <c:pt idx="351">
                  <c:v>0.65</c:v>
                </c:pt>
                <c:pt idx="352">
                  <c:v>0.65</c:v>
                </c:pt>
                <c:pt idx="353">
                  <c:v>0.65</c:v>
                </c:pt>
                <c:pt idx="354">
                  <c:v>0.65</c:v>
                </c:pt>
                <c:pt idx="355">
                  <c:v>0.65</c:v>
                </c:pt>
                <c:pt idx="356">
                  <c:v>0.65</c:v>
                </c:pt>
                <c:pt idx="357">
                  <c:v>0.65</c:v>
                </c:pt>
                <c:pt idx="358">
                  <c:v>0.65</c:v>
                </c:pt>
                <c:pt idx="359">
                  <c:v>0.65</c:v>
                </c:pt>
                <c:pt idx="360">
                  <c:v>0.65</c:v>
                </c:pt>
                <c:pt idx="361">
                  <c:v>0.65</c:v>
                </c:pt>
                <c:pt idx="362">
                  <c:v>0.65</c:v>
                </c:pt>
                <c:pt idx="363">
                  <c:v>0.65</c:v>
                </c:pt>
                <c:pt idx="364">
                  <c:v>0.65</c:v>
                </c:pt>
                <c:pt idx="365">
                  <c:v>0.65</c:v>
                </c:pt>
                <c:pt idx="366">
                  <c:v>0.65</c:v>
                </c:pt>
                <c:pt idx="367">
                  <c:v>0.65</c:v>
                </c:pt>
                <c:pt idx="368">
                  <c:v>0.65</c:v>
                </c:pt>
                <c:pt idx="369">
                  <c:v>0.65</c:v>
                </c:pt>
                <c:pt idx="370">
                  <c:v>0.65</c:v>
                </c:pt>
                <c:pt idx="371">
                  <c:v>0.65</c:v>
                </c:pt>
                <c:pt idx="372">
                  <c:v>0.65</c:v>
                </c:pt>
                <c:pt idx="373">
                  <c:v>0.65</c:v>
                </c:pt>
                <c:pt idx="374">
                  <c:v>0.65</c:v>
                </c:pt>
                <c:pt idx="375">
                  <c:v>0.65</c:v>
                </c:pt>
                <c:pt idx="376">
                  <c:v>0.65</c:v>
                </c:pt>
                <c:pt idx="377">
                  <c:v>0.65</c:v>
                </c:pt>
                <c:pt idx="378">
                  <c:v>0.65</c:v>
                </c:pt>
                <c:pt idx="379">
                  <c:v>0.65</c:v>
                </c:pt>
                <c:pt idx="380">
                  <c:v>0.65</c:v>
                </c:pt>
                <c:pt idx="381">
                  <c:v>0.65</c:v>
                </c:pt>
                <c:pt idx="382">
                  <c:v>0.65</c:v>
                </c:pt>
                <c:pt idx="383">
                  <c:v>0.65</c:v>
                </c:pt>
                <c:pt idx="384">
                  <c:v>0.65</c:v>
                </c:pt>
                <c:pt idx="385">
                  <c:v>0.65</c:v>
                </c:pt>
                <c:pt idx="386">
                  <c:v>0.65</c:v>
                </c:pt>
                <c:pt idx="387">
                  <c:v>0.65</c:v>
                </c:pt>
                <c:pt idx="388">
                  <c:v>0.65</c:v>
                </c:pt>
                <c:pt idx="389">
                  <c:v>0.65</c:v>
                </c:pt>
                <c:pt idx="390">
                  <c:v>0.65</c:v>
                </c:pt>
                <c:pt idx="391">
                  <c:v>0.65</c:v>
                </c:pt>
                <c:pt idx="392">
                  <c:v>0.65</c:v>
                </c:pt>
                <c:pt idx="393">
                  <c:v>0.65</c:v>
                </c:pt>
                <c:pt idx="394">
                  <c:v>0.65</c:v>
                </c:pt>
                <c:pt idx="395">
                  <c:v>0.65</c:v>
                </c:pt>
                <c:pt idx="396">
                  <c:v>0.65</c:v>
                </c:pt>
                <c:pt idx="397">
                  <c:v>0.65</c:v>
                </c:pt>
                <c:pt idx="398">
                  <c:v>0.65</c:v>
                </c:pt>
                <c:pt idx="399">
                  <c:v>0.65</c:v>
                </c:pt>
                <c:pt idx="400">
                  <c:v>0.65</c:v>
                </c:pt>
                <c:pt idx="401">
                  <c:v>0.65</c:v>
                </c:pt>
                <c:pt idx="402">
                  <c:v>0.65</c:v>
                </c:pt>
                <c:pt idx="403">
                  <c:v>0.65</c:v>
                </c:pt>
                <c:pt idx="404">
                  <c:v>0.65</c:v>
                </c:pt>
                <c:pt idx="405">
                  <c:v>0.65</c:v>
                </c:pt>
                <c:pt idx="406">
                  <c:v>0.65</c:v>
                </c:pt>
                <c:pt idx="407">
                  <c:v>0.65</c:v>
                </c:pt>
                <c:pt idx="408">
                  <c:v>0.65</c:v>
                </c:pt>
                <c:pt idx="409">
                  <c:v>0.65</c:v>
                </c:pt>
                <c:pt idx="410">
                  <c:v>0.65</c:v>
                </c:pt>
                <c:pt idx="411">
                  <c:v>0.65</c:v>
                </c:pt>
                <c:pt idx="412">
                  <c:v>0.65</c:v>
                </c:pt>
                <c:pt idx="413">
                  <c:v>0.65</c:v>
                </c:pt>
                <c:pt idx="414">
                  <c:v>0.65</c:v>
                </c:pt>
                <c:pt idx="415">
                  <c:v>0.65</c:v>
                </c:pt>
                <c:pt idx="416">
                  <c:v>0.65</c:v>
                </c:pt>
                <c:pt idx="417">
                  <c:v>0.65</c:v>
                </c:pt>
                <c:pt idx="418">
                  <c:v>0.65</c:v>
                </c:pt>
                <c:pt idx="419">
                  <c:v>0.65</c:v>
                </c:pt>
                <c:pt idx="420">
                  <c:v>0.65</c:v>
                </c:pt>
                <c:pt idx="421">
                  <c:v>0.65</c:v>
                </c:pt>
                <c:pt idx="422">
                  <c:v>0.65</c:v>
                </c:pt>
                <c:pt idx="423">
                  <c:v>0.65</c:v>
                </c:pt>
                <c:pt idx="424">
                  <c:v>0.65</c:v>
                </c:pt>
                <c:pt idx="425">
                  <c:v>0.65</c:v>
                </c:pt>
                <c:pt idx="426">
                  <c:v>0.65</c:v>
                </c:pt>
                <c:pt idx="427">
                  <c:v>0.65</c:v>
                </c:pt>
                <c:pt idx="428">
                  <c:v>0.65</c:v>
                </c:pt>
                <c:pt idx="429">
                  <c:v>0.65</c:v>
                </c:pt>
                <c:pt idx="430">
                  <c:v>0.65</c:v>
                </c:pt>
                <c:pt idx="431">
                  <c:v>0.65</c:v>
                </c:pt>
                <c:pt idx="432">
                  <c:v>0.65</c:v>
                </c:pt>
                <c:pt idx="433">
                  <c:v>0.65</c:v>
                </c:pt>
                <c:pt idx="434">
                  <c:v>0.65</c:v>
                </c:pt>
                <c:pt idx="435">
                  <c:v>0.65</c:v>
                </c:pt>
                <c:pt idx="436">
                  <c:v>0.65</c:v>
                </c:pt>
                <c:pt idx="437">
                  <c:v>0.65</c:v>
                </c:pt>
                <c:pt idx="438">
                  <c:v>0.65</c:v>
                </c:pt>
                <c:pt idx="439">
                  <c:v>0.65</c:v>
                </c:pt>
                <c:pt idx="440">
                  <c:v>0.65</c:v>
                </c:pt>
                <c:pt idx="441">
                  <c:v>0.65</c:v>
                </c:pt>
                <c:pt idx="442">
                  <c:v>0.65</c:v>
                </c:pt>
                <c:pt idx="443">
                  <c:v>0.65</c:v>
                </c:pt>
                <c:pt idx="444">
                  <c:v>0.65</c:v>
                </c:pt>
                <c:pt idx="445">
                  <c:v>0.65</c:v>
                </c:pt>
                <c:pt idx="446">
                  <c:v>0.65</c:v>
                </c:pt>
                <c:pt idx="447">
                  <c:v>0.65</c:v>
                </c:pt>
                <c:pt idx="448">
                  <c:v>0.65</c:v>
                </c:pt>
                <c:pt idx="449">
                  <c:v>0.65</c:v>
                </c:pt>
                <c:pt idx="450">
                  <c:v>0.65</c:v>
                </c:pt>
                <c:pt idx="451">
                  <c:v>0.65</c:v>
                </c:pt>
                <c:pt idx="452">
                  <c:v>0.65</c:v>
                </c:pt>
                <c:pt idx="453">
                  <c:v>0.65</c:v>
                </c:pt>
                <c:pt idx="454">
                  <c:v>0.65</c:v>
                </c:pt>
                <c:pt idx="455">
                  <c:v>0.65</c:v>
                </c:pt>
                <c:pt idx="456">
                  <c:v>0.65</c:v>
                </c:pt>
                <c:pt idx="457">
                  <c:v>0.65</c:v>
                </c:pt>
                <c:pt idx="458">
                  <c:v>0.65</c:v>
                </c:pt>
                <c:pt idx="459">
                  <c:v>0.65</c:v>
                </c:pt>
                <c:pt idx="460">
                  <c:v>0.65</c:v>
                </c:pt>
                <c:pt idx="461">
                  <c:v>0.65</c:v>
                </c:pt>
                <c:pt idx="462">
                  <c:v>0.65</c:v>
                </c:pt>
                <c:pt idx="463">
                  <c:v>0.65</c:v>
                </c:pt>
                <c:pt idx="464">
                  <c:v>0.65</c:v>
                </c:pt>
                <c:pt idx="465">
                  <c:v>0.65</c:v>
                </c:pt>
                <c:pt idx="466">
                  <c:v>0.65</c:v>
                </c:pt>
                <c:pt idx="467">
                  <c:v>0.65</c:v>
                </c:pt>
                <c:pt idx="468">
                  <c:v>0.65</c:v>
                </c:pt>
                <c:pt idx="469">
                  <c:v>0.65</c:v>
                </c:pt>
                <c:pt idx="470">
                  <c:v>0.65</c:v>
                </c:pt>
                <c:pt idx="471">
                  <c:v>0.65</c:v>
                </c:pt>
                <c:pt idx="472">
                  <c:v>0.65</c:v>
                </c:pt>
                <c:pt idx="473">
                  <c:v>0.65</c:v>
                </c:pt>
                <c:pt idx="474">
                  <c:v>0.65</c:v>
                </c:pt>
                <c:pt idx="475">
                  <c:v>0.65</c:v>
                </c:pt>
                <c:pt idx="476">
                  <c:v>0.65</c:v>
                </c:pt>
                <c:pt idx="477">
                  <c:v>0.65</c:v>
                </c:pt>
                <c:pt idx="478">
                  <c:v>0.65</c:v>
                </c:pt>
                <c:pt idx="479">
                  <c:v>0.65</c:v>
                </c:pt>
                <c:pt idx="480">
                  <c:v>0.65</c:v>
                </c:pt>
                <c:pt idx="481">
                  <c:v>0.65</c:v>
                </c:pt>
                <c:pt idx="482">
                  <c:v>0.65</c:v>
                </c:pt>
                <c:pt idx="483">
                  <c:v>0.65</c:v>
                </c:pt>
                <c:pt idx="484">
                  <c:v>0.65</c:v>
                </c:pt>
                <c:pt idx="485">
                  <c:v>0.65</c:v>
                </c:pt>
                <c:pt idx="486">
                  <c:v>0.65</c:v>
                </c:pt>
                <c:pt idx="487">
                  <c:v>0.65</c:v>
                </c:pt>
                <c:pt idx="488">
                  <c:v>0.65</c:v>
                </c:pt>
                <c:pt idx="489">
                  <c:v>0.65</c:v>
                </c:pt>
                <c:pt idx="490">
                  <c:v>0.65</c:v>
                </c:pt>
                <c:pt idx="491">
                  <c:v>0.65</c:v>
                </c:pt>
                <c:pt idx="492">
                  <c:v>0.65</c:v>
                </c:pt>
                <c:pt idx="493">
                  <c:v>0.65</c:v>
                </c:pt>
                <c:pt idx="494">
                  <c:v>0.65</c:v>
                </c:pt>
                <c:pt idx="495">
                  <c:v>0.65</c:v>
                </c:pt>
                <c:pt idx="496">
                  <c:v>0.65</c:v>
                </c:pt>
                <c:pt idx="497">
                  <c:v>0.65</c:v>
                </c:pt>
                <c:pt idx="498">
                  <c:v>0.65</c:v>
                </c:pt>
                <c:pt idx="499">
                  <c:v>0.65</c:v>
                </c:pt>
                <c:pt idx="500">
                  <c:v>0.65</c:v>
                </c:pt>
                <c:pt idx="501">
                  <c:v>0.65</c:v>
                </c:pt>
                <c:pt idx="502">
                  <c:v>0.65</c:v>
                </c:pt>
                <c:pt idx="503">
                  <c:v>0.65</c:v>
                </c:pt>
                <c:pt idx="504">
                  <c:v>0.65</c:v>
                </c:pt>
                <c:pt idx="505">
                  <c:v>0.65</c:v>
                </c:pt>
                <c:pt idx="506">
                  <c:v>0.65</c:v>
                </c:pt>
                <c:pt idx="507">
                  <c:v>0.65</c:v>
                </c:pt>
                <c:pt idx="508">
                  <c:v>0.65</c:v>
                </c:pt>
                <c:pt idx="509">
                  <c:v>0.65</c:v>
                </c:pt>
                <c:pt idx="510">
                  <c:v>0.65</c:v>
                </c:pt>
                <c:pt idx="511">
                  <c:v>0.65</c:v>
                </c:pt>
                <c:pt idx="512">
                  <c:v>0.65</c:v>
                </c:pt>
                <c:pt idx="513">
                  <c:v>0.65</c:v>
                </c:pt>
                <c:pt idx="514">
                  <c:v>0.65</c:v>
                </c:pt>
                <c:pt idx="515">
                  <c:v>0.65</c:v>
                </c:pt>
                <c:pt idx="516">
                  <c:v>0.65</c:v>
                </c:pt>
                <c:pt idx="517">
                  <c:v>0.65</c:v>
                </c:pt>
                <c:pt idx="518">
                  <c:v>0.65</c:v>
                </c:pt>
                <c:pt idx="519">
                  <c:v>0.65</c:v>
                </c:pt>
                <c:pt idx="520">
                  <c:v>0.65</c:v>
                </c:pt>
                <c:pt idx="521">
                  <c:v>0.65</c:v>
                </c:pt>
                <c:pt idx="522">
                  <c:v>0.65</c:v>
                </c:pt>
                <c:pt idx="523">
                  <c:v>0.65</c:v>
                </c:pt>
                <c:pt idx="524">
                  <c:v>0.65</c:v>
                </c:pt>
                <c:pt idx="525">
                  <c:v>0.65</c:v>
                </c:pt>
                <c:pt idx="526">
                  <c:v>0.65</c:v>
                </c:pt>
                <c:pt idx="527">
                  <c:v>0.65</c:v>
                </c:pt>
                <c:pt idx="528">
                  <c:v>0.65</c:v>
                </c:pt>
                <c:pt idx="529">
                  <c:v>0.65</c:v>
                </c:pt>
                <c:pt idx="530">
                  <c:v>0.65</c:v>
                </c:pt>
                <c:pt idx="531">
                  <c:v>0.65</c:v>
                </c:pt>
                <c:pt idx="532">
                  <c:v>0.65</c:v>
                </c:pt>
                <c:pt idx="533">
                  <c:v>0.65</c:v>
                </c:pt>
                <c:pt idx="534">
                  <c:v>0.65</c:v>
                </c:pt>
                <c:pt idx="535">
                  <c:v>0.65</c:v>
                </c:pt>
                <c:pt idx="536">
                  <c:v>0.65</c:v>
                </c:pt>
                <c:pt idx="537">
                  <c:v>0.65</c:v>
                </c:pt>
                <c:pt idx="538">
                  <c:v>0.65</c:v>
                </c:pt>
                <c:pt idx="539">
                  <c:v>0.65</c:v>
                </c:pt>
                <c:pt idx="540">
                  <c:v>0.65</c:v>
                </c:pt>
                <c:pt idx="541">
                  <c:v>0.65</c:v>
                </c:pt>
                <c:pt idx="542">
                  <c:v>0.65</c:v>
                </c:pt>
                <c:pt idx="543">
                  <c:v>0.65</c:v>
                </c:pt>
                <c:pt idx="544">
                  <c:v>0.65</c:v>
                </c:pt>
                <c:pt idx="545">
                  <c:v>0.65</c:v>
                </c:pt>
                <c:pt idx="546">
                  <c:v>0.65</c:v>
                </c:pt>
                <c:pt idx="547">
                  <c:v>0.65</c:v>
                </c:pt>
                <c:pt idx="548">
                  <c:v>0.65</c:v>
                </c:pt>
                <c:pt idx="549">
                  <c:v>0.65</c:v>
                </c:pt>
                <c:pt idx="550">
                  <c:v>0.65</c:v>
                </c:pt>
                <c:pt idx="551">
                  <c:v>0.65</c:v>
                </c:pt>
                <c:pt idx="552">
                  <c:v>0.65</c:v>
                </c:pt>
                <c:pt idx="553">
                  <c:v>0.65</c:v>
                </c:pt>
                <c:pt idx="554">
                  <c:v>0.65</c:v>
                </c:pt>
                <c:pt idx="555">
                  <c:v>0.65</c:v>
                </c:pt>
                <c:pt idx="556">
                  <c:v>0.65</c:v>
                </c:pt>
                <c:pt idx="557">
                  <c:v>0.65</c:v>
                </c:pt>
                <c:pt idx="558">
                  <c:v>0.65</c:v>
                </c:pt>
                <c:pt idx="559">
                  <c:v>0.65</c:v>
                </c:pt>
                <c:pt idx="560">
                  <c:v>0.65</c:v>
                </c:pt>
                <c:pt idx="561">
                  <c:v>0.65</c:v>
                </c:pt>
                <c:pt idx="562">
                  <c:v>0.65</c:v>
                </c:pt>
                <c:pt idx="563">
                  <c:v>0.65</c:v>
                </c:pt>
                <c:pt idx="564">
                  <c:v>0.65</c:v>
                </c:pt>
                <c:pt idx="565">
                  <c:v>0.65</c:v>
                </c:pt>
                <c:pt idx="566">
                  <c:v>0.65</c:v>
                </c:pt>
                <c:pt idx="567">
                  <c:v>0.65</c:v>
                </c:pt>
                <c:pt idx="568">
                  <c:v>0.65</c:v>
                </c:pt>
                <c:pt idx="569">
                  <c:v>0.65</c:v>
                </c:pt>
                <c:pt idx="570">
                  <c:v>0.65</c:v>
                </c:pt>
                <c:pt idx="571">
                  <c:v>0.65</c:v>
                </c:pt>
                <c:pt idx="572">
                  <c:v>0.65</c:v>
                </c:pt>
                <c:pt idx="573">
                  <c:v>0.65</c:v>
                </c:pt>
                <c:pt idx="574">
                  <c:v>0.65</c:v>
                </c:pt>
                <c:pt idx="575">
                  <c:v>0.65</c:v>
                </c:pt>
                <c:pt idx="576">
                  <c:v>0.65</c:v>
                </c:pt>
                <c:pt idx="577">
                  <c:v>0.65</c:v>
                </c:pt>
                <c:pt idx="578">
                  <c:v>0.65</c:v>
                </c:pt>
                <c:pt idx="579">
                  <c:v>0.65</c:v>
                </c:pt>
                <c:pt idx="580">
                  <c:v>0.65</c:v>
                </c:pt>
                <c:pt idx="581">
                  <c:v>0.65</c:v>
                </c:pt>
                <c:pt idx="582">
                  <c:v>0.65</c:v>
                </c:pt>
                <c:pt idx="583">
                  <c:v>0.65</c:v>
                </c:pt>
                <c:pt idx="584">
                  <c:v>0.65</c:v>
                </c:pt>
                <c:pt idx="585">
                  <c:v>0.65</c:v>
                </c:pt>
                <c:pt idx="586">
                  <c:v>0.65</c:v>
                </c:pt>
                <c:pt idx="587">
                  <c:v>0.65</c:v>
                </c:pt>
                <c:pt idx="588">
                  <c:v>0.65</c:v>
                </c:pt>
                <c:pt idx="589">
                  <c:v>0.65</c:v>
                </c:pt>
                <c:pt idx="590">
                  <c:v>0.65</c:v>
                </c:pt>
                <c:pt idx="591">
                  <c:v>0.65</c:v>
                </c:pt>
                <c:pt idx="592">
                  <c:v>0.65</c:v>
                </c:pt>
                <c:pt idx="593">
                  <c:v>0.65</c:v>
                </c:pt>
                <c:pt idx="594">
                  <c:v>0.65</c:v>
                </c:pt>
                <c:pt idx="595">
                  <c:v>0.65</c:v>
                </c:pt>
                <c:pt idx="596">
                  <c:v>0.65</c:v>
                </c:pt>
                <c:pt idx="597">
                  <c:v>0.65</c:v>
                </c:pt>
                <c:pt idx="598">
                  <c:v>0.65</c:v>
                </c:pt>
                <c:pt idx="599">
                  <c:v>0.65</c:v>
                </c:pt>
                <c:pt idx="600">
                  <c:v>0.65</c:v>
                </c:pt>
                <c:pt idx="601">
                  <c:v>0.65</c:v>
                </c:pt>
                <c:pt idx="602">
                  <c:v>0.65</c:v>
                </c:pt>
                <c:pt idx="603">
                  <c:v>0.65</c:v>
                </c:pt>
                <c:pt idx="604">
                  <c:v>0.65</c:v>
                </c:pt>
                <c:pt idx="605">
                  <c:v>0.65</c:v>
                </c:pt>
                <c:pt idx="606">
                  <c:v>0.65</c:v>
                </c:pt>
                <c:pt idx="607">
                  <c:v>0.65</c:v>
                </c:pt>
                <c:pt idx="608">
                  <c:v>0.65</c:v>
                </c:pt>
                <c:pt idx="609">
                  <c:v>0.65</c:v>
                </c:pt>
                <c:pt idx="610">
                  <c:v>0.65</c:v>
                </c:pt>
                <c:pt idx="611">
                  <c:v>0.65</c:v>
                </c:pt>
                <c:pt idx="612">
                  <c:v>0.65</c:v>
                </c:pt>
                <c:pt idx="613">
                  <c:v>0.65</c:v>
                </c:pt>
                <c:pt idx="614">
                  <c:v>0.65</c:v>
                </c:pt>
                <c:pt idx="615">
                  <c:v>0.65</c:v>
                </c:pt>
                <c:pt idx="616">
                  <c:v>0.65</c:v>
                </c:pt>
                <c:pt idx="617">
                  <c:v>0.65</c:v>
                </c:pt>
                <c:pt idx="618">
                  <c:v>0.65</c:v>
                </c:pt>
                <c:pt idx="619">
                  <c:v>0.65</c:v>
                </c:pt>
                <c:pt idx="620">
                  <c:v>0.65</c:v>
                </c:pt>
                <c:pt idx="621">
                  <c:v>0.65</c:v>
                </c:pt>
                <c:pt idx="622">
                  <c:v>0.65</c:v>
                </c:pt>
                <c:pt idx="623">
                  <c:v>0.65</c:v>
                </c:pt>
                <c:pt idx="624">
                  <c:v>0.65</c:v>
                </c:pt>
                <c:pt idx="625">
                  <c:v>0.65</c:v>
                </c:pt>
                <c:pt idx="626">
                  <c:v>0.65</c:v>
                </c:pt>
                <c:pt idx="627">
                  <c:v>0.65</c:v>
                </c:pt>
                <c:pt idx="628">
                  <c:v>0.65</c:v>
                </c:pt>
                <c:pt idx="629">
                  <c:v>0.65</c:v>
                </c:pt>
                <c:pt idx="630">
                  <c:v>0.65</c:v>
                </c:pt>
                <c:pt idx="631">
                  <c:v>0.65</c:v>
                </c:pt>
                <c:pt idx="632">
                  <c:v>0.65</c:v>
                </c:pt>
                <c:pt idx="633">
                  <c:v>0.65</c:v>
                </c:pt>
                <c:pt idx="634">
                  <c:v>0.65</c:v>
                </c:pt>
                <c:pt idx="635">
                  <c:v>0.65</c:v>
                </c:pt>
                <c:pt idx="636">
                  <c:v>0.65</c:v>
                </c:pt>
                <c:pt idx="637">
                  <c:v>0.65</c:v>
                </c:pt>
                <c:pt idx="638">
                  <c:v>0.65</c:v>
                </c:pt>
                <c:pt idx="639">
                  <c:v>0.65</c:v>
                </c:pt>
                <c:pt idx="640">
                  <c:v>0.65</c:v>
                </c:pt>
                <c:pt idx="641">
                  <c:v>0.65</c:v>
                </c:pt>
                <c:pt idx="642">
                  <c:v>0.65</c:v>
                </c:pt>
                <c:pt idx="643">
                  <c:v>0.65</c:v>
                </c:pt>
                <c:pt idx="644">
                  <c:v>0.65</c:v>
                </c:pt>
                <c:pt idx="645">
                  <c:v>0.65</c:v>
                </c:pt>
                <c:pt idx="646">
                  <c:v>0.65</c:v>
                </c:pt>
                <c:pt idx="647">
                  <c:v>0.65</c:v>
                </c:pt>
                <c:pt idx="648">
                  <c:v>0.65</c:v>
                </c:pt>
                <c:pt idx="649">
                  <c:v>0.65</c:v>
                </c:pt>
                <c:pt idx="650">
                  <c:v>0.65</c:v>
                </c:pt>
                <c:pt idx="651">
                  <c:v>0.65</c:v>
                </c:pt>
                <c:pt idx="652">
                  <c:v>0.65</c:v>
                </c:pt>
                <c:pt idx="653">
                  <c:v>0.65</c:v>
                </c:pt>
                <c:pt idx="654">
                  <c:v>0.65</c:v>
                </c:pt>
                <c:pt idx="655">
                  <c:v>0.65</c:v>
                </c:pt>
                <c:pt idx="656">
                  <c:v>0.65</c:v>
                </c:pt>
                <c:pt idx="657">
                  <c:v>0.65</c:v>
                </c:pt>
                <c:pt idx="658">
                  <c:v>0.65</c:v>
                </c:pt>
                <c:pt idx="659">
                  <c:v>0.65</c:v>
                </c:pt>
                <c:pt idx="660">
                  <c:v>0.65</c:v>
                </c:pt>
                <c:pt idx="661">
                  <c:v>0.65</c:v>
                </c:pt>
                <c:pt idx="662">
                  <c:v>0.65</c:v>
                </c:pt>
                <c:pt idx="663">
                  <c:v>0.65</c:v>
                </c:pt>
                <c:pt idx="664">
                  <c:v>0.65</c:v>
                </c:pt>
                <c:pt idx="665">
                  <c:v>0.65</c:v>
                </c:pt>
                <c:pt idx="666">
                  <c:v>0.65</c:v>
                </c:pt>
                <c:pt idx="667">
                  <c:v>0.65</c:v>
                </c:pt>
                <c:pt idx="668">
                  <c:v>0.65</c:v>
                </c:pt>
                <c:pt idx="669">
                  <c:v>0.65</c:v>
                </c:pt>
                <c:pt idx="670">
                  <c:v>0.65</c:v>
                </c:pt>
                <c:pt idx="671">
                  <c:v>0.65</c:v>
                </c:pt>
                <c:pt idx="672">
                  <c:v>0.65</c:v>
                </c:pt>
                <c:pt idx="673">
                  <c:v>0.65</c:v>
                </c:pt>
                <c:pt idx="674">
                  <c:v>0.65</c:v>
                </c:pt>
                <c:pt idx="675">
                  <c:v>0.65</c:v>
                </c:pt>
                <c:pt idx="676">
                  <c:v>0.65</c:v>
                </c:pt>
                <c:pt idx="677">
                  <c:v>0.65</c:v>
                </c:pt>
                <c:pt idx="678">
                  <c:v>0.65</c:v>
                </c:pt>
                <c:pt idx="679">
                  <c:v>0.65</c:v>
                </c:pt>
                <c:pt idx="680">
                  <c:v>0.65</c:v>
                </c:pt>
                <c:pt idx="681">
                  <c:v>0.65</c:v>
                </c:pt>
                <c:pt idx="682">
                  <c:v>0.65</c:v>
                </c:pt>
                <c:pt idx="683">
                  <c:v>0.65</c:v>
                </c:pt>
                <c:pt idx="684">
                  <c:v>0.65</c:v>
                </c:pt>
                <c:pt idx="685">
                  <c:v>0.65</c:v>
                </c:pt>
                <c:pt idx="686">
                  <c:v>0.65</c:v>
                </c:pt>
                <c:pt idx="687">
                  <c:v>0.65</c:v>
                </c:pt>
                <c:pt idx="688">
                  <c:v>0.65</c:v>
                </c:pt>
                <c:pt idx="689">
                  <c:v>0.65</c:v>
                </c:pt>
                <c:pt idx="690">
                  <c:v>0.65</c:v>
                </c:pt>
                <c:pt idx="691">
                  <c:v>0.65</c:v>
                </c:pt>
                <c:pt idx="692">
                  <c:v>0.65</c:v>
                </c:pt>
                <c:pt idx="693">
                  <c:v>0.65</c:v>
                </c:pt>
                <c:pt idx="694">
                  <c:v>0.65</c:v>
                </c:pt>
                <c:pt idx="695">
                  <c:v>0.65</c:v>
                </c:pt>
                <c:pt idx="696">
                  <c:v>0.65</c:v>
                </c:pt>
                <c:pt idx="697">
                  <c:v>0.65</c:v>
                </c:pt>
                <c:pt idx="698">
                  <c:v>0.65</c:v>
                </c:pt>
                <c:pt idx="699">
                  <c:v>0.65</c:v>
                </c:pt>
                <c:pt idx="700">
                  <c:v>0.65</c:v>
                </c:pt>
                <c:pt idx="701">
                  <c:v>0.65</c:v>
                </c:pt>
                <c:pt idx="702">
                  <c:v>0.65</c:v>
                </c:pt>
                <c:pt idx="703">
                  <c:v>0.65</c:v>
                </c:pt>
                <c:pt idx="704">
                  <c:v>0.65</c:v>
                </c:pt>
                <c:pt idx="705">
                  <c:v>0.65</c:v>
                </c:pt>
                <c:pt idx="706">
                  <c:v>0.65</c:v>
                </c:pt>
                <c:pt idx="707">
                  <c:v>0.65</c:v>
                </c:pt>
                <c:pt idx="708">
                  <c:v>0.65</c:v>
                </c:pt>
                <c:pt idx="709">
                  <c:v>0.65</c:v>
                </c:pt>
                <c:pt idx="710">
                  <c:v>0.65</c:v>
                </c:pt>
                <c:pt idx="711">
                  <c:v>0.65</c:v>
                </c:pt>
                <c:pt idx="712">
                  <c:v>0.65</c:v>
                </c:pt>
                <c:pt idx="713">
                  <c:v>0.65</c:v>
                </c:pt>
                <c:pt idx="714">
                  <c:v>0.65</c:v>
                </c:pt>
                <c:pt idx="715">
                  <c:v>0.65</c:v>
                </c:pt>
                <c:pt idx="716">
                  <c:v>0.65</c:v>
                </c:pt>
                <c:pt idx="717">
                  <c:v>0.65</c:v>
                </c:pt>
                <c:pt idx="718">
                  <c:v>0.65</c:v>
                </c:pt>
                <c:pt idx="719">
                  <c:v>0.65</c:v>
                </c:pt>
                <c:pt idx="720">
                  <c:v>0.65</c:v>
                </c:pt>
                <c:pt idx="721">
                  <c:v>0.65</c:v>
                </c:pt>
                <c:pt idx="722">
                  <c:v>0.65</c:v>
                </c:pt>
                <c:pt idx="723">
                  <c:v>0.65</c:v>
                </c:pt>
                <c:pt idx="724">
                  <c:v>0.65</c:v>
                </c:pt>
                <c:pt idx="725">
                  <c:v>0.65</c:v>
                </c:pt>
                <c:pt idx="726">
                  <c:v>0.65</c:v>
                </c:pt>
                <c:pt idx="727">
                  <c:v>0.65</c:v>
                </c:pt>
                <c:pt idx="728">
                  <c:v>0.65</c:v>
                </c:pt>
                <c:pt idx="729">
                  <c:v>0.65</c:v>
                </c:pt>
                <c:pt idx="730">
                  <c:v>0.65</c:v>
                </c:pt>
                <c:pt idx="731">
                  <c:v>0.65</c:v>
                </c:pt>
                <c:pt idx="732">
                  <c:v>0.65</c:v>
                </c:pt>
                <c:pt idx="733">
                  <c:v>0.65</c:v>
                </c:pt>
                <c:pt idx="734">
                  <c:v>0.65</c:v>
                </c:pt>
                <c:pt idx="735">
                  <c:v>0.65</c:v>
                </c:pt>
                <c:pt idx="736">
                  <c:v>0.65</c:v>
                </c:pt>
                <c:pt idx="737">
                  <c:v>0.65</c:v>
                </c:pt>
              </c:numCache>
            </c:numRef>
          </c:val>
          <c:smooth val="0"/>
          <c:extLst>
            <c:ext xmlns:c16="http://schemas.microsoft.com/office/drawing/2014/chart" uri="{C3380CC4-5D6E-409C-BE32-E72D297353CC}">
              <c16:uniqueId val="{00000003-A5E8-4C0D-97CE-35F3907876BA}"/>
            </c:ext>
          </c:extLst>
        </c:ser>
        <c:dLbls>
          <c:showLegendKey val="0"/>
          <c:showVal val="0"/>
          <c:showCatName val="0"/>
          <c:showSerName val="0"/>
          <c:showPercent val="0"/>
          <c:showBubbleSize val="0"/>
        </c:dLbls>
        <c:smooth val="0"/>
        <c:axId val="248852831"/>
        <c:axId val="248853663"/>
      </c:lineChart>
      <c:dateAx>
        <c:axId val="248852831"/>
        <c:scaling>
          <c:orientation val="minMax"/>
          <c:min val="44927"/>
        </c:scaling>
        <c:delete val="0"/>
        <c:axPos val="b"/>
        <c:numFmt formatCode="yy/m" sourceLinked="0"/>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ea"/>
                <a:sym typeface="+mn-lt"/>
              </a:defRPr>
            </a:pPr>
            <a:endParaRPr lang="zh-CN"/>
          </a:p>
        </c:txPr>
        <c:crossAx val="248853663"/>
        <c:crosses val="autoZero"/>
        <c:auto val="1"/>
        <c:lblOffset val="100"/>
        <c:baseTimeUnit val="days"/>
      </c:dateAx>
      <c:valAx>
        <c:axId val="248853663"/>
        <c:scaling>
          <c:orientation val="minMax"/>
          <c:min val="0.2"/>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2488528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ea"/>
                <a:sym typeface="+mn-lt"/>
              </a:defRPr>
            </a:pPr>
            <a:r>
              <a:rPr lang="zh-CN"/>
              <a:t>各现货价格</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ea"/>
              <a:sym typeface="+mn-lt"/>
            </a:defRPr>
          </a:pPr>
          <a:endParaRPr lang="zh-CN"/>
        </a:p>
      </c:txPr>
    </c:title>
    <c:autoTitleDeleted val="0"/>
    <c:plotArea>
      <c:layout/>
      <c:lineChart>
        <c:grouping val="standard"/>
        <c:varyColors val="0"/>
        <c:ser>
          <c:idx val="0"/>
          <c:order val="0"/>
          <c:tx>
            <c:strRef>
              <c:f>各合约价格!$AK$6</c:f>
              <c:strCache>
                <c:ptCount val="1"/>
                <c:pt idx="0">
                  <c:v>工业硅主力合约</c:v>
                </c:pt>
              </c:strCache>
            </c:strRef>
          </c:tx>
          <c:spPr>
            <a:ln w="28575" cap="rnd">
              <a:solidFill>
                <a:srgbClr val="C00000">
                  <a:alpha val="80000"/>
                </a:srgbClr>
              </a:solidFill>
              <a:round/>
            </a:ln>
            <a:effectLst/>
          </c:spPr>
          <c:marker>
            <c:symbol val="none"/>
          </c:marker>
          <c:cat>
            <c:numRef>
              <c:f>各合约价格!$AJ$7:$AJ$372</c:f>
              <c:numCache>
                <c:formatCode>m/d/yyyy</c:formatCode>
                <c:ptCount val="366"/>
                <c:pt idx="0">
                  <c:v>45471</c:v>
                </c:pt>
                <c:pt idx="1">
                  <c:v>45470</c:v>
                </c:pt>
                <c:pt idx="2">
                  <c:v>45469</c:v>
                </c:pt>
                <c:pt idx="3">
                  <c:v>45468</c:v>
                </c:pt>
                <c:pt idx="4">
                  <c:v>45467</c:v>
                </c:pt>
                <c:pt idx="5">
                  <c:v>45464</c:v>
                </c:pt>
                <c:pt idx="6">
                  <c:v>45463</c:v>
                </c:pt>
                <c:pt idx="7">
                  <c:v>45462</c:v>
                </c:pt>
                <c:pt idx="8">
                  <c:v>45461</c:v>
                </c:pt>
                <c:pt idx="9">
                  <c:v>45460</c:v>
                </c:pt>
                <c:pt idx="10">
                  <c:v>45457</c:v>
                </c:pt>
                <c:pt idx="11">
                  <c:v>45456</c:v>
                </c:pt>
                <c:pt idx="12">
                  <c:v>45455</c:v>
                </c:pt>
                <c:pt idx="13">
                  <c:v>45454</c:v>
                </c:pt>
                <c:pt idx="14">
                  <c:v>45450</c:v>
                </c:pt>
                <c:pt idx="15">
                  <c:v>45449</c:v>
                </c:pt>
                <c:pt idx="16">
                  <c:v>45448</c:v>
                </c:pt>
                <c:pt idx="17">
                  <c:v>45447</c:v>
                </c:pt>
                <c:pt idx="18">
                  <c:v>45446</c:v>
                </c:pt>
                <c:pt idx="19">
                  <c:v>45443</c:v>
                </c:pt>
                <c:pt idx="20">
                  <c:v>45442</c:v>
                </c:pt>
                <c:pt idx="21">
                  <c:v>45441</c:v>
                </c:pt>
                <c:pt idx="22">
                  <c:v>45440</c:v>
                </c:pt>
                <c:pt idx="23">
                  <c:v>45439</c:v>
                </c:pt>
                <c:pt idx="24">
                  <c:v>45436</c:v>
                </c:pt>
                <c:pt idx="25">
                  <c:v>45435</c:v>
                </c:pt>
                <c:pt idx="26">
                  <c:v>45434</c:v>
                </c:pt>
                <c:pt idx="27">
                  <c:v>45433</c:v>
                </c:pt>
                <c:pt idx="28">
                  <c:v>45432</c:v>
                </c:pt>
                <c:pt idx="29">
                  <c:v>45429</c:v>
                </c:pt>
                <c:pt idx="30">
                  <c:v>45428</c:v>
                </c:pt>
                <c:pt idx="31">
                  <c:v>45427</c:v>
                </c:pt>
                <c:pt idx="32">
                  <c:v>45426</c:v>
                </c:pt>
                <c:pt idx="33">
                  <c:v>45425</c:v>
                </c:pt>
                <c:pt idx="34">
                  <c:v>45422</c:v>
                </c:pt>
                <c:pt idx="35">
                  <c:v>45421</c:v>
                </c:pt>
                <c:pt idx="36">
                  <c:v>45420</c:v>
                </c:pt>
                <c:pt idx="37">
                  <c:v>45419</c:v>
                </c:pt>
                <c:pt idx="38">
                  <c:v>45418</c:v>
                </c:pt>
                <c:pt idx="39">
                  <c:v>45412</c:v>
                </c:pt>
                <c:pt idx="40">
                  <c:v>45411</c:v>
                </c:pt>
                <c:pt idx="41">
                  <c:v>45408</c:v>
                </c:pt>
                <c:pt idx="42">
                  <c:v>45407</c:v>
                </c:pt>
                <c:pt idx="43">
                  <c:v>45406</c:v>
                </c:pt>
                <c:pt idx="44">
                  <c:v>45405</c:v>
                </c:pt>
                <c:pt idx="45">
                  <c:v>45404</c:v>
                </c:pt>
                <c:pt idx="46">
                  <c:v>45401</c:v>
                </c:pt>
                <c:pt idx="47">
                  <c:v>45400</c:v>
                </c:pt>
                <c:pt idx="48">
                  <c:v>45399</c:v>
                </c:pt>
                <c:pt idx="49">
                  <c:v>45398</c:v>
                </c:pt>
                <c:pt idx="50">
                  <c:v>45397</c:v>
                </c:pt>
                <c:pt idx="51">
                  <c:v>45394</c:v>
                </c:pt>
                <c:pt idx="52">
                  <c:v>45393</c:v>
                </c:pt>
                <c:pt idx="53">
                  <c:v>45392</c:v>
                </c:pt>
                <c:pt idx="54">
                  <c:v>45391</c:v>
                </c:pt>
                <c:pt idx="55">
                  <c:v>45390</c:v>
                </c:pt>
                <c:pt idx="56">
                  <c:v>45385</c:v>
                </c:pt>
                <c:pt idx="57">
                  <c:v>45384</c:v>
                </c:pt>
                <c:pt idx="58">
                  <c:v>45383</c:v>
                </c:pt>
                <c:pt idx="59">
                  <c:v>45380</c:v>
                </c:pt>
                <c:pt idx="60">
                  <c:v>45379</c:v>
                </c:pt>
                <c:pt idx="61">
                  <c:v>45378</c:v>
                </c:pt>
                <c:pt idx="62">
                  <c:v>45377</c:v>
                </c:pt>
                <c:pt idx="63">
                  <c:v>45376</c:v>
                </c:pt>
                <c:pt idx="64">
                  <c:v>45373</c:v>
                </c:pt>
                <c:pt idx="65">
                  <c:v>45372</c:v>
                </c:pt>
                <c:pt idx="66">
                  <c:v>45371</c:v>
                </c:pt>
                <c:pt idx="67">
                  <c:v>45370</c:v>
                </c:pt>
                <c:pt idx="68">
                  <c:v>45369</c:v>
                </c:pt>
                <c:pt idx="69">
                  <c:v>45366</c:v>
                </c:pt>
                <c:pt idx="70">
                  <c:v>45365</c:v>
                </c:pt>
                <c:pt idx="71">
                  <c:v>45364</c:v>
                </c:pt>
                <c:pt idx="72">
                  <c:v>45363</c:v>
                </c:pt>
                <c:pt idx="73">
                  <c:v>45362</c:v>
                </c:pt>
                <c:pt idx="74">
                  <c:v>45359</c:v>
                </c:pt>
                <c:pt idx="75">
                  <c:v>45358</c:v>
                </c:pt>
                <c:pt idx="76">
                  <c:v>45357</c:v>
                </c:pt>
                <c:pt idx="77">
                  <c:v>45356</c:v>
                </c:pt>
                <c:pt idx="78">
                  <c:v>45355</c:v>
                </c:pt>
                <c:pt idx="79">
                  <c:v>45352</c:v>
                </c:pt>
                <c:pt idx="80">
                  <c:v>45351</c:v>
                </c:pt>
                <c:pt idx="81">
                  <c:v>45350</c:v>
                </c:pt>
                <c:pt idx="82">
                  <c:v>45349</c:v>
                </c:pt>
                <c:pt idx="83">
                  <c:v>45348</c:v>
                </c:pt>
                <c:pt idx="84">
                  <c:v>45345</c:v>
                </c:pt>
                <c:pt idx="85">
                  <c:v>45344</c:v>
                </c:pt>
                <c:pt idx="86">
                  <c:v>45343</c:v>
                </c:pt>
                <c:pt idx="87">
                  <c:v>45342</c:v>
                </c:pt>
                <c:pt idx="88">
                  <c:v>45341</c:v>
                </c:pt>
                <c:pt idx="89">
                  <c:v>45330</c:v>
                </c:pt>
                <c:pt idx="90">
                  <c:v>45329</c:v>
                </c:pt>
                <c:pt idx="91">
                  <c:v>45328</c:v>
                </c:pt>
                <c:pt idx="92">
                  <c:v>45327</c:v>
                </c:pt>
                <c:pt idx="93">
                  <c:v>45324</c:v>
                </c:pt>
                <c:pt idx="94">
                  <c:v>45323</c:v>
                </c:pt>
                <c:pt idx="95">
                  <c:v>45322</c:v>
                </c:pt>
                <c:pt idx="96">
                  <c:v>45321</c:v>
                </c:pt>
                <c:pt idx="97">
                  <c:v>45320</c:v>
                </c:pt>
                <c:pt idx="98">
                  <c:v>45317</c:v>
                </c:pt>
                <c:pt idx="99">
                  <c:v>45316</c:v>
                </c:pt>
                <c:pt idx="100">
                  <c:v>45315</c:v>
                </c:pt>
                <c:pt idx="101">
                  <c:v>45314</c:v>
                </c:pt>
                <c:pt idx="102">
                  <c:v>45313</c:v>
                </c:pt>
                <c:pt idx="103">
                  <c:v>45310</c:v>
                </c:pt>
                <c:pt idx="104">
                  <c:v>45309</c:v>
                </c:pt>
                <c:pt idx="105">
                  <c:v>45308</c:v>
                </c:pt>
                <c:pt idx="106">
                  <c:v>45307</c:v>
                </c:pt>
                <c:pt idx="107">
                  <c:v>45306</c:v>
                </c:pt>
                <c:pt idx="108">
                  <c:v>45303</c:v>
                </c:pt>
                <c:pt idx="109">
                  <c:v>45302</c:v>
                </c:pt>
                <c:pt idx="110">
                  <c:v>45301</c:v>
                </c:pt>
                <c:pt idx="111">
                  <c:v>45300</c:v>
                </c:pt>
                <c:pt idx="112">
                  <c:v>45299</c:v>
                </c:pt>
                <c:pt idx="113">
                  <c:v>45296</c:v>
                </c:pt>
                <c:pt idx="114">
                  <c:v>45295</c:v>
                </c:pt>
                <c:pt idx="115">
                  <c:v>45294</c:v>
                </c:pt>
                <c:pt idx="116">
                  <c:v>45293</c:v>
                </c:pt>
                <c:pt idx="117">
                  <c:v>45289</c:v>
                </c:pt>
                <c:pt idx="118">
                  <c:v>45288</c:v>
                </c:pt>
                <c:pt idx="119">
                  <c:v>45287</c:v>
                </c:pt>
                <c:pt idx="120">
                  <c:v>45286</c:v>
                </c:pt>
                <c:pt idx="121">
                  <c:v>45285</c:v>
                </c:pt>
                <c:pt idx="122">
                  <c:v>45282</c:v>
                </c:pt>
                <c:pt idx="123">
                  <c:v>45281</c:v>
                </c:pt>
                <c:pt idx="124">
                  <c:v>45280</c:v>
                </c:pt>
                <c:pt idx="125">
                  <c:v>45279</c:v>
                </c:pt>
                <c:pt idx="126">
                  <c:v>45278</c:v>
                </c:pt>
                <c:pt idx="127">
                  <c:v>45275</c:v>
                </c:pt>
                <c:pt idx="128">
                  <c:v>45274</c:v>
                </c:pt>
                <c:pt idx="129">
                  <c:v>45273</c:v>
                </c:pt>
                <c:pt idx="130">
                  <c:v>45272</c:v>
                </c:pt>
                <c:pt idx="131">
                  <c:v>45271</c:v>
                </c:pt>
                <c:pt idx="132">
                  <c:v>45268</c:v>
                </c:pt>
                <c:pt idx="133">
                  <c:v>45267</c:v>
                </c:pt>
                <c:pt idx="134">
                  <c:v>45266</c:v>
                </c:pt>
                <c:pt idx="135">
                  <c:v>45265</c:v>
                </c:pt>
                <c:pt idx="136">
                  <c:v>45264</c:v>
                </c:pt>
                <c:pt idx="137">
                  <c:v>45261</c:v>
                </c:pt>
                <c:pt idx="138">
                  <c:v>45260</c:v>
                </c:pt>
                <c:pt idx="139">
                  <c:v>45259</c:v>
                </c:pt>
                <c:pt idx="140">
                  <c:v>45258</c:v>
                </c:pt>
                <c:pt idx="141">
                  <c:v>45257</c:v>
                </c:pt>
                <c:pt idx="142">
                  <c:v>45254</c:v>
                </c:pt>
                <c:pt idx="143">
                  <c:v>45253</c:v>
                </c:pt>
                <c:pt idx="144">
                  <c:v>45252</c:v>
                </c:pt>
                <c:pt idx="145">
                  <c:v>45251</c:v>
                </c:pt>
                <c:pt idx="146">
                  <c:v>45250</c:v>
                </c:pt>
                <c:pt idx="147">
                  <c:v>45247</c:v>
                </c:pt>
                <c:pt idx="148">
                  <c:v>45246</c:v>
                </c:pt>
                <c:pt idx="149">
                  <c:v>45245</c:v>
                </c:pt>
                <c:pt idx="150">
                  <c:v>45244</c:v>
                </c:pt>
                <c:pt idx="151">
                  <c:v>45243</c:v>
                </c:pt>
                <c:pt idx="152">
                  <c:v>45240</c:v>
                </c:pt>
                <c:pt idx="153">
                  <c:v>45239</c:v>
                </c:pt>
                <c:pt idx="154">
                  <c:v>45238</c:v>
                </c:pt>
                <c:pt idx="155">
                  <c:v>45237</c:v>
                </c:pt>
                <c:pt idx="156">
                  <c:v>45236</c:v>
                </c:pt>
                <c:pt idx="157">
                  <c:v>45233</c:v>
                </c:pt>
                <c:pt idx="158">
                  <c:v>45232</c:v>
                </c:pt>
                <c:pt idx="159">
                  <c:v>45231</c:v>
                </c:pt>
                <c:pt idx="160">
                  <c:v>45230</c:v>
                </c:pt>
                <c:pt idx="161">
                  <c:v>45229</c:v>
                </c:pt>
                <c:pt idx="162">
                  <c:v>45226</c:v>
                </c:pt>
                <c:pt idx="163">
                  <c:v>45225</c:v>
                </c:pt>
                <c:pt idx="164">
                  <c:v>45224</c:v>
                </c:pt>
                <c:pt idx="165">
                  <c:v>45223</c:v>
                </c:pt>
                <c:pt idx="166">
                  <c:v>45222</c:v>
                </c:pt>
                <c:pt idx="167">
                  <c:v>45219</c:v>
                </c:pt>
                <c:pt idx="168">
                  <c:v>45218</c:v>
                </c:pt>
                <c:pt idx="169">
                  <c:v>45217</c:v>
                </c:pt>
                <c:pt idx="170">
                  <c:v>45216</c:v>
                </c:pt>
                <c:pt idx="171">
                  <c:v>45215</c:v>
                </c:pt>
                <c:pt idx="172">
                  <c:v>45212</c:v>
                </c:pt>
                <c:pt idx="173">
                  <c:v>45211</c:v>
                </c:pt>
                <c:pt idx="174">
                  <c:v>45210</c:v>
                </c:pt>
                <c:pt idx="175">
                  <c:v>45209</c:v>
                </c:pt>
                <c:pt idx="176">
                  <c:v>45208</c:v>
                </c:pt>
                <c:pt idx="177">
                  <c:v>45197</c:v>
                </c:pt>
                <c:pt idx="178">
                  <c:v>45196</c:v>
                </c:pt>
                <c:pt idx="179">
                  <c:v>45195</c:v>
                </c:pt>
                <c:pt idx="180">
                  <c:v>45194</c:v>
                </c:pt>
                <c:pt idx="181">
                  <c:v>45191</c:v>
                </c:pt>
                <c:pt idx="182">
                  <c:v>45190</c:v>
                </c:pt>
                <c:pt idx="183">
                  <c:v>45189</c:v>
                </c:pt>
                <c:pt idx="184">
                  <c:v>45188</c:v>
                </c:pt>
                <c:pt idx="185">
                  <c:v>45187</c:v>
                </c:pt>
                <c:pt idx="186">
                  <c:v>45184</c:v>
                </c:pt>
                <c:pt idx="187">
                  <c:v>45183</c:v>
                </c:pt>
                <c:pt idx="188">
                  <c:v>45182</c:v>
                </c:pt>
                <c:pt idx="189">
                  <c:v>45181</c:v>
                </c:pt>
                <c:pt idx="190">
                  <c:v>45180</c:v>
                </c:pt>
                <c:pt idx="191">
                  <c:v>45177</c:v>
                </c:pt>
                <c:pt idx="192">
                  <c:v>45176</c:v>
                </c:pt>
                <c:pt idx="193">
                  <c:v>45175</c:v>
                </c:pt>
                <c:pt idx="194">
                  <c:v>45174</c:v>
                </c:pt>
                <c:pt idx="195">
                  <c:v>45173</c:v>
                </c:pt>
                <c:pt idx="196">
                  <c:v>45170</c:v>
                </c:pt>
                <c:pt idx="197">
                  <c:v>45169</c:v>
                </c:pt>
                <c:pt idx="198">
                  <c:v>45168</c:v>
                </c:pt>
                <c:pt idx="199">
                  <c:v>45167</c:v>
                </c:pt>
                <c:pt idx="200">
                  <c:v>45166</c:v>
                </c:pt>
                <c:pt idx="201">
                  <c:v>45163</c:v>
                </c:pt>
                <c:pt idx="202">
                  <c:v>45162</c:v>
                </c:pt>
                <c:pt idx="203">
                  <c:v>45161</c:v>
                </c:pt>
                <c:pt idx="204">
                  <c:v>45160</c:v>
                </c:pt>
                <c:pt idx="205">
                  <c:v>45159</c:v>
                </c:pt>
                <c:pt idx="206">
                  <c:v>45156</c:v>
                </c:pt>
                <c:pt idx="207">
                  <c:v>45155</c:v>
                </c:pt>
                <c:pt idx="208">
                  <c:v>45154</c:v>
                </c:pt>
                <c:pt idx="209">
                  <c:v>45153</c:v>
                </c:pt>
                <c:pt idx="210">
                  <c:v>45152</c:v>
                </c:pt>
                <c:pt idx="211">
                  <c:v>45149</c:v>
                </c:pt>
                <c:pt idx="212">
                  <c:v>45148</c:v>
                </c:pt>
                <c:pt idx="213">
                  <c:v>45147</c:v>
                </c:pt>
                <c:pt idx="214">
                  <c:v>45146</c:v>
                </c:pt>
                <c:pt idx="215">
                  <c:v>45145</c:v>
                </c:pt>
                <c:pt idx="216">
                  <c:v>45142</c:v>
                </c:pt>
                <c:pt idx="217">
                  <c:v>45141</c:v>
                </c:pt>
                <c:pt idx="218">
                  <c:v>45140</c:v>
                </c:pt>
                <c:pt idx="219">
                  <c:v>45139</c:v>
                </c:pt>
                <c:pt idx="220">
                  <c:v>45138</c:v>
                </c:pt>
                <c:pt idx="221">
                  <c:v>45135</c:v>
                </c:pt>
                <c:pt idx="222">
                  <c:v>45134</c:v>
                </c:pt>
                <c:pt idx="223">
                  <c:v>45133</c:v>
                </c:pt>
                <c:pt idx="224">
                  <c:v>45132</c:v>
                </c:pt>
                <c:pt idx="225">
                  <c:v>45131</c:v>
                </c:pt>
                <c:pt idx="226">
                  <c:v>45128</c:v>
                </c:pt>
                <c:pt idx="227">
                  <c:v>45127</c:v>
                </c:pt>
                <c:pt idx="228">
                  <c:v>45126</c:v>
                </c:pt>
                <c:pt idx="229">
                  <c:v>45125</c:v>
                </c:pt>
                <c:pt idx="230">
                  <c:v>45124</c:v>
                </c:pt>
                <c:pt idx="231">
                  <c:v>45121</c:v>
                </c:pt>
                <c:pt idx="232">
                  <c:v>45120</c:v>
                </c:pt>
                <c:pt idx="233">
                  <c:v>45119</c:v>
                </c:pt>
                <c:pt idx="234">
                  <c:v>45118</c:v>
                </c:pt>
                <c:pt idx="235">
                  <c:v>45117</c:v>
                </c:pt>
                <c:pt idx="236">
                  <c:v>45114</c:v>
                </c:pt>
                <c:pt idx="237">
                  <c:v>45113</c:v>
                </c:pt>
                <c:pt idx="238">
                  <c:v>45112</c:v>
                </c:pt>
                <c:pt idx="239">
                  <c:v>45111</c:v>
                </c:pt>
                <c:pt idx="240">
                  <c:v>45110</c:v>
                </c:pt>
                <c:pt idx="241">
                  <c:v>45107</c:v>
                </c:pt>
                <c:pt idx="242">
                  <c:v>45106</c:v>
                </c:pt>
                <c:pt idx="243">
                  <c:v>45105</c:v>
                </c:pt>
                <c:pt idx="244">
                  <c:v>45104</c:v>
                </c:pt>
                <c:pt idx="245">
                  <c:v>45103</c:v>
                </c:pt>
                <c:pt idx="246">
                  <c:v>45098</c:v>
                </c:pt>
                <c:pt idx="247">
                  <c:v>45097</c:v>
                </c:pt>
                <c:pt idx="248">
                  <c:v>45096</c:v>
                </c:pt>
                <c:pt idx="249">
                  <c:v>45093</c:v>
                </c:pt>
                <c:pt idx="250">
                  <c:v>45092</c:v>
                </c:pt>
                <c:pt idx="251">
                  <c:v>45091</c:v>
                </c:pt>
                <c:pt idx="252">
                  <c:v>45090</c:v>
                </c:pt>
              </c:numCache>
            </c:numRef>
          </c:cat>
          <c:val>
            <c:numRef>
              <c:f>各合约价格!$AK$7:$AK$372</c:f>
              <c:numCache>
                <c:formatCode>0_);[Red]\(0\)</c:formatCode>
                <c:ptCount val="366"/>
                <c:pt idx="0">
                  <c:v>11420</c:v>
                </c:pt>
                <c:pt idx="1">
                  <c:v>11415</c:v>
                </c:pt>
                <c:pt idx="2">
                  <c:v>11470</c:v>
                </c:pt>
                <c:pt idx="3">
                  <c:v>11305</c:v>
                </c:pt>
                <c:pt idx="4">
                  <c:v>11400</c:v>
                </c:pt>
                <c:pt idx="5">
                  <c:v>11965</c:v>
                </c:pt>
                <c:pt idx="6">
                  <c:v>12055</c:v>
                </c:pt>
                <c:pt idx="7">
                  <c:v>12020</c:v>
                </c:pt>
                <c:pt idx="8">
                  <c:v>11935</c:v>
                </c:pt>
                <c:pt idx="9">
                  <c:v>12155</c:v>
                </c:pt>
                <c:pt idx="10">
                  <c:v>12175</c:v>
                </c:pt>
                <c:pt idx="11">
                  <c:v>12160</c:v>
                </c:pt>
                <c:pt idx="12">
                  <c:v>12180</c:v>
                </c:pt>
                <c:pt idx="13">
                  <c:v>12120</c:v>
                </c:pt>
                <c:pt idx="14">
                  <c:v>12305</c:v>
                </c:pt>
                <c:pt idx="15">
                  <c:v>12465</c:v>
                </c:pt>
                <c:pt idx="16">
                  <c:v>12400</c:v>
                </c:pt>
                <c:pt idx="17">
                  <c:v>12520</c:v>
                </c:pt>
                <c:pt idx="18">
                  <c:v>12365</c:v>
                </c:pt>
                <c:pt idx="19">
                  <c:v>12835</c:v>
                </c:pt>
                <c:pt idx="20">
                  <c:v>13075</c:v>
                </c:pt>
                <c:pt idx="21">
                  <c:v>12340</c:v>
                </c:pt>
                <c:pt idx="22">
                  <c:v>12465</c:v>
                </c:pt>
                <c:pt idx="23">
                  <c:v>12710</c:v>
                </c:pt>
                <c:pt idx="24">
                  <c:v>12775</c:v>
                </c:pt>
                <c:pt idx="25">
                  <c:v>12220</c:v>
                </c:pt>
                <c:pt idx="26">
                  <c:v>12340</c:v>
                </c:pt>
                <c:pt idx="27">
                  <c:v>12270</c:v>
                </c:pt>
                <c:pt idx="28">
                  <c:v>12055</c:v>
                </c:pt>
                <c:pt idx="29">
                  <c:v>11875</c:v>
                </c:pt>
                <c:pt idx="30">
                  <c:v>11725</c:v>
                </c:pt>
                <c:pt idx="31">
                  <c:v>11770</c:v>
                </c:pt>
                <c:pt idx="32">
                  <c:v>11740</c:v>
                </c:pt>
                <c:pt idx="33">
                  <c:v>11990</c:v>
                </c:pt>
                <c:pt idx="34">
                  <c:v>11925</c:v>
                </c:pt>
                <c:pt idx="35">
                  <c:v>12060</c:v>
                </c:pt>
                <c:pt idx="36">
                  <c:v>11860</c:v>
                </c:pt>
                <c:pt idx="37">
                  <c:v>11955</c:v>
                </c:pt>
                <c:pt idx="38">
                  <c:v>11995</c:v>
                </c:pt>
                <c:pt idx="39">
                  <c:v>11955</c:v>
                </c:pt>
                <c:pt idx="40">
                  <c:v>11965</c:v>
                </c:pt>
                <c:pt idx="41">
                  <c:v>11765</c:v>
                </c:pt>
                <c:pt idx="42">
                  <c:v>11745</c:v>
                </c:pt>
                <c:pt idx="43">
                  <c:v>11790</c:v>
                </c:pt>
                <c:pt idx="44">
                  <c:v>11710</c:v>
                </c:pt>
                <c:pt idx="45">
                  <c:v>11695</c:v>
                </c:pt>
                <c:pt idx="46">
                  <c:v>11520</c:v>
                </c:pt>
                <c:pt idx="47">
                  <c:v>11655</c:v>
                </c:pt>
                <c:pt idx="48">
                  <c:v>11705</c:v>
                </c:pt>
                <c:pt idx="49">
                  <c:v>11955</c:v>
                </c:pt>
                <c:pt idx="50">
                  <c:v>12190</c:v>
                </c:pt>
                <c:pt idx="51">
                  <c:v>12205</c:v>
                </c:pt>
                <c:pt idx="52">
                  <c:v>12135</c:v>
                </c:pt>
                <c:pt idx="53">
                  <c:v>12215</c:v>
                </c:pt>
                <c:pt idx="54">
                  <c:v>12275</c:v>
                </c:pt>
                <c:pt idx="55">
                  <c:v>12065</c:v>
                </c:pt>
                <c:pt idx="56">
                  <c:v>12010</c:v>
                </c:pt>
                <c:pt idx="57">
                  <c:v>12050</c:v>
                </c:pt>
                <c:pt idx="58">
                  <c:v>11920</c:v>
                </c:pt>
                <c:pt idx="59">
                  <c:v>11945</c:v>
                </c:pt>
                <c:pt idx="60">
                  <c:v>12065</c:v>
                </c:pt>
                <c:pt idx="61">
                  <c:v>12105</c:v>
                </c:pt>
                <c:pt idx="62">
                  <c:v>12290</c:v>
                </c:pt>
                <c:pt idx="63">
                  <c:v>12385</c:v>
                </c:pt>
                <c:pt idx="64">
                  <c:v>12505</c:v>
                </c:pt>
                <c:pt idx="65">
                  <c:v>12670</c:v>
                </c:pt>
                <c:pt idx="66">
                  <c:v>12690</c:v>
                </c:pt>
                <c:pt idx="67">
                  <c:v>12660</c:v>
                </c:pt>
                <c:pt idx="68">
                  <c:v>12705</c:v>
                </c:pt>
                <c:pt idx="69">
                  <c:v>12790</c:v>
                </c:pt>
                <c:pt idx="70">
                  <c:v>13230</c:v>
                </c:pt>
                <c:pt idx="71">
                  <c:v>13250</c:v>
                </c:pt>
                <c:pt idx="72">
                  <c:v>13280</c:v>
                </c:pt>
                <c:pt idx="73">
                  <c:v>13190</c:v>
                </c:pt>
                <c:pt idx="74">
                  <c:v>13265</c:v>
                </c:pt>
                <c:pt idx="75">
                  <c:v>13260</c:v>
                </c:pt>
                <c:pt idx="76">
                  <c:v>13290</c:v>
                </c:pt>
                <c:pt idx="77">
                  <c:v>13325</c:v>
                </c:pt>
                <c:pt idx="78">
                  <c:v>13390</c:v>
                </c:pt>
                <c:pt idx="79">
                  <c:v>13300</c:v>
                </c:pt>
                <c:pt idx="80">
                  <c:v>13160</c:v>
                </c:pt>
                <c:pt idx="81">
                  <c:v>13275</c:v>
                </c:pt>
                <c:pt idx="82">
                  <c:v>13370</c:v>
                </c:pt>
                <c:pt idx="83">
                  <c:v>13265</c:v>
                </c:pt>
                <c:pt idx="84">
                  <c:v>13425</c:v>
                </c:pt>
                <c:pt idx="85">
                  <c:v>13360</c:v>
                </c:pt>
                <c:pt idx="86">
                  <c:v>13395</c:v>
                </c:pt>
                <c:pt idx="87">
                  <c:v>13310</c:v>
                </c:pt>
                <c:pt idx="88">
                  <c:v>13340</c:v>
                </c:pt>
                <c:pt idx="89">
                  <c:v>13500</c:v>
                </c:pt>
                <c:pt idx="90">
                  <c:v>13440</c:v>
                </c:pt>
                <c:pt idx="91">
                  <c:v>13205</c:v>
                </c:pt>
                <c:pt idx="92">
                  <c:v>13250</c:v>
                </c:pt>
                <c:pt idx="93">
                  <c:v>13225</c:v>
                </c:pt>
                <c:pt idx="94">
                  <c:v>13210</c:v>
                </c:pt>
                <c:pt idx="95">
                  <c:v>13160</c:v>
                </c:pt>
                <c:pt idx="96">
                  <c:v>13310</c:v>
                </c:pt>
                <c:pt idx="97">
                  <c:v>13255</c:v>
                </c:pt>
                <c:pt idx="98">
                  <c:v>13365</c:v>
                </c:pt>
                <c:pt idx="99">
                  <c:v>13435</c:v>
                </c:pt>
                <c:pt idx="100">
                  <c:v>13385</c:v>
                </c:pt>
                <c:pt idx="101">
                  <c:v>13370</c:v>
                </c:pt>
                <c:pt idx="102">
                  <c:v>13420</c:v>
                </c:pt>
                <c:pt idx="103">
                  <c:v>13475</c:v>
                </c:pt>
                <c:pt idx="104">
                  <c:v>13270</c:v>
                </c:pt>
                <c:pt idx="105">
                  <c:v>13425</c:v>
                </c:pt>
                <c:pt idx="106">
                  <c:v>13540</c:v>
                </c:pt>
                <c:pt idx="107">
                  <c:v>13675</c:v>
                </c:pt>
                <c:pt idx="108">
                  <c:v>13610</c:v>
                </c:pt>
                <c:pt idx="109">
                  <c:v>13875</c:v>
                </c:pt>
                <c:pt idx="110">
                  <c:v>13930</c:v>
                </c:pt>
                <c:pt idx="111">
                  <c:v>13840</c:v>
                </c:pt>
                <c:pt idx="112">
                  <c:v>13900</c:v>
                </c:pt>
                <c:pt idx="113">
                  <c:v>13960</c:v>
                </c:pt>
                <c:pt idx="114">
                  <c:v>14250</c:v>
                </c:pt>
                <c:pt idx="115">
                  <c:v>14290</c:v>
                </c:pt>
                <c:pt idx="116">
                  <c:v>14365</c:v>
                </c:pt>
                <c:pt idx="117">
                  <c:v>14160</c:v>
                </c:pt>
                <c:pt idx="118">
                  <c:v>14240</c:v>
                </c:pt>
                <c:pt idx="119">
                  <c:v>14235</c:v>
                </c:pt>
                <c:pt idx="120">
                  <c:v>14235</c:v>
                </c:pt>
                <c:pt idx="121">
                  <c:v>14245</c:v>
                </c:pt>
                <c:pt idx="122">
                  <c:v>14195</c:v>
                </c:pt>
                <c:pt idx="123">
                  <c:v>14160</c:v>
                </c:pt>
                <c:pt idx="124">
                  <c:v>14280</c:v>
                </c:pt>
                <c:pt idx="125">
                  <c:v>14235</c:v>
                </c:pt>
                <c:pt idx="126">
                  <c:v>13875</c:v>
                </c:pt>
                <c:pt idx="127">
                  <c:v>13810</c:v>
                </c:pt>
                <c:pt idx="128">
                  <c:v>13750</c:v>
                </c:pt>
                <c:pt idx="129">
                  <c:v>13720</c:v>
                </c:pt>
                <c:pt idx="130">
                  <c:v>13785</c:v>
                </c:pt>
                <c:pt idx="131">
                  <c:v>13770</c:v>
                </c:pt>
                <c:pt idx="132">
                  <c:v>13875</c:v>
                </c:pt>
                <c:pt idx="133">
                  <c:v>13700</c:v>
                </c:pt>
                <c:pt idx="134">
                  <c:v>13700</c:v>
                </c:pt>
                <c:pt idx="135">
                  <c:v>13410</c:v>
                </c:pt>
                <c:pt idx="136">
                  <c:v>13930</c:v>
                </c:pt>
                <c:pt idx="137">
                  <c:v>13940</c:v>
                </c:pt>
                <c:pt idx="138">
                  <c:v>14005</c:v>
                </c:pt>
                <c:pt idx="139">
                  <c:v>13970</c:v>
                </c:pt>
                <c:pt idx="140">
                  <c:v>13975</c:v>
                </c:pt>
                <c:pt idx="141">
                  <c:v>13940</c:v>
                </c:pt>
                <c:pt idx="142">
                  <c:v>14200</c:v>
                </c:pt>
                <c:pt idx="143">
                  <c:v>14195</c:v>
                </c:pt>
                <c:pt idx="144">
                  <c:v>14185</c:v>
                </c:pt>
                <c:pt idx="145">
                  <c:v>14285</c:v>
                </c:pt>
                <c:pt idx="146">
                  <c:v>14370</c:v>
                </c:pt>
                <c:pt idx="147">
                  <c:v>14265</c:v>
                </c:pt>
                <c:pt idx="148">
                  <c:v>14175</c:v>
                </c:pt>
                <c:pt idx="149">
                  <c:v>14120</c:v>
                </c:pt>
                <c:pt idx="150">
                  <c:v>14055</c:v>
                </c:pt>
                <c:pt idx="151">
                  <c:v>14040</c:v>
                </c:pt>
                <c:pt idx="152">
                  <c:v>14090</c:v>
                </c:pt>
                <c:pt idx="153">
                  <c:v>14130</c:v>
                </c:pt>
                <c:pt idx="154">
                  <c:v>14175</c:v>
                </c:pt>
                <c:pt idx="155">
                  <c:v>14130</c:v>
                </c:pt>
                <c:pt idx="156">
                  <c:v>14255</c:v>
                </c:pt>
                <c:pt idx="157">
                  <c:v>14120</c:v>
                </c:pt>
                <c:pt idx="158">
                  <c:v>14075</c:v>
                </c:pt>
                <c:pt idx="159">
                  <c:v>13990</c:v>
                </c:pt>
                <c:pt idx="160">
                  <c:v>14260</c:v>
                </c:pt>
                <c:pt idx="161">
                  <c:v>14210</c:v>
                </c:pt>
                <c:pt idx="162">
                  <c:v>13995</c:v>
                </c:pt>
                <c:pt idx="163">
                  <c:v>14150</c:v>
                </c:pt>
                <c:pt idx="164">
                  <c:v>14440</c:v>
                </c:pt>
                <c:pt idx="165">
                  <c:v>14450</c:v>
                </c:pt>
                <c:pt idx="166">
                  <c:v>14525</c:v>
                </c:pt>
                <c:pt idx="167">
                  <c:v>14515</c:v>
                </c:pt>
                <c:pt idx="168">
                  <c:v>14540</c:v>
                </c:pt>
                <c:pt idx="169">
                  <c:v>14780</c:v>
                </c:pt>
                <c:pt idx="170">
                  <c:v>14630</c:v>
                </c:pt>
                <c:pt idx="171">
                  <c:v>14540</c:v>
                </c:pt>
                <c:pt idx="172">
                  <c:v>14690</c:v>
                </c:pt>
                <c:pt idx="173">
                  <c:v>14210</c:v>
                </c:pt>
                <c:pt idx="174">
                  <c:v>14190</c:v>
                </c:pt>
                <c:pt idx="175">
                  <c:v>14265</c:v>
                </c:pt>
                <c:pt idx="176">
                  <c:v>14155</c:v>
                </c:pt>
                <c:pt idx="177">
                  <c:v>13960</c:v>
                </c:pt>
                <c:pt idx="178">
                  <c:v>14195</c:v>
                </c:pt>
                <c:pt idx="179">
                  <c:v>14525</c:v>
                </c:pt>
                <c:pt idx="180">
                  <c:v>14530</c:v>
                </c:pt>
                <c:pt idx="181">
                  <c:v>14600</c:v>
                </c:pt>
                <c:pt idx="182">
                  <c:v>14585</c:v>
                </c:pt>
                <c:pt idx="183">
                  <c:v>14860</c:v>
                </c:pt>
                <c:pt idx="184">
                  <c:v>14710</c:v>
                </c:pt>
                <c:pt idx="185">
                  <c:v>14995</c:v>
                </c:pt>
                <c:pt idx="186">
                  <c:v>14825</c:v>
                </c:pt>
                <c:pt idx="187">
                  <c:v>14590</c:v>
                </c:pt>
                <c:pt idx="188">
                  <c:v>14390</c:v>
                </c:pt>
                <c:pt idx="189">
                  <c:v>14435</c:v>
                </c:pt>
                <c:pt idx="190">
                  <c:v>14415</c:v>
                </c:pt>
                <c:pt idx="191">
                  <c:v>14240</c:v>
                </c:pt>
                <c:pt idx="192">
                  <c:v>14125</c:v>
                </c:pt>
                <c:pt idx="193">
                  <c:v>14115</c:v>
                </c:pt>
                <c:pt idx="194">
                  <c:v>13915</c:v>
                </c:pt>
                <c:pt idx="195">
                  <c:v>13845</c:v>
                </c:pt>
                <c:pt idx="196">
                  <c:v>13805</c:v>
                </c:pt>
                <c:pt idx="197">
                  <c:v>13540</c:v>
                </c:pt>
                <c:pt idx="198">
                  <c:v>13540</c:v>
                </c:pt>
                <c:pt idx="199">
                  <c:v>13510</c:v>
                </c:pt>
                <c:pt idx="200">
                  <c:v>13420</c:v>
                </c:pt>
                <c:pt idx="201">
                  <c:v>13795</c:v>
                </c:pt>
                <c:pt idx="202">
                  <c:v>13725</c:v>
                </c:pt>
                <c:pt idx="203">
                  <c:v>13665</c:v>
                </c:pt>
                <c:pt idx="204">
                  <c:v>13695</c:v>
                </c:pt>
                <c:pt idx="205">
                  <c:v>13625</c:v>
                </c:pt>
                <c:pt idx="206">
                  <c:v>13530</c:v>
                </c:pt>
                <c:pt idx="207">
                  <c:v>13515</c:v>
                </c:pt>
                <c:pt idx="208">
                  <c:v>13460</c:v>
                </c:pt>
                <c:pt idx="209">
                  <c:v>13635</c:v>
                </c:pt>
                <c:pt idx="210">
                  <c:v>13660</c:v>
                </c:pt>
                <c:pt idx="211">
                  <c:v>13645</c:v>
                </c:pt>
                <c:pt idx="212">
                  <c:v>13625</c:v>
                </c:pt>
                <c:pt idx="213">
                  <c:v>13595</c:v>
                </c:pt>
                <c:pt idx="214">
                  <c:v>13185</c:v>
                </c:pt>
                <c:pt idx="215">
                  <c:v>13200</c:v>
                </c:pt>
                <c:pt idx="216">
                  <c:v>13330</c:v>
                </c:pt>
                <c:pt idx="217">
                  <c:v>13290</c:v>
                </c:pt>
                <c:pt idx="218">
                  <c:v>13860</c:v>
                </c:pt>
                <c:pt idx="219">
                  <c:v>13745</c:v>
                </c:pt>
                <c:pt idx="220">
                  <c:v>13725</c:v>
                </c:pt>
                <c:pt idx="221">
                  <c:v>13610</c:v>
                </c:pt>
                <c:pt idx="222">
                  <c:v>13570</c:v>
                </c:pt>
                <c:pt idx="223">
                  <c:v>13615</c:v>
                </c:pt>
                <c:pt idx="224">
                  <c:v>13555</c:v>
                </c:pt>
                <c:pt idx="225">
                  <c:v>13440</c:v>
                </c:pt>
                <c:pt idx="226">
                  <c:v>13365</c:v>
                </c:pt>
                <c:pt idx="227">
                  <c:v>13640</c:v>
                </c:pt>
                <c:pt idx="228">
                  <c:v>13495</c:v>
                </c:pt>
                <c:pt idx="229">
                  <c:v>13325</c:v>
                </c:pt>
                <c:pt idx="230">
                  <c:v>13260</c:v>
                </c:pt>
                <c:pt idx="231">
                  <c:v>13665</c:v>
                </c:pt>
                <c:pt idx="232">
                  <c:v>13650</c:v>
                </c:pt>
                <c:pt idx="233">
                  <c:v>13950</c:v>
                </c:pt>
                <c:pt idx="234">
                  <c:v>13380</c:v>
                </c:pt>
                <c:pt idx="235">
                  <c:v>13330</c:v>
                </c:pt>
                <c:pt idx="236">
                  <c:v>13220</c:v>
                </c:pt>
                <c:pt idx="237">
                  <c:v>13215</c:v>
                </c:pt>
                <c:pt idx="238">
                  <c:v>13100</c:v>
                </c:pt>
                <c:pt idx="239">
                  <c:v>13235</c:v>
                </c:pt>
                <c:pt idx="240">
                  <c:v>13380</c:v>
                </c:pt>
                <c:pt idx="241">
                  <c:v>13275</c:v>
                </c:pt>
                <c:pt idx="242">
                  <c:v>13375</c:v>
                </c:pt>
                <c:pt idx="243">
                  <c:v>13140</c:v>
                </c:pt>
                <c:pt idx="244">
                  <c:v>13120</c:v>
                </c:pt>
                <c:pt idx="245">
                  <c:v>13065</c:v>
                </c:pt>
                <c:pt idx="246">
                  <c:v>13380</c:v>
                </c:pt>
                <c:pt idx="247">
                  <c:v>13760</c:v>
                </c:pt>
                <c:pt idx="248">
                  <c:v>13240</c:v>
                </c:pt>
                <c:pt idx="249">
                  <c:v>12495</c:v>
                </c:pt>
                <c:pt idx="250">
                  <c:v>12370</c:v>
                </c:pt>
                <c:pt idx="251">
                  <c:v>12540</c:v>
                </c:pt>
                <c:pt idx="252">
                  <c:v>12535</c:v>
                </c:pt>
              </c:numCache>
            </c:numRef>
          </c:val>
          <c:smooth val="0"/>
          <c:extLst>
            <c:ext xmlns:c16="http://schemas.microsoft.com/office/drawing/2014/chart" uri="{C3380CC4-5D6E-409C-BE32-E72D297353CC}">
              <c16:uniqueId val="{00000000-EA79-4F0B-B482-E3A760CE57DF}"/>
            </c:ext>
          </c:extLst>
        </c:ser>
        <c:ser>
          <c:idx val="1"/>
          <c:order val="1"/>
          <c:tx>
            <c:strRef>
              <c:f>各合约价格!$AL$6</c:f>
              <c:strCache>
                <c:ptCount val="1"/>
                <c:pt idx="0">
                  <c:v>华东通氧553</c:v>
                </c:pt>
              </c:strCache>
            </c:strRef>
          </c:tx>
          <c:spPr>
            <a:ln w="28575" cap="rnd">
              <a:solidFill>
                <a:schemeClr val="tx1"/>
              </a:solidFill>
              <a:round/>
            </a:ln>
            <a:effectLst/>
          </c:spPr>
          <c:marker>
            <c:symbol val="none"/>
          </c:marker>
          <c:cat>
            <c:numRef>
              <c:f>各合约价格!$AJ$7:$AJ$372</c:f>
              <c:numCache>
                <c:formatCode>m/d/yyyy</c:formatCode>
                <c:ptCount val="366"/>
                <c:pt idx="0">
                  <c:v>45471</c:v>
                </c:pt>
                <c:pt idx="1">
                  <c:v>45470</c:v>
                </c:pt>
                <c:pt idx="2">
                  <c:v>45469</c:v>
                </c:pt>
                <c:pt idx="3">
                  <c:v>45468</c:v>
                </c:pt>
                <c:pt idx="4">
                  <c:v>45467</c:v>
                </c:pt>
                <c:pt idx="5">
                  <c:v>45464</c:v>
                </c:pt>
                <c:pt idx="6">
                  <c:v>45463</c:v>
                </c:pt>
                <c:pt idx="7">
                  <c:v>45462</c:v>
                </c:pt>
                <c:pt idx="8">
                  <c:v>45461</c:v>
                </c:pt>
                <c:pt idx="9">
                  <c:v>45460</c:v>
                </c:pt>
                <c:pt idx="10">
                  <c:v>45457</c:v>
                </c:pt>
                <c:pt idx="11">
                  <c:v>45456</c:v>
                </c:pt>
                <c:pt idx="12">
                  <c:v>45455</c:v>
                </c:pt>
                <c:pt idx="13">
                  <c:v>45454</c:v>
                </c:pt>
                <c:pt idx="14">
                  <c:v>45450</c:v>
                </c:pt>
                <c:pt idx="15">
                  <c:v>45449</c:v>
                </c:pt>
                <c:pt idx="16">
                  <c:v>45448</c:v>
                </c:pt>
                <c:pt idx="17">
                  <c:v>45447</c:v>
                </c:pt>
                <c:pt idx="18">
                  <c:v>45446</c:v>
                </c:pt>
                <c:pt idx="19">
                  <c:v>45443</c:v>
                </c:pt>
                <c:pt idx="20">
                  <c:v>45442</c:v>
                </c:pt>
                <c:pt idx="21">
                  <c:v>45441</c:v>
                </c:pt>
                <c:pt idx="22">
                  <c:v>45440</c:v>
                </c:pt>
                <c:pt idx="23">
                  <c:v>45439</c:v>
                </c:pt>
                <c:pt idx="24">
                  <c:v>45436</c:v>
                </c:pt>
                <c:pt idx="25">
                  <c:v>45435</c:v>
                </c:pt>
                <c:pt idx="26">
                  <c:v>45434</c:v>
                </c:pt>
                <c:pt idx="27">
                  <c:v>45433</c:v>
                </c:pt>
                <c:pt idx="28">
                  <c:v>45432</c:v>
                </c:pt>
                <c:pt idx="29">
                  <c:v>45429</c:v>
                </c:pt>
                <c:pt idx="30">
                  <c:v>45428</c:v>
                </c:pt>
                <c:pt idx="31">
                  <c:v>45427</c:v>
                </c:pt>
                <c:pt idx="32">
                  <c:v>45426</c:v>
                </c:pt>
                <c:pt idx="33">
                  <c:v>45425</c:v>
                </c:pt>
                <c:pt idx="34">
                  <c:v>45422</c:v>
                </c:pt>
                <c:pt idx="35">
                  <c:v>45421</c:v>
                </c:pt>
                <c:pt idx="36">
                  <c:v>45420</c:v>
                </c:pt>
                <c:pt idx="37">
                  <c:v>45419</c:v>
                </c:pt>
                <c:pt idx="38">
                  <c:v>45418</c:v>
                </c:pt>
                <c:pt idx="39">
                  <c:v>45412</c:v>
                </c:pt>
                <c:pt idx="40">
                  <c:v>45411</c:v>
                </c:pt>
                <c:pt idx="41">
                  <c:v>45408</c:v>
                </c:pt>
                <c:pt idx="42">
                  <c:v>45407</c:v>
                </c:pt>
                <c:pt idx="43">
                  <c:v>45406</c:v>
                </c:pt>
                <c:pt idx="44">
                  <c:v>45405</c:v>
                </c:pt>
                <c:pt idx="45">
                  <c:v>45404</c:v>
                </c:pt>
                <c:pt idx="46">
                  <c:v>45401</c:v>
                </c:pt>
                <c:pt idx="47">
                  <c:v>45400</c:v>
                </c:pt>
                <c:pt idx="48">
                  <c:v>45399</c:v>
                </c:pt>
                <c:pt idx="49">
                  <c:v>45398</c:v>
                </c:pt>
                <c:pt idx="50">
                  <c:v>45397</c:v>
                </c:pt>
                <c:pt idx="51">
                  <c:v>45394</c:v>
                </c:pt>
                <c:pt idx="52">
                  <c:v>45393</c:v>
                </c:pt>
                <c:pt idx="53">
                  <c:v>45392</c:v>
                </c:pt>
                <c:pt idx="54">
                  <c:v>45391</c:v>
                </c:pt>
                <c:pt idx="55">
                  <c:v>45390</c:v>
                </c:pt>
                <c:pt idx="56">
                  <c:v>45385</c:v>
                </c:pt>
                <c:pt idx="57">
                  <c:v>45384</c:v>
                </c:pt>
                <c:pt idx="58">
                  <c:v>45383</c:v>
                </c:pt>
                <c:pt idx="59">
                  <c:v>45380</c:v>
                </c:pt>
                <c:pt idx="60">
                  <c:v>45379</c:v>
                </c:pt>
                <c:pt idx="61">
                  <c:v>45378</c:v>
                </c:pt>
                <c:pt idx="62">
                  <c:v>45377</c:v>
                </c:pt>
                <c:pt idx="63">
                  <c:v>45376</c:v>
                </c:pt>
                <c:pt idx="64">
                  <c:v>45373</c:v>
                </c:pt>
                <c:pt idx="65">
                  <c:v>45372</c:v>
                </c:pt>
                <c:pt idx="66">
                  <c:v>45371</c:v>
                </c:pt>
                <c:pt idx="67">
                  <c:v>45370</c:v>
                </c:pt>
                <c:pt idx="68">
                  <c:v>45369</c:v>
                </c:pt>
                <c:pt idx="69">
                  <c:v>45366</c:v>
                </c:pt>
                <c:pt idx="70">
                  <c:v>45365</c:v>
                </c:pt>
                <c:pt idx="71">
                  <c:v>45364</c:v>
                </c:pt>
                <c:pt idx="72">
                  <c:v>45363</c:v>
                </c:pt>
                <c:pt idx="73">
                  <c:v>45362</c:v>
                </c:pt>
                <c:pt idx="74">
                  <c:v>45359</c:v>
                </c:pt>
                <c:pt idx="75">
                  <c:v>45358</c:v>
                </c:pt>
                <c:pt idx="76">
                  <c:v>45357</c:v>
                </c:pt>
                <c:pt idx="77">
                  <c:v>45356</c:v>
                </c:pt>
                <c:pt idx="78">
                  <c:v>45355</c:v>
                </c:pt>
                <c:pt idx="79">
                  <c:v>45352</c:v>
                </c:pt>
                <c:pt idx="80">
                  <c:v>45351</c:v>
                </c:pt>
                <c:pt idx="81">
                  <c:v>45350</c:v>
                </c:pt>
                <c:pt idx="82">
                  <c:v>45349</c:v>
                </c:pt>
                <c:pt idx="83">
                  <c:v>45348</c:v>
                </c:pt>
                <c:pt idx="84">
                  <c:v>45345</c:v>
                </c:pt>
                <c:pt idx="85">
                  <c:v>45344</c:v>
                </c:pt>
                <c:pt idx="86">
                  <c:v>45343</c:v>
                </c:pt>
                <c:pt idx="87">
                  <c:v>45342</c:v>
                </c:pt>
                <c:pt idx="88">
                  <c:v>45341</c:v>
                </c:pt>
                <c:pt idx="89">
                  <c:v>45330</c:v>
                </c:pt>
                <c:pt idx="90">
                  <c:v>45329</c:v>
                </c:pt>
                <c:pt idx="91">
                  <c:v>45328</c:v>
                </c:pt>
                <c:pt idx="92">
                  <c:v>45327</c:v>
                </c:pt>
                <c:pt idx="93">
                  <c:v>45324</c:v>
                </c:pt>
                <c:pt idx="94">
                  <c:v>45323</c:v>
                </c:pt>
                <c:pt idx="95">
                  <c:v>45322</c:v>
                </c:pt>
                <c:pt idx="96">
                  <c:v>45321</c:v>
                </c:pt>
                <c:pt idx="97">
                  <c:v>45320</c:v>
                </c:pt>
                <c:pt idx="98">
                  <c:v>45317</c:v>
                </c:pt>
                <c:pt idx="99">
                  <c:v>45316</c:v>
                </c:pt>
                <c:pt idx="100">
                  <c:v>45315</c:v>
                </c:pt>
                <c:pt idx="101">
                  <c:v>45314</c:v>
                </c:pt>
                <c:pt idx="102">
                  <c:v>45313</c:v>
                </c:pt>
                <c:pt idx="103">
                  <c:v>45310</c:v>
                </c:pt>
                <c:pt idx="104">
                  <c:v>45309</c:v>
                </c:pt>
                <c:pt idx="105">
                  <c:v>45308</c:v>
                </c:pt>
                <c:pt idx="106">
                  <c:v>45307</c:v>
                </c:pt>
                <c:pt idx="107">
                  <c:v>45306</c:v>
                </c:pt>
                <c:pt idx="108">
                  <c:v>45303</c:v>
                </c:pt>
                <c:pt idx="109">
                  <c:v>45302</c:v>
                </c:pt>
                <c:pt idx="110">
                  <c:v>45301</c:v>
                </c:pt>
                <c:pt idx="111">
                  <c:v>45300</c:v>
                </c:pt>
                <c:pt idx="112">
                  <c:v>45299</c:v>
                </c:pt>
                <c:pt idx="113">
                  <c:v>45296</c:v>
                </c:pt>
                <c:pt idx="114">
                  <c:v>45295</c:v>
                </c:pt>
                <c:pt idx="115">
                  <c:v>45294</c:v>
                </c:pt>
                <c:pt idx="116">
                  <c:v>45293</c:v>
                </c:pt>
                <c:pt idx="117">
                  <c:v>45289</c:v>
                </c:pt>
                <c:pt idx="118">
                  <c:v>45288</c:v>
                </c:pt>
                <c:pt idx="119">
                  <c:v>45287</c:v>
                </c:pt>
                <c:pt idx="120">
                  <c:v>45286</c:v>
                </c:pt>
                <c:pt idx="121">
                  <c:v>45285</c:v>
                </c:pt>
                <c:pt idx="122">
                  <c:v>45282</c:v>
                </c:pt>
                <c:pt idx="123">
                  <c:v>45281</c:v>
                </c:pt>
                <c:pt idx="124">
                  <c:v>45280</c:v>
                </c:pt>
                <c:pt idx="125">
                  <c:v>45279</c:v>
                </c:pt>
                <c:pt idx="126">
                  <c:v>45278</c:v>
                </c:pt>
                <c:pt idx="127">
                  <c:v>45275</c:v>
                </c:pt>
                <c:pt idx="128">
                  <c:v>45274</c:v>
                </c:pt>
                <c:pt idx="129">
                  <c:v>45273</c:v>
                </c:pt>
                <c:pt idx="130">
                  <c:v>45272</c:v>
                </c:pt>
                <c:pt idx="131">
                  <c:v>45271</c:v>
                </c:pt>
                <c:pt idx="132">
                  <c:v>45268</c:v>
                </c:pt>
                <c:pt idx="133">
                  <c:v>45267</c:v>
                </c:pt>
                <c:pt idx="134">
                  <c:v>45266</c:v>
                </c:pt>
                <c:pt idx="135">
                  <c:v>45265</c:v>
                </c:pt>
                <c:pt idx="136">
                  <c:v>45264</c:v>
                </c:pt>
                <c:pt idx="137">
                  <c:v>45261</c:v>
                </c:pt>
                <c:pt idx="138">
                  <c:v>45260</c:v>
                </c:pt>
                <c:pt idx="139">
                  <c:v>45259</c:v>
                </c:pt>
                <c:pt idx="140">
                  <c:v>45258</c:v>
                </c:pt>
                <c:pt idx="141">
                  <c:v>45257</c:v>
                </c:pt>
                <c:pt idx="142">
                  <c:v>45254</c:v>
                </c:pt>
                <c:pt idx="143">
                  <c:v>45253</c:v>
                </c:pt>
                <c:pt idx="144">
                  <c:v>45252</c:v>
                </c:pt>
                <c:pt idx="145">
                  <c:v>45251</c:v>
                </c:pt>
                <c:pt idx="146">
                  <c:v>45250</c:v>
                </c:pt>
                <c:pt idx="147">
                  <c:v>45247</c:v>
                </c:pt>
                <c:pt idx="148">
                  <c:v>45246</c:v>
                </c:pt>
                <c:pt idx="149">
                  <c:v>45245</c:v>
                </c:pt>
                <c:pt idx="150">
                  <c:v>45244</c:v>
                </c:pt>
                <c:pt idx="151">
                  <c:v>45243</c:v>
                </c:pt>
                <c:pt idx="152">
                  <c:v>45240</c:v>
                </c:pt>
                <c:pt idx="153">
                  <c:v>45239</c:v>
                </c:pt>
                <c:pt idx="154">
                  <c:v>45238</c:v>
                </c:pt>
                <c:pt idx="155">
                  <c:v>45237</c:v>
                </c:pt>
                <c:pt idx="156">
                  <c:v>45236</c:v>
                </c:pt>
                <c:pt idx="157">
                  <c:v>45233</c:v>
                </c:pt>
                <c:pt idx="158">
                  <c:v>45232</c:v>
                </c:pt>
                <c:pt idx="159">
                  <c:v>45231</c:v>
                </c:pt>
                <c:pt idx="160">
                  <c:v>45230</c:v>
                </c:pt>
                <c:pt idx="161">
                  <c:v>45229</c:v>
                </c:pt>
                <c:pt idx="162">
                  <c:v>45226</c:v>
                </c:pt>
                <c:pt idx="163">
                  <c:v>45225</c:v>
                </c:pt>
                <c:pt idx="164">
                  <c:v>45224</c:v>
                </c:pt>
                <c:pt idx="165">
                  <c:v>45223</c:v>
                </c:pt>
                <c:pt idx="166">
                  <c:v>45222</c:v>
                </c:pt>
                <c:pt idx="167">
                  <c:v>45219</c:v>
                </c:pt>
                <c:pt idx="168">
                  <c:v>45218</c:v>
                </c:pt>
                <c:pt idx="169">
                  <c:v>45217</c:v>
                </c:pt>
                <c:pt idx="170">
                  <c:v>45216</c:v>
                </c:pt>
                <c:pt idx="171">
                  <c:v>45215</c:v>
                </c:pt>
                <c:pt idx="172">
                  <c:v>45212</c:v>
                </c:pt>
                <c:pt idx="173">
                  <c:v>45211</c:v>
                </c:pt>
                <c:pt idx="174">
                  <c:v>45210</c:v>
                </c:pt>
                <c:pt idx="175">
                  <c:v>45209</c:v>
                </c:pt>
                <c:pt idx="176">
                  <c:v>45208</c:v>
                </c:pt>
                <c:pt idx="177">
                  <c:v>45197</c:v>
                </c:pt>
                <c:pt idx="178">
                  <c:v>45196</c:v>
                </c:pt>
                <c:pt idx="179">
                  <c:v>45195</c:v>
                </c:pt>
                <c:pt idx="180">
                  <c:v>45194</c:v>
                </c:pt>
                <c:pt idx="181">
                  <c:v>45191</c:v>
                </c:pt>
                <c:pt idx="182">
                  <c:v>45190</c:v>
                </c:pt>
                <c:pt idx="183">
                  <c:v>45189</c:v>
                </c:pt>
                <c:pt idx="184">
                  <c:v>45188</c:v>
                </c:pt>
                <c:pt idx="185">
                  <c:v>45187</c:v>
                </c:pt>
                <c:pt idx="186">
                  <c:v>45184</c:v>
                </c:pt>
                <c:pt idx="187">
                  <c:v>45183</c:v>
                </c:pt>
                <c:pt idx="188">
                  <c:v>45182</c:v>
                </c:pt>
                <c:pt idx="189">
                  <c:v>45181</c:v>
                </c:pt>
                <c:pt idx="190">
                  <c:v>45180</c:v>
                </c:pt>
                <c:pt idx="191">
                  <c:v>45177</c:v>
                </c:pt>
                <c:pt idx="192">
                  <c:v>45176</c:v>
                </c:pt>
                <c:pt idx="193">
                  <c:v>45175</c:v>
                </c:pt>
                <c:pt idx="194">
                  <c:v>45174</c:v>
                </c:pt>
                <c:pt idx="195">
                  <c:v>45173</c:v>
                </c:pt>
                <c:pt idx="196">
                  <c:v>45170</c:v>
                </c:pt>
                <c:pt idx="197">
                  <c:v>45169</c:v>
                </c:pt>
                <c:pt idx="198">
                  <c:v>45168</c:v>
                </c:pt>
                <c:pt idx="199">
                  <c:v>45167</c:v>
                </c:pt>
                <c:pt idx="200">
                  <c:v>45166</c:v>
                </c:pt>
                <c:pt idx="201">
                  <c:v>45163</c:v>
                </c:pt>
                <c:pt idx="202">
                  <c:v>45162</c:v>
                </c:pt>
                <c:pt idx="203">
                  <c:v>45161</c:v>
                </c:pt>
                <c:pt idx="204">
                  <c:v>45160</c:v>
                </c:pt>
                <c:pt idx="205">
                  <c:v>45159</c:v>
                </c:pt>
                <c:pt idx="206">
                  <c:v>45156</c:v>
                </c:pt>
                <c:pt idx="207">
                  <c:v>45155</c:v>
                </c:pt>
                <c:pt idx="208">
                  <c:v>45154</c:v>
                </c:pt>
                <c:pt idx="209">
                  <c:v>45153</c:v>
                </c:pt>
                <c:pt idx="210">
                  <c:v>45152</c:v>
                </c:pt>
                <c:pt idx="211">
                  <c:v>45149</c:v>
                </c:pt>
                <c:pt idx="212">
                  <c:v>45148</c:v>
                </c:pt>
                <c:pt idx="213">
                  <c:v>45147</c:v>
                </c:pt>
                <c:pt idx="214">
                  <c:v>45146</c:v>
                </c:pt>
                <c:pt idx="215">
                  <c:v>45145</c:v>
                </c:pt>
                <c:pt idx="216">
                  <c:v>45142</c:v>
                </c:pt>
                <c:pt idx="217">
                  <c:v>45141</c:v>
                </c:pt>
                <c:pt idx="218">
                  <c:v>45140</c:v>
                </c:pt>
                <c:pt idx="219">
                  <c:v>45139</c:v>
                </c:pt>
                <c:pt idx="220">
                  <c:v>45138</c:v>
                </c:pt>
                <c:pt idx="221">
                  <c:v>45135</c:v>
                </c:pt>
                <c:pt idx="222">
                  <c:v>45134</c:v>
                </c:pt>
                <c:pt idx="223">
                  <c:v>45133</c:v>
                </c:pt>
                <c:pt idx="224">
                  <c:v>45132</c:v>
                </c:pt>
                <c:pt idx="225">
                  <c:v>45131</c:v>
                </c:pt>
                <c:pt idx="226">
                  <c:v>45128</c:v>
                </c:pt>
                <c:pt idx="227">
                  <c:v>45127</c:v>
                </c:pt>
                <c:pt idx="228">
                  <c:v>45126</c:v>
                </c:pt>
                <c:pt idx="229">
                  <c:v>45125</c:v>
                </c:pt>
                <c:pt idx="230">
                  <c:v>45124</c:v>
                </c:pt>
                <c:pt idx="231">
                  <c:v>45121</c:v>
                </c:pt>
                <c:pt idx="232">
                  <c:v>45120</c:v>
                </c:pt>
                <c:pt idx="233">
                  <c:v>45119</c:v>
                </c:pt>
                <c:pt idx="234">
                  <c:v>45118</c:v>
                </c:pt>
                <c:pt idx="235">
                  <c:v>45117</c:v>
                </c:pt>
                <c:pt idx="236">
                  <c:v>45114</c:v>
                </c:pt>
                <c:pt idx="237">
                  <c:v>45113</c:v>
                </c:pt>
                <c:pt idx="238">
                  <c:v>45112</c:v>
                </c:pt>
                <c:pt idx="239">
                  <c:v>45111</c:v>
                </c:pt>
                <c:pt idx="240">
                  <c:v>45110</c:v>
                </c:pt>
                <c:pt idx="241">
                  <c:v>45107</c:v>
                </c:pt>
                <c:pt idx="242">
                  <c:v>45106</c:v>
                </c:pt>
                <c:pt idx="243">
                  <c:v>45105</c:v>
                </c:pt>
                <c:pt idx="244">
                  <c:v>45104</c:v>
                </c:pt>
                <c:pt idx="245">
                  <c:v>45103</c:v>
                </c:pt>
                <c:pt idx="246">
                  <c:v>45098</c:v>
                </c:pt>
                <c:pt idx="247">
                  <c:v>45097</c:v>
                </c:pt>
                <c:pt idx="248">
                  <c:v>45096</c:v>
                </c:pt>
                <c:pt idx="249">
                  <c:v>45093</c:v>
                </c:pt>
                <c:pt idx="250">
                  <c:v>45092</c:v>
                </c:pt>
                <c:pt idx="251">
                  <c:v>45091</c:v>
                </c:pt>
                <c:pt idx="252">
                  <c:v>45090</c:v>
                </c:pt>
              </c:numCache>
            </c:numRef>
          </c:cat>
          <c:val>
            <c:numRef>
              <c:f>各合约价格!$AL$7:$AL$372</c:f>
              <c:numCache>
                <c:formatCode>General</c:formatCode>
                <c:ptCount val="366"/>
                <c:pt idx="0">
                  <c:v>12750</c:v>
                </c:pt>
                <c:pt idx="1">
                  <c:v>12800</c:v>
                </c:pt>
                <c:pt idx="2">
                  <c:v>12850</c:v>
                </c:pt>
                <c:pt idx="3">
                  <c:v>13000</c:v>
                </c:pt>
                <c:pt idx="4">
                  <c:v>13050</c:v>
                </c:pt>
                <c:pt idx="5">
                  <c:v>13050</c:v>
                </c:pt>
                <c:pt idx="6">
                  <c:v>13050</c:v>
                </c:pt>
                <c:pt idx="7">
                  <c:v>13050</c:v>
                </c:pt>
                <c:pt idx="8">
                  <c:v>13050</c:v>
                </c:pt>
                <c:pt idx="9">
                  <c:v>13100</c:v>
                </c:pt>
                <c:pt idx="10">
                  <c:v>13100</c:v>
                </c:pt>
                <c:pt idx="11">
                  <c:v>13100</c:v>
                </c:pt>
                <c:pt idx="12">
                  <c:v>13100</c:v>
                </c:pt>
                <c:pt idx="13">
                  <c:v>13100</c:v>
                </c:pt>
                <c:pt idx="14">
                  <c:v>13100</c:v>
                </c:pt>
                <c:pt idx="15">
                  <c:v>13100</c:v>
                </c:pt>
                <c:pt idx="16">
                  <c:v>13100</c:v>
                </c:pt>
                <c:pt idx="17">
                  <c:v>13100</c:v>
                </c:pt>
                <c:pt idx="18">
                  <c:v>13100</c:v>
                </c:pt>
                <c:pt idx="19">
                  <c:v>13100</c:v>
                </c:pt>
                <c:pt idx="20">
                  <c:v>13100</c:v>
                </c:pt>
                <c:pt idx="21">
                  <c:v>13100</c:v>
                </c:pt>
                <c:pt idx="22">
                  <c:v>13100</c:v>
                </c:pt>
                <c:pt idx="23">
                  <c:v>13100</c:v>
                </c:pt>
                <c:pt idx="24">
                  <c:v>13100</c:v>
                </c:pt>
                <c:pt idx="25">
                  <c:v>13100</c:v>
                </c:pt>
                <c:pt idx="26">
                  <c:v>13100</c:v>
                </c:pt>
                <c:pt idx="27">
                  <c:v>13100</c:v>
                </c:pt>
                <c:pt idx="28">
                  <c:v>13200</c:v>
                </c:pt>
                <c:pt idx="29">
                  <c:v>13200</c:v>
                </c:pt>
                <c:pt idx="30">
                  <c:v>13200</c:v>
                </c:pt>
                <c:pt idx="31">
                  <c:v>13300</c:v>
                </c:pt>
                <c:pt idx="32">
                  <c:v>13300</c:v>
                </c:pt>
                <c:pt idx="33">
                  <c:v>13300</c:v>
                </c:pt>
                <c:pt idx="34">
                  <c:v>13300</c:v>
                </c:pt>
                <c:pt idx="35">
                  <c:v>13300</c:v>
                </c:pt>
                <c:pt idx="36">
                  <c:v>13300</c:v>
                </c:pt>
                <c:pt idx="37">
                  <c:v>13300</c:v>
                </c:pt>
                <c:pt idx="38">
                  <c:v>13300</c:v>
                </c:pt>
                <c:pt idx="39">
                  <c:v>13250</c:v>
                </c:pt>
                <c:pt idx="40">
                  <c:v>13250</c:v>
                </c:pt>
                <c:pt idx="41">
                  <c:v>13250</c:v>
                </c:pt>
                <c:pt idx="42">
                  <c:v>13250</c:v>
                </c:pt>
                <c:pt idx="43">
                  <c:v>13250</c:v>
                </c:pt>
                <c:pt idx="44">
                  <c:v>13250</c:v>
                </c:pt>
                <c:pt idx="45">
                  <c:v>13250</c:v>
                </c:pt>
                <c:pt idx="46">
                  <c:v>13250</c:v>
                </c:pt>
                <c:pt idx="47">
                  <c:v>13250</c:v>
                </c:pt>
                <c:pt idx="48">
                  <c:v>13250</c:v>
                </c:pt>
                <c:pt idx="49">
                  <c:v>13250</c:v>
                </c:pt>
                <c:pt idx="50">
                  <c:v>13250</c:v>
                </c:pt>
                <c:pt idx="51">
                  <c:v>13250</c:v>
                </c:pt>
                <c:pt idx="52">
                  <c:v>13250</c:v>
                </c:pt>
                <c:pt idx="53">
                  <c:v>13250</c:v>
                </c:pt>
                <c:pt idx="54">
                  <c:v>13300</c:v>
                </c:pt>
                <c:pt idx="55">
                  <c:v>13350</c:v>
                </c:pt>
                <c:pt idx="56">
                  <c:v>13450</c:v>
                </c:pt>
                <c:pt idx="57">
                  <c:v>13550</c:v>
                </c:pt>
                <c:pt idx="58">
                  <c:v>13600</c:v>
                </c:pt>
                <c:pt idx="59">
                  <c:v>13700</c:v>
                </c:pt>
                <c:pt idx="60">
                  <c:v>13700</c:v>
                </c:pt>
                <c:pt idx="61">
                  <c:v>13800</c:v>
                </c:pt>
                <c:pt idx="62">
                  <c:v>13900</c:v>
                </c:pt>
                <c:pt idx="63">
                  <c:v>14000</c:v>
                </c:pt>
                <c:pt idx="64">
                  <c:v>14100</c:v>
                </c:pt>
                <c:pt idx="65">
                  <c:v>14150</c:v>
                </c:pt>
                <c:pt idx="66">
                  <c:v>14200</c:v>
                </c:pt>
                <c:pt idx="67">
                  <c:v>14250</c:v>
                </c:pt>
                <c:pt idx="68">
                  <c:v>14400</c:v>
                </c:pt>
                <c:pt idx="69">
                  <c:v>14450</c:v>
                </c:pt>
                <c:pt idx="70">
                  <c:v>14550</c:v>
                </c:pt>
                <c:pt idx="71">
                  <c:v>14650</c:v>
                </c:pt>
                <c:pt idx="72">
                  <c:v>14650</c:v>
                </c:pt>
                <c:pt idx="73">
                  <c:v>14700</c:v>
                </c:pt>
                <c:pt idx="74">
                  <c:v>14700</c:v>
                </c:pt>
                <c:pt idx="75">
                  <c:v>14750</c:v>
                </c:pt>
                <c:pt idx="76">
                  <c:v>14750</c:v>
                </c:pt>
                <c:pt idx="77">
                  <c:v>14750</c:v>
                </c:pt>
                <c:pt idx="78">
                  <c:v>14750</c:v>
                </c:pt>
                <c:pt idx="79">
                  <c:v>14750</c:v>
                </c:pt>
                <c:pt idx="80">
                  <c:v>14750</c:v>
                </c:pt>
                <c:pt idx="81">
                  <c:v>14800</c:v>
                </c:pt>
                <c:pt idx="82">
                  <c:v>14900</c:v>
                </c:pt>
                <c:pt idx="83">
                  <c:v>14900</c:v>
                </c:pt>
                <c:pt idx="84">
                  <c:v>14900</c:v>
                </c:pt>
                <c:pt idx="85">
                  <c:v>14950</c:v>
                </c:pt>
                <c:pt idx="86">
                  <c:v>15000</c:v>
                </c:pt>
                <c:pt idx="87">
                  <c:v>15000</c:v>
                </c:pt>
                <c:pt idx="88">
                  <c:v>15000</c:v>
                </c:pt>
                <c:pt idx="89">
                  <c:v>15000</c:v>
                </c:pt>
                <c:pt idx="90">
                  <c:v>15000</c:v>
                </c:pt>
                <c:pt idx="91">
                  <c:v>15000</c:v>
                </c:pt>
                <c:pt idx="92">
                  <c:v>15000</c:v>
                </c:pt>
                <c:pt idx="93">
                  <c:v>15000</c:v>
                </c:pt>
                <c:pt idx="94">
                  <c:v>15000</c:v>
                </c:pt>
                <c:pt idx="95">
                  <c:v>15000</c:v>
                </c:pt>
                <c:pt idx="96">
                  <c:v>15000</c:v>
                </c:pt>
                <c:pt idx="97">
                  <c:v>15000</c:v>
                </c:pt>
                <c:pt idx="98">
                  <c:v>15050</c:v>
                </c:pt>
                <c:pt idx="99">
                  <c:v>15100</c:v>
                </c:pt>
                <c:pt idx="100">
                  <c:v>15100</c:v>
                </c:pt>
                <c:pt idx="101">
                  <c:v>15100</c:v>
                </c:pt>
                <c:pt idx="102">
                  <c:v>15150</c:v>
                </c:pt>
                <c:pt idx="103">
                  <c:v>15150</c:v>
                </c:pt>
                <c:pt idx="104">
                  <c:v>15150</c:v>
                </c:pt>
                <c:pt idx="105">
                  <c:v>15250</c:v>
                </c:pt>
                <c:pt idx="106">
                  <c:v>15250</c:v>
                </c:pt>
                <c:pt idx="107">
                  <c:v>15300</c:v>
                </c:pt>
                <c:pt idx="108">
                  <c:v>15400</c:v>
                </c:pt>
                <c:pt idx="109">
                  <c:v>15400</c:v>
                </c:pt>
                <c:pt idx="110">
                  <c:v>15500</c:v>
                </c:pt>
                <c:pt idx="111">
                  <c:v>15550</c:v>
                </c:pt>
                <c:pt idx="112">
                  <c:v>15600</c:v>
                </c:pt>
                <c:pt idx="113">
                  <c:v>15600</c:v>
                </c:pt>
                <c:pt idx="114">
                  <c:v>15600</c:v>
                </c:pt>
                <c:pt idx="115">
                  <c:v>15600</c:v>
                </c:pt>
                <c:pt idx="116">
                  <c:v>15600</c:v>
                </c:pt>
                <c:pt idx="117">
                  <c:v>15600</c:v>
                </c:pt>
                <c:pt idx="118">
                  <c:v>15600</c:v>
                </c:pt>
                <c:pt idx="119">
                  <c:v>15550</c:v>
                </c:pt>
                <c:pt idx="120">
                  <c:v>15550</c:v>
                </c:pt>
                <c:pt idx="121">
                  <c:v>15550</c:v>
                </c:pt>
                <c:pt idx="122">
                  <c:v>15450</c:v>
                </c:pt>
                <c:pt idx="123">
                  <c:v>15350</c:v>
                </c:pt>
                <c:pt idx="124">
                  <c:v>15250</c:v>
                </c:pt>
                <c:pt idx="125">
                  <c:v>15150</c:v>
                </c:pt>
                <c:pt idx="126">
                  <c:v>15050</c:v>
                </c:pt>
                <c:pt idx="127">
                  <c:v>14900</c:v>
                </c:pt>
                <c:pt idx="128">
                  <c:v>14900</c:v>
                </c:pt>
                <c:pt idx="129">
                  <c:v>14850</c:v>
                </c:pt>
                <c:pt idx="130">
                  <c:v>14750</c:v>
                </c:pt>
                <c:pt idx="131">
                  <c:v>14750</c:v>
                </c:pt>
                <c:pt idx="132">
                  <c:v>14700</c:v>
                </c:pt>
                <c:pt idx="133">
                  <c:v>14700</c:v>
                </c:pt>
                <c:pt idx="134">
                  <c:v>14700</c:v>
                </c:pt>
                <c:pt idx="135">
                  <c:v>14700</c:v>
                </c:pt>
                <c:pt idx="136">
                  <c:v>14700</c:v>
                </c:pt>
                <c:pt idx="137">
                  <c:v>14700</c:v>
                </c:pt>
                <c:pt idx="138">
                  <c:v>14700</c:v>
                </c:pt>
                <c:pt idx="139">
                  <c:v>14700</c:v>
                </c:pt>
                <c:pt idx="140">
                  <c:v>14600</c:v>
                </c:pt>
                <c:pt idx="141">
                  <c:v>14600</c:v>
                </c:pt>
                <c:pt idx="142">
                  <c:v>14600</c:v>
                </c:pt>
                <c:pt idx="143">
                  <c:v>14600</c:v>
                </c:pt>
                <c:pt idx="144">
                  <c:v>14600</c:v>
                </c:pt>
                <c:pt idx="145">
                  <c:v>14600</c:v>
                </c:pt>
                <c:pt idx="146">
                  <c:v>14600</c:v>
                </c:pt>
                <c:pt idx="147">
                  <c:v>14600</c:v>
                </c:pt>
                <c:pt idx="148">
                  <c:v>14600</c:v>
                </c:pt>
                <c:pt idx="149">
                  <c:v>14700</c:v>
                </c:pt>
                <c:pt idx="150">
                  <c:v>14700</c:v>
                </c:pt>
                <c:pt idx="151">
                  <c:v>14700</c:v>
                </c:pt>
                <c:pt idx="152">
                  <c:v>14800</c:v>
                </c:pt>
                <c:pt idx="153">
                  <c:v>14850</c:v>
                </c:pt>
                <c:pt idx="154">
                  <c:v>14900</c:v>
                </c:pt>
                <c:pt idx="155">
                  <c:v>14950</c:v>
                </c:pt>
                <c:pt idx="156">
                  <c:v>15000</c:v>
                </c:pt>
                <c:pt idx="157">
                  <c:v>15000</c:v>
                </c:pt>
                <c:pt idx="158">
                  <c:v>15100</c:v>
                </c:pt>
                <c:pt idx="159">
                  <c:v>15100</c:v>
                </c:pt>
                <c:pt idx="160">
                  <c:v>15100</c:v>
                </c:pt>
                <c:pt idx="161">
                  <c:v>15100</c:v>
                </c:pt>
                <c:pt idx="162">
                  <c:v>15100</c:v>
                </c:pt>
                <c:pt idx="163">
                  <c:v>15150</c:v>
                </c:pt>
                <c:pt idx="164">
                  <c:v>15250</c:v>
                </c:pt>
                <c:pt idx="165">
                  <c:v>15250</c:v>
                </c:pt>
                <c:pt idx="166">
                  <c:v>15250</c:v>
                </c:pt>
                <c:pt idx="167">
                  <c:v>15250</c:v>
                </c:pt>
                <c:pt idx="168">
                  <c:v>15250</c:v>
                </c:pt>
                <c:pt idx="169">
                  <c:v>15300</c:v>
                </c:pt>
                <c:pt idx="170">
                  <c:v>15350</c:v>
                </c:pt>
                <c:pt idx="171">
                  <c:v>15400</c:v>
                </c:pt>
                <c:pt idx="172">
                  <c:v>15400</c:v>
                </c:pt>
                <c:pt idx="173">
                  <c:v>15400</c:v>
                </c:pt>
                <c:pt idx="174">
                  <c:v>15400</c:v>
                </c:pt>
                <c:pt idx="175">
                  <c:v>15400</c:v>
                </c:pt>
                <c:pt idx="176">
                  <c:v>15400</c:v>
                </c:pt>
                <c:pt idx="177">
                  <c:v>15400</c:v>
                </c:pt>
                <c:pt idx="178">
                  <c:v>15400</c:v>
                </c:pt>
                <c:pt idx="179">
                  <c:v>15400</c:v>
                </c:pt>
                <c:pt idx="180">
                  <c:v>15400</c:v>
                </c:pt>
                <c:pt idx="181">
                  <c:v>15300</c:v>
                </c:pt>
                <c:pt idx="182">
                  <c:v>15300</c:v>
                </c:pt>
                <c:pt idx="183">
                  <c:v>15200</c:v>
                </c:pt>
                <c:pt idx="184">
                  <c:v>15200</c:v>
                </c:pt>
                <c:pt idx="185">
                  <c:v>15150</c:v>
                </c:pt>
                <c:pt idx="186">
                  <c:v>15100</c:v>
                </c:pt>
                <c:pt idx="187">
                  <c:v>15000</c:v>
                </c:pt>
                <c:pt idx="188">
                  <c:v>14950</c:v>
                </c:pt>
                <c:pt idx="189">
                  <c:v>14700</c:v>
                </c:pt>
                <c:pt idx="190">
                  <c:v>14550</c:v>
                </c:pt>
                <c:pt idx="191">
                  <c:v>14550</c:v>
                </c:pt>
                <c:pt idx="192">
                  <c:v>14550</c:v>
                </c:pt>
                <c:pt idx="193">
                  <c:v>14400</c:v>
                </c:pt>
                <c:pt idx="194">
                  <c:v>14300</c:v>
                </c:pt>
                <c:pt idx="195">
                  <c:v>14150</c:v>
                </c:pt>
                <c:pt idx="196">
                  <c:v>14050</c:v>
                </c:pt>
                <c:pt idx="197">
                  <c:v>14050</c:v>
                </c:pt>
                <c:pt idx="198">
                  <c:v>14050</c:v>
                </c:pt>
                <c:pt idx="199">
                  <c:v>14050</c:v>
                </c:pt>
                <c:pt idx="200">
                  <c:v>14050</c:v>
                </c:pt>
                <c:pt idx="201">
                  <c:v>13900</c:v>
                </c:pt>
                <c:pt idx="202">
                  <c:v>13850</c:v>
                </c:pt>
                <c:pt idx="203">
                  <c:v>13750</c:v>
                </c:pt>
                <c:pt idx="204">
                  <c:v>13700</c:v>
                </c:pt>
                <c:pt idx="205">
                  <c:v>13650</c:v>
                </c:pt>
                <c:pt idx="206">
                  <c:v>13600</c:v>
                </c:pt>
                <c:pt idx="207">
                  <c:v>13600</c:v>
                </c:pt>
                <c:pt idx="208">
                  <c:v>13600</c:v>
                </c:pt>
                <c:pt idx="209">
                  <c:v>13600</c:v>
                </c:pt>
                <c:pt idx="210">
                  <c:v>13600</c:v>
                </c:pt>
                <c:pt idx="211">
                  <c:v>13400</c:v>
                </c:pt>
                <c:pt idx="212">
                  <c:v>13300</c:v>
                </c:pt>
                <c:pt idx="213">
                  <c:v>12950</c:v>
                </c:pt>
                <c:pt idx="214">
                  <c:v>12900</c:v>
                </c:pt>
                <c:pt idx="215">
                  <c:v>12900</c:v>
                </c:pt>
                <c:pt idx="216">
                  <c:v>12900</c:v>
                </c:pt>
                <c:pt idx="217">
                  <c:v>12900</c:v>
                </c:pt>
                <c:pt idx="218">
                  <c:v>12900</c:v>
                </c:pt>
                <c:pt idx="219">
                  <c:v>12900</c:v>
                </c:pt>
                <c:pt idx="220">
                  <c:v>12900</c:v>
                </c:pt>
                <c:pt idx="221">
                  <c:v>12900</c:v>
                </c:pt>
                <c:pt idx="222">
                  <c:v>12900</c:v>
                </c:pt>
                <c:pt idx="223">
                  <c:v>12900</c:v>
                </c:pt>
                <c:pt idx="224">
                  <c:v>12900</c:v>
                </c:pt>
                <c:pt idx="225">
                  <c:v>12900</c:v>
                </c:pt>
                <c:pt idx="226">
                  <c:v>12900</c:v>
                </c:pt>
                <c:pt idx="227">
                  <c:v>12900</c:v>
                </c:pt>
                <c:pt idx="228">
                  <c:v>12900</c:v>
                </c:pt>
                <c:pt idx="229">
                  <c:v>12900</c:v>
                </c:pt>
                <c:pt idx="230">
                  <c:v>12900</c:v>
                </c:pt>
                <c:pt idx="231">
                  <c:v>12900</c:v>
                </c:pt>
                <c:pt idx="232">
                  <c:v>13000</c:v>
                </c:pt>
                <c:pt idx="233">
                  <c:v>13250</c:v>
                </c:pt>
                <c:pt idx="234">
                  <c:v>13250</c:v>
                </c:pt>
                <c:pt idx="235">
                  <c:v>13250</c:v>
                </c:pt>
                <c:pt idx="236">
                  <c:v>13250</c:v>
                </c:pt>
                <c:pt idx="237">
                  <c:v>13250</c:v>
                </c:pt>
                <c:pt idx="238">
                  <c:v>13250</c:v>
                </c:pt>
                <c:pt idx="239">
                  <c:v>13200</c:v>
                </c:pt>
                <c:pt idx="240">
                  <c:v>13200</c:v>
                </c:pt>
                <c:pt idx="241">
                  <c:v>13200</c:v>
                </c:pt>
                <c:pt idx="242">
                  <c:v>13200</c:v>
                </c:pt>
                <c:pt idx="243">
                  <c:v>13200</c:v>
                </c:pt>
                <c:pt idx="244">
                  <c:v>13200</c:v>
                </c:pt>
                <c:pt idx="245">
                  <c:v>13200</c:v>
                </c:pt>
                <c:pt idx="246">
                  <c:v>13400</c:v>
                </c:pt>
                <c:pt idx="247">
                  <c:v>13150</c:v>
                </c:pt>
                <c:pt idx="248">
                  <c:v>13150</c:v>
                </c:pt>
                <c:pt idx="249">
                  <c:v>13150</c:v>
                </c:pt>
                <c:pt idx="250">
                  <c:v>13150</c:v>
                </c:pt>
                <c:pt idx="251">
                  <c:v>13200</c:v>
                </c:pt>
                <c:pt idx="252">
                  <c:v>13450</c:v>
                </c:pt>
              </c:numCache>
            </c:numRef>
          </c:val>
          <c:smooth val="0"/>
          <c:extLst>
            <c:ext xmlns:c16="http://schemas.microsoft.com/office/drawing/2014/chart" uri="{C3380CC4-5D6E-409C-BE32-E72D297353CC}">
              <c16:uniqueId val="{00000001-EA79-4F0B-B482-E3A760CE57DF}"/>
            </c:ext>
          </c:extLst>
        </c:ser>
        <c:ser>
          <c:idx val="2"/>
          <c:order val="2"/>
          <c:tx>
            <c:strRef>
              <c:f>各合约价格!$AM$6</c:f>
              <c:strCache>
                <c:ptCount val="1"/>
                <c:pt idx="0">
                  <c:v>盘面421含升水</c:v>
                </c:pt>
              </c:strCache>
            </c:strRef>
          </c:tx>
          <c:spPr>
            <a:ln w="28575" cap="rnd">
              <a:solidFill>
                <a:schemeClr val="accent3"/>
              </a:solidFill>
              <a:round/>
            </a:ln>
            <a:effectLst/>
          </c:spPr>
          <c:marker>
            <c:symbol val="none"/>
          </c:marker>
          <c:cat>
            <c:numRef>
              <c:f>各合约价格!$AJ$7:$AJ$372</c:f>
              <c:numCache>
                <c:formatCode>m/d/yyyy</c:formatCode>
                <c:ptCount val="366"/>
                <c:pt idx="0">
                  <c:v>45471</c:v>
                </c:pt>
                <c:pt idx="1">
                  <c:v>45470</c:v>
                </c:pt>
                <c:pt idx="2">
                  <c:v>45469</c:v>
                </c:pt>
                <c:pt idx="3">
                  <c:v>45468</c:v>
                </c:pt>
                <c:pt idx="4">
                  <c:v>45467</c:v>
                </c:pt>
                <c:pt idx="5">
                  <c:v>45464</c:v>
                </c:pt>
                <c:pt idx="6">
                  <c:v>45463</c:v>
                </c:pt>
                <c:pt idx="7">
                  <c:v>45462</c:v>
                </c:pt>
                <c:pt idx="8">
                  <c:v>45461</c:v>
                </c:pt>
                <c:pt idx="9">
                  <c:v>45460</c:v>
                </c:pt>
                <c:pt idx="10">
                  <c:v>45457</c:v>
                </c:pt>
                <c:pt idx="11">
                  <c:v>45456</c:v>
                </c:pt>
                <c:pt idx="12">
                  <c:v>45455</c:v>
                </c:pt>
                <c:pt idx="13">
                  <c:v>45454</c:v>
                </c:pt>
                <c:pt idx="14">
                  <c:v>45450</c:v>
                </c:pt>
                <c:pt idx="15">
                  <c:v>45449</c:v>
                </c:pt>
                <c:pt idx="16">
                  <c:v>45448</c:v>
                </c:pt>
                <c:pt idx="17">
                  <c:v>45447</c:v>
                </c:pt>
                <c:pt idx="18">
                  <c:v>45446</c:v>
                </c:pt>
                <c:pt idx="19">
                  <c:v>45443</c:v>
                </c:pt>
                <c:pt idx="20">
                  <c:v>45442</c:v>
                </c:pt>
                <c:pt idx="21">
                  <c:v>45441</c:v>
                </c:pt>
                <c:pt idx="22">
                  <c:v>45440</c:v>
                </c:pt>
                <c:pt idx="23">
                  <c:v>45439</c:v>
                </c:pt>
                <c:pt idx="24">
                  <c:v>45436</c:v>
                </c:pt>
                <c:pt idx="25">
                  <c:v>45435</c:v>
                </c:pt>
                <c:pt idx="26">
                  <c:v>45434</c:v>
                </c:pt>
                <c:pt idx="27">
                  <c:v>45433</c:v>
                </c:pt>
                <c:pt idx="28">
                  <c:v>45432</c:v>
                </c:pt>
                <c:pt idx="29">
                  <c:v>45429</c:v>
                </c:pt>
                <c:pt idx="30">
                  <c:v>45428</c:v>
                </c:pt>
                <c:pt idx="31">
                  <c:v>45427</c:v>
                </c:pt>
                <c:pt idx="32">
                  <c:v>45426</c:v>
                </c:pt>
                <c:pt idx="33">
                  <c:v>45425</c:v>
                </c:pt>
                <c:pt idx="34">
                  <c:v>45422</c:v>
                </c:pt>
                <c:pt idx="35">
                  <c:v>45421</c:v>
                </c:pt>
                <c:pt idx="36">
                  <c:v>45420</c:v>
                </c:pt>
                <c:pt idx="37">
                  <c:v>45419</c:v>
                </c:pt>
                <c:pt idx="38">
                  <c:v>45418</c:v>
                </c:pt>
                <c:pt idx="39">
                  <c:v>45412</c:v>
                </c:pt>
                <c:pt idx="40">
                  <c:v>45411</c:v>
                </c:pt>
                <c:pt idx="41">
                  <c:v>45408</c:v>
                </c:pt>
                <c:pt idx="42">
                  <c:v>45407</c:v>
                </c:pt>
                <c:pt idx="43">
                  <c:v>45406</c:v>
                </c:pt>
                <c:pt idx="44">
                  <c:v>45405</c:v>
                </c:pt>
                <c:pt idx="45">
                  <c:v>45404</c:v>
                </c:pt>
                <c:pt idx="46">
                  <c:v>45401</c:v>
                </c:pt>
                <c:pt idx="47">
                  <c:v>45400</c:v>
                </c:pt>
                <c:pt idx="48">
                  <c:v>45399</c:v>
                </c:pt>
                <c:pt idx="49">
                  <c:v>45398</c:v>
                </c:pt>
                <c:pt idx="50">
                  <c:v>45397</c:v>
                </c:pt>
                <c:pt idx="51">
                  <c:v>45394</c:v>
                </c:pt>
                <c:pt idx="52">
                  <c:v>45393</c:v>
                </c:pt>
                <c:pt idx="53">
                  <c:v>45392</c:v>
                </c:pt>
                <c:pt idx="54">
                  <c:v>45391</c:v>
                </c:pt>
                <c:pt idx="55">
                  <c:v>45390</c:v>
                </c:pt>
                <c:pt idx="56">
                  <c:v>45385</c:v>
                </c:pt>
                <c:pt idx="57">
                  <c:v>45384</c:v>
                </c:pt>
                <c:pt idx="58">
                  <c:v>45383</c:v>
                </c:pt>
                <c:pt idx="59">
                  <c:v>45380</c:v>
                </c:pt>
                <c:pt idx="60">
                  <c:v>45379</c:v>
                </c:pt>
                <c:pt idx="61">
                  <c:v>45378</c:v>
                </c:pt>
                <c:pt idx="62">
                  <c:v>45377</c:v>
                </c:pt>
                <c:pt idx="63">
                  <c:v>45376</c:v>
                </c:pt>
                <c:pt idx="64">
                  <c:v>45373</c:v>
                </c:pt>
                <c:pt idx="65">
                  <c:v>45372</c:v>
                </c:pt>
                <c:pt idx="66">
                  <c:v>45371</c:v>
                </c:pt>
                <c:pt idx="67">
                  <c:v>45370</c:v>
                </c:pt>
                <c:pt idx="68">
                  <c:v>45369</c:v>
                </c:pt>
                <c:pt idx="69">
                  <c:v>45366</c:v>
                </c:pt>
                <c:pt idx="70">
                  <c:v>45365</c:v>
                </c:pt>
                <c:pt idx="71">
                  <c:v>45364</c:v>
                </c:pt>
                <c:pt idx="72">
                  <c:v>45363</c:v>
                </c:pt>
                <c:pt idx="73">
                  <c:v>45362</c:v>
                </c:pt>
                <c:pt idx="74">
                  <c:v>45359</c:v>
                </c:pt>
                <c:pt idx="75">
                  <c:v>45358</c:v>
                </c:pt>
                <c:pt idx="76">
                  <c:v>45357</c:v>
                </c:pt>
                <c:pt idx="77">
                  <c:v>45356</c:v>
                </c:pt>
                <c:pt idx="78">
                  <c:v>45355</c:v>
                </c:pt>
                <c:pt idx="79">
                  <c:v>45352</c:v>
                </c:pt>
                <c:pt idx="80">
                  <c:v>45351</c:v>
                </c:pt>
                <c:pt idx="81">
                  <c:v>45350</c:v>
                </c:pt>
                <c:pt idx="82">
                  <c:v>45349</c:v>
                </c:pt>
                <c:pt idx="83">
                  <c:v>45348</c:v>
                </c:pt>
                <c:pt idx="84">
                  <c:v>45345</c:v>
                </c:pt>
                <c:pt idx="85">
                  <c:v>45344</c:v>
                </c:pt>
                <c:pt idx="86">
                  <c:v>45343</c:v>
                </c:pt>
                <c:pt idx="87">
                  <c:v>45342</c:v>
                </c:pt>
                <c:pt idx="88">
                  <c:v>45341</c:v>
                </c:pt>
                <c:pt idx="89">
                  <c:v>45330</c:v>
                </c:pt>
                <c:pt idx="90">
                  <c:v>45329</c:v>
                </c:pt>
                <c:pt idx="91">
                  <c:v>45328</c:v>
                </c:pt>
                <c:pt idx="92">
                  <c:v>45327</c:v>
                </c:pt>
                <c:pt idx="93">
                  <c:v>45324</c:v>
                </c:pt>
                <c:pt idx="94">
                  <c:v>45323</c:v>
                </c:pt>
                <c:pt idx="95">
                  <c:v>45322</c:v>
                </c:pt>
                <c:pt idx="96">
                  <c:v>45321</c:v>
                </c:pt>
                <c:pt idx="97">
                  <c:v>45320</c:v>
                </c:pt>
                <c:pt idx="98">
                  <c:v>45317</c:v>
                </c:pt>
                <c:pt idx="99">
                  <c:v>45316</c:v>
                </c:pt>
                <c:pt idx="100">
                  <c:v>45315</c:v>
                </c:pt>
                <c:pt idx="101">
                  <c:v>45314</c:v>
                </c:pt>
                <c:pt idx="102">
                  <c:v>45313</c:v>
                </c:pt>
                <c:pt idx="103">
                  <c:v>45310</c:v>
                </c:pt>
                <c:pt idx="104">
                  <c:v>45309</c:v>
                </c:pt>
                <c:pt idx="105">
                  <c:v>45308</c:v>
                </c:pt>
                <c:pt idx="106">
                  <c:v>45307</c:v>
                </c:pt>
                <c:pt idx="107">
                  <c:v>45306</c:v>
                </c:pt>
                <c:pt idx="108">
                  <c:v>45303</c:v>
                </c:pt>
                <c:pt idx="109">
                  <c:v>45302</c:v>
                </c:pt>
                <c:pt idx="110">
                  <c:v>45301</c:v>
                </c:pt>
                <c:pt idx="111">
                  <c:v>45300</c:v>
                </c:pt>
                <c:pt idx="112">
                  <c:v>45299</c:v>
                </c:pt>
                <c:pt idx="113">
                  <c:v>45296</c:v>
                </c:pt>
                <c:pt idx="114">
                  <c:v>45295</c:v>
                </c:pt>
                <c:pt idx="115">
                  <c:v>45294</c:v>
                </c:pt>
                <c:pt idx="116">
                  <c:v>45293</c:v>
                </c:pt>
                <c:pt idx="117">
                  <c:v>45289</c:v>
                </c:pt>
                <c:pt idx="118">
                  <c:v>45288</c:v>
                </c:pt>
                <c:pt idx="119">
                  <c:v>45287</c:v>
                </c:pt>
                <c:pt idx="120">
                  <c:v>45286</c:v>
                </c:pt>
                <c:pt idx="121">
                  <c:v>45285</c:v>
                </c:pt>
                <c:pt idx="122">
                  <c:v>45282</c:v>
                </c:pt>
                <c:pt idx="123">
                  <c:v>45281</c:v>
                </c:pt>
                <c:pt idx="124">
                  <c:v>45280</c:v>
                </c:pt>
                <c:pt idx="125">
                  <c:v>45279</c:v>
                </c:pt>
                <c:pt idx="126">
                  <c:v>45278</c:v>
                </c:pt>
                <c:pt idx="127">
                  <c:v>45275</c:v>
                </c:pt>
                <c:pt idx="128">
                  <c:v>45274</c:v>
                </c:pt>
                <c:pt idx="129">
                  <c:v>45273</c:v>
                </c:pt>
                <c:pt idx="130">
                  <c:v>45272</c:v>
                </c:pt>
                <c:pt idx="131">
                  <c:v>45271</c:v>
                </c:pt>
                <c:pt idx="132">
                  <c:v>45268</c:v>
                </c:pt>
                <c:pt idx="133">
                  <c:v>45267</c:v>
                </c:pt>
                <c:pt idx="134">
                  <c:v>45266</c:v>
                </c:pt>
                <c:pt idx="135">
                  <c:v>45265</c:v>
                </c:pt>
                <c:pt idx="136">
                  <c:v>45264</c:v>
                </c:pt>
                <c:pt idx="137">
                  <c:v>45261</c:v>
                </c:pt>
                <c:pt idx="138">
                  <c:v>45260</c:v>
                </c:pt>
                <c:pt idx="139">
                  <c:v>45259</c:v>
                </c:pt>
                <c:pt idx="140">
                  <c:v>45258</c:v>
                </c:pt>
                <c:pt idx="141">
                  <c:v>45257</c:v>
                </c:pt>
                <c:pt idx="142">
                  <c:v>45254</c:v>
                </c:pt>
                <c:pt idx="143">
                  <c:v>45253</c:v>
                </c:pt>
                <c:pt idx="144">
                  <c:v>45252</c:v>
                </c:pt>
                <c:pt idx="145">
                  <c:v>45251</c:v>
                </c:pt>
                <c:pt idx="146">
                  <c:v>45250</c:v>
                </c:pt>
                <c:pt idx="147">
                  <c:v>45247</c:v>
                </c:pt>
                <c:pt idx="148">
                  <c:v>45246</c:v>
                </c:pt>
                <c:pt idx="149">
                  <c:v>45245</c:v>
                </c:pt>
                <c:pt idx="150">
                  <c:v>45244</c:v>
                </c:pt>
                <c:pt idx="151">
                  <c:v>45243</c:v>
                </c:pt>
                <c:pt idx="152">
                  <c:v>45240</c:v>
                </c:pt>
                <c:pt idx="153">
                  <c:v>45239</c:v>
                </c:pt>
                <c:pt idx="154">
                  <c:v>45238</c:v>
                </c:pt>
                <c:pt idx="155">
                  <c:v>45237</c:v>
                </c:pt>
                <c:pt idx="156">
                  <c:v>45236</c:v>
                </c:pt>
                <c:pt idx="157">
                  <c:v>45233</c:v>
                </c:pt>
                <c:pt idx="158">
                  <c:v>45232</c:v>
                </c:pt>
                <c:pt idx="159">
                  <c:v>45231</c:v>
                </c:pt>
                <c:pt idx="160">
                  <c:v>45230</c:v>
                </c:pt>
                <c:pt idx="161">
                  <c:v>45229</c:v>
                </c:pt>
                <c:pt idx="162">
                  <c:v>45226</c:v>
                </c:pt>
                <c:pt idx="163">
                  <c:v>45225</c:v>
                </c:pt>
                <c:pt idx="164">
                  <c:v>45224</c:v>
                </c:pt>
                <c:pt idx="165">
                  <c:v>45223</c:v>
                </c:pt>
                <c:pt idx="166">
                  <c:v>45222</c:v>
                </c:pt>
                <c:pt idx="167">
                  <c:v>45219</c:v>
                </c:pt>
                <c:pt idx="168">
                  <c:v>45218</c:v>
                </c:pt>
                <c:pt idx="169">
                  <c:v>45217</c:v>
                </c:pt>
                <c:pt idx="170">
                  <c:v>45216</c:v>
                </c:pt>
                <c:pt idx="171">
                  <c:v>45215</c:v>
                </c:pt>
                <c:pt idx="172">
                  <c:v>45212</c:v>
                </c:pt>
                <c:pt idx="173">
                  <c:v>45211</c:v>
                </c:pt>
                <c:pt idx="174">
                  <c:v>45210</c:v>
                </c:pt>
                <c:pt idx="175">
                  <c:v>45209</c:v>
                </c:pt>
                <c:pt idx="176">
                  <c:v>45208</c:v>
                </c:pt>
                <c:pt idx="177">
                  <c:v>45197</c:v>
                </c:pt>
                <c:pt idx="178">
                  <c:v>45196</c:v>
                </c:pt>
                <c:pt idx="179">
                  <c:v>45195</c:v>
                </c:pt>
                <c:pt idx="180">
                  <c:v>45194</c:v>
                </c:pt>
                <c:pt idx="181">
                  <c:v>45191</c:v>
                </c:pt>
                <c:pt idx="182">
                  <c:v>45190</c:v>
                </c:pt>
                <c:pt idx="183">
                  <c:v>45189</c:v>
                </c:pt>
                <c:pt idx="184">
                  <c:v>45188</c:v>
                </c:pt>
                <c:pt idx="185">
                  <c:v>45187</c:v>
                </c:pt>
                <c:pt idx="186">
                  <c:v>45184</c:v>
                </c:pt>
                <c:pt idx="187">
                  <c:v>45183</c:v>
                </c:pt>
                <c:pt idx="188">
                  <c:v>45182</c:v>
                </c:pt>
                <c:pt idx="189">
                  <c:v>45181</c:v>
                </c:pt>
                <c:pt idx="190">
                  <c:v>45180</c:v>
                </c:pt>
                <c:pt idx="191">
                  <c:v>45177</c:v>
                </c:pt>
                <c:pt idx="192">
                  <c:v>45176</c:v>
                </c:pt>
                <c:pt idx="193">
                  <c:v>45175</c:v>
                </c:pt>
                <c:pt idx="194">
                  <c:v>45174</c:v>
                </c:pt>
                <c:pt idx="195">
                  <c:v>45173</c:v>
                </c:pt>
                <c:pt idx="196">
                  <c:v>45170</c:v>
                </c:pt>
                <c:pt idx="197">
                  <c:v>45169</c:v>
                </c:pt>
                <c:pt idx="198">
                  <c:v>45168</c:v>
                </c:pt>
                <c:pt idx="199">
                  <c:v>45167</c:v>
                </c:pt>
                <c:pt idx="200">
                  <c:v>45166</c:v>
                </c:pt>
                <c:pt idx="201">
                  <c:v>45163</c:v>
                </c:pt>
                <c:pt idx="202">
                  <c:v>45162</c:v>
                </c:pt>
                <c:pt idx="203">
                  <c:v>45161</c:v>
                </c:pt>
                <c:pt idx="204">
                  <c:v>45160</c:v>
                </c:pt>
                <c:pt idx="205">
                  <c:v>45159</c:v>
                </c:pt>
                <c:pt idx="206">
                  <c:v>45156</c:v>
                </c:pt>
                <c:pt idx="207">
                  <c:v>45155</c:v>
                </c:pt>
                <c:pt idx="208">
                  <c:v>45154</c:v>
                </c:pt>
                <c:pt idx="209">
                  <c:v>45153</c:v>
                </c:pt>
                <c:pt idx="210">
                  <c:v>45152</c:v>
                </c:pt>
                <c:pt idx="211">
                  <c:v>45149</c:v>
                </c:pt>
                <c:pt idx="212">
                  <c:v>45148</c:v>
                </c:pt>
                <c:pt idx="213">
                  <c:v>45147</c:v>
                </c:pt>
                <c:pt idx="214">
                  <c:v>45146</c:v>
                </c:pt>
                <c:pt idx="215">
                  <c:v>45145</c:v>
                </c:pt>
                <c:pt idx="216">
                  <c:v>45142</c:v>
                </c:pt>
                <c:pt idx="217">
                  <c:v>45141</c:v>
                </c:pt>
                <c:pt idx="218">
                  <c:v>45140</c:v>
                </c:pt>
                <c:pt idx="219">
                  <c:v>45139</c:v>
                </c:pt>
                <c:pt idx="220">
                  <c:v>45138</c:v>
                </c:pt>
                <c:pt idx="221">
                  <c:v>45135</c:v>
                </c:pt>
                <c:pt idx="222">
                  <c:v>45134</c:v>
                </c:pt>
                <c:pt idx="223">
                  <c:v>45133</c:v>
                </c:pt>
                <c:pt idx="224">
                  <c:v>45132</c:v>
                </c:pt>
                <c:pt idx="225">
                  <c:v>45131</c:v>
                </c:pt>
                <c:pt idx="226">
                  <c:v>45128</c:v>
                </c:pt>
                <c:pt idx="227">
                  <c:v>45127</c:v>
                </c:pt>
                <c:pt idx="228">
                  <c:v>45126</c:v>
                </c:pt>
                <c:pt idx="229">
                  <c:v>45125</c:v>
                </c:pt>
                <c:pt idx="230">
                  <c:v>45124</c:v>
                </c:pt>
                <c:pt idx="231">
                  <c:v>45121</c:v>
                </c:pt>
                <c:pt idx="232">
                  <c:v>45120</c:v>
                </c:pt>
                <c:pt idx="233">
                  <c:v>45119</c:v>
                </c:pt>
                <c:pt idx="234">
                  <c:v>45118</c:v>
                </c:pt>
                <c:pt idx="235">
                  <c:v>45117</c:v>
                </c:pt>
                <c:pt idx="236">
                  <c:v>45114</c:v>
                </c:pt>
                <c:pt idx="237">
                  <c:v>45113</c:v>
                </c:pt>
                <c:pt idx="238">
                  <c:v>45112</c:v>
                </c:pt>
                <c:pt idx="239">
                  <c:v>45111</c:v>
                </c:pt>
                <c:pt idx="240">
                  <c:v>45110</c:v>
                </c:pt>
                <c:pt idx="241">
                  <c:v>45107</c:v>
                </c:pt>
                <c:pt idx="242">
                  <c:v>45106</c:v>
                </c:pt>
                <c:pt idx="243">
                  <c:v>45105</c:v>
                </c:pt>
                <c:pt idx="244">
                  <c:v>45104</c:v>
                </c:pt>
                <c:pt idx="245">
                  <c:v>45103</c:v>
                </c:pt>
                <c:pt idx="246">
                  <c:v>45098</c:v>
                </c:pt>
                <c:pt idx="247">
                  <c:v>45097</c:v>
                </c:pt>
                <c:pt idx="248">
                  <c:v>45096</c:v>
                </c:pt>
                <c:pt idx="249">
                  <c:v>45093</c:v>
                </c:pt>
                <c:pt idx="250">
                  <c:v>45092</c:v>
                </c:pt>
                <c:pt idx="251">
                  <c:v>45091</c:v>
                </c:pt>
                <c:pt idx="252">
                  <c:v>45090</c:v>
                </c:pt>
              </c:numCache>
            </c:numRef>
          </c:cat>
          <c:val>
            <c:numRef>
              <c:f>各合约价格!$AM$7:$AM$372</c:f>
              <c:numCache>
                <c:formatCode>0_);[Red]\(0\)</c:formatCode>
                <c:ptCount val="366"/>
                <c:pt idx="0">
                  <c:v>13420</c:v>
                </c:pt>
                <c:pt idx="1">
                  <c:v>13415</c:v>
                </c:pt>
                <c:pt idx="2">
                  <c:v>13470</c:v>
                </c:pt>
                <c:pt idx="3">
                  <c:v>13305</c:v>
                </c:pt>
                <c:pt idx="4">
                  <c:v>13400</c:v>
                </c:pt>
                <c:pt idx="5">
                  <c:v>13965</c:v>
                </c:pt>
                <c:pt idx="6">
                  <c:v>14055</c:v>
                </c:pt>
                <c:pt idx="7">
                  <c:v>14020</c:v>
                </c:pt>
                <c:pt idx="8">
                  <c:v>13935</c:v>
                </c:pt>
                <c:pt idx="9">
                  <c:v>14155</c:v>
                </c:pt>
                <c:pt idx="10">
                  <c:v>14175</c:v>
                </c:pt>
                <c:pt idx="11">
                  <c:v>14160</c:v>
                </c:pt>
                <c:pt idx="12">
                  <c:v>14180</c:v>
                </c:pt>
                <c:pt idx="13">
                  <c:v>14120</c:v>
                </c:pt>
                <c:pt idx="14">
                  <c:v>14305</c:v>
                </c:pt>
                <c:pt idx="15">
                  <c:v>14465</c:v>
                </c:pt>
                <c:pt idx="16">
                  <c:v>14400</c:v>
                </c:pt>
                <c:pt idx="17">
                  <c:v>14520</c:v>
                </c:pt>
                <c:pt idx="18">
                  <c:v>14365</c:v>
                </c:pt>
                <c:pt idx="19">
                  <c:v>14835</c:v>
                </c:pt>
                <c:pt idx="20">
                  <c:v>15075</c:v>
                </c:pt>
                <c:pt idx="21">
                  <c:v>14340</c:v>
                </c:pt>
                <c:pt idx="22">
                  <c:v>14465</c:v>
                </c:pt>
                <c:pt idx="23">
                  <c:v>14710</c:v>
                </c:pt>
                <c:pt idx="24">
                  <c:v>14775</c:v>
                </c:pt>
                <c:pt idx="25">
                  <c:v>14220</c:v>
                </c:pt>
                <c:pt idx="26">
                  <c:v>14340</c:v>
                </c:pt>
                <c:pt idx="27">
                  <c:v>14270</c:v>
                </c:pt>
                <c:pt idx="28">
                  <c:v>14055</c:v>
                </c:pt>
                <c:pt idx="29">
                  <c:v>13875</c:v>
                </c:pt>
                <c:pt idx="30">
                  <c:v>13725</c:v>
                </c:pt>
                <c:pt idx="31">
                  <c:v>13770</c:v>
                </c:pt>
                <c:pt idx="32">
                  <c:v>13740</c:v>
                </c:pt>
                <c:pt idx="33">
                  <c:v>13990</c:v>
                </c:pt>
                <c:pt idx="34">
                  <c:v>13925</c:v>
                </c:pt>
                <c:pt idx="35">
                  <c:v>14060</c:v>
                </c:pt>
                <c:pt idx="36">
                  <c:v>13860</c:v>
                </c:pt>
                <c:pt idx="37">
                  <c:v>13955</c:v>
                </c:pt>
                <c:pt idx="38">
                  <c:v>13995</c:v>
                </c:pt>
                <c:pt idx="39">
                  <c:v>13955</c:v>
                </c:pt>
                <c:pt idx="40">
                  <c:v>13965</c:v>
                </c:pt>
                <c:pt idx="41">
                  <c:v>13765</c:v>
                </c:pt>
                <c:pt idx="42">
                  <c:v>13745</c:v>
                </c:pt>
                <c:pt idx="43">
                  <c:v>13790</c:v>
                </c:pt>
                <c:pt idx="44">
                  <c:v>13710</c:v>
                </c:pt>
                <c:pt idx="45">
                  <c:v>13695</c:v>
                </c:pt>
                <c:pt idx="46">
                  <c:v>13520</c:v>
                </c:pt>
                <c:pt idx="47">
                  <c:v>13655</c:v>
                </c:pt>
                <c:pt idx="48">
                  <c:v>13705</c:v>
                </c:pt>
                <c:pt idx="49">
                  <c:v>13955</c:v>
                </c:pt>
                <c:pt idx="50">
                  <c:v>14190</c:v>
                </c:pt>
                <c:pt idx="51">
                  <c:v>14205</c:v>
                </c:pt>
                <c:pt idx="52">
                  <c:v>14135</c:v>
                </c:pt>
                <c:pt idx="53">
                  <c:v>14215</c:v>
                </c:pt>
                <c:pt idx="54">
                  <c:v>14275</c:v>
                </c:pt>
                <c:pt idx="55">
                  <c:v>14065</c:v>
                </c:pt>
                <c:pt idx="56">
                  <c:v>14010</c:v>
                </c:pt>
                <c:pt idx="57">
                  <c:v>14050</c:v>
                </c:pt>
                <c:pt idx="58">
                  <c:v>13920</c:v>
                </c:pt>
                <c:pt idx="59">
                  <c:v>13945</c:v>
                </c:pt>
                <c:pt idx="60">
                  <c:v>14065</c:v>
                </c:pt>
                <c:pt idx="61">
                  <c:v>14105</c:v>
                </c:pt>
                <c:pt idx="62">
                  <c:v>14290</c:v>
                </c:pt>
                <c:pt idx="63">
                  <c:v>14385</c:v>
                </c:pt>
                <c:pt idx="64">
                  <c:v>14505</c:v>
                </c:pt>
                <c:pt idx="65">
                  <c:v>14670</c:v>
                </c:pt>
                <c:pt idx="66">
                  <c:v>14690</c:v>
                </c:pt>
                <c:pt idx="67">
                  <c:v>14660</c:v>
                </c:pt>
                <c:pt idx="68">
                  <c:v>14705</c:v>
                </c:pt>
                <c:pt idx="69">
                  <c:v>14790</c:v>
                </c:pt>
                <c:pt idx="70">
                  <c:v>15230</c:v>
                </c:pt>
                <c:pt idx="71">
                  <c:v>15250</c:v>
                </c:pt>
                <c:pt idx="72">
                  <c:v>15280</c:v>
                </c:pt>
                <c:pt idx="73">
                  <c:v>15190</c:v>
                </c:pt>
                <c:pt idx="74">
                  <c:v>15265</c:v>
                </c:pt>
                <c:pt idx="75">
                  <c:v>15260</c:v>
                </c:pt>
                <c:pt idx="76">
                  <c:v>15290</c:v>
                </c:pt>
                <c:pt idx="77">
                  <c:v>15325</c:v>
                </c:pt>
                <c:pt idx="78">
                  <c:v>15390</c:v>
                </c:pt>
                <c:pt idx="79">
                  <c:v>15300</c:v>
                </c:pt>
                <c:pt idx="80">
                  <c:v>15160</c:v>
                </c:pt>
                <c:pt idx="81">
                  <c:v>15275</c:v>
                </c:pt>
                <c:pt idx="82">
                  <c:v>15370</c:v>
                </c:pt>
                <c:pt idx="83">
                  <c:v>15265</c:v>
                </c:pt>
                <c:pt idx="84">
                  <c:v>15425</c:v>
                </c:pt>
                <c:pt idx="85">
                  <c:v>15360</c:v>
                </c:pt>
                <c:pt idx="86">
                  <c:v>15395</c:v>
                </c:pt>
                <c:pt idx="87">
                  <c:v>15310</c:v>
                </c:pt>
                <c:pt idx="88">
                  <c:v>15340</c:v>
                </c:pt>
                <c:pt idx="89">
                  <c:v>15500</c:v>
                </c:pt>
                <c:pt idx="90">
                  <c:v>15440</c:v>
                </c:pt>
                <c:pt idx="91">
                  <c:v>15205</c:v>
                </c:pt>
                <c:pt idx="92">
                  <c:v>15250</c:v>
                </c:pt>
                <c:pt idx="93">
                  <c:v>15225</c:v>
                </c:pt>
                <c:pt idx="94">
                  <c:v>15210</c:v>
                </c:pt>
                <c:pt idx="95">
                  <c:v>15160</c:v>
                </c:pt>
                <c:pt idx="96">
                  <c:v>15310</c:v>
                </c:pt>
                <c:pt idx="97">
                  <c:v>15255</c:v>
                </c:pt>
                <c:pt idx="98">
                  <c:v>15365</c:v>
                </c:pt>
                <c:pt idx="99">
                  <c:v>15435</c:v>
                </c:pt>
                <c:pt idx="100">
                  <c:v>15385</c:v>
                </c:pt>
                <c:pt idx="101">
                  <c:v>15370</c:v>
                </c:pt>
                <c:pt idx="102">
                  <c:v>15420</c:v>
                </c:pt>
                <c:pt idx="103">
                  <c:v>15475</c:v>
                </c:pt>
                <c:pt idx="104">
                  <c:v>15270</c:v>
                </c:pt>
                <c:pt idx="105">
                  <c:v>15425</c:v>
                </c:pt>
                <c:pt idx="106">
                  <c:v>15540</c:v>
                </c:pt>
                <c:pt idx="107">
                  <c:v>15675</c:v>
                </c:pt>
                <c:pt idx="108">
                  <c:v>15610</c:v>
                </c:pt>
                <c:pt idx="109">
                  <c:v>15875</c:v>
                </c:pt>
                <c:pt idx="110">
                  <c:v>15930</c:v>
                </c:pt>
                <c:pt idx="111">
                  <c:v>15840</c:v>
                </c:pt>
                <c:pt idx="112">
                  <c:v>15900</c:v>
                </c:pt>
                <c:pt idx="113">
                  <c:v>15960</c:v>
                </c:pt>
                <c:pt idx="114">
                  <c:v>16250</c:v>
                </c:pt>
                <c:pt idx="115">
                  <c:v>16290</c:v>
                </c:pt>
                <c:pt idx="116">
                  <c:v>16365</c:v>
                </c:pt>
                <c:pt idx="117">
                  <c:v>16160</c:v>
                </c:pt>
                <c:pt idx="118">
                  <c:v>16240</c:v>
                </c:pt>
                <c:pt idx="119">
                  <c:v>16235</c:v>
                </c:pt>
                <c:pt idx="120">
                  <c:v>16235</c:v>
                </c:pt>
                <c:pt idx="121">
                  <c:v>16245</c:v>
                </c:pt>
                <c:pt idx="122">
                  <c:v>16195</c:v>
                </c:pt>
                <c:pt idx="123">
                  <c:v>16160</c:v>
                </c:pt>
                <c:pt idx="124">
                  <c:v>16280</c:v>
                </c:pt>
                <c:pt idx="125">
                  <c:v>16235</c:v>
                </c:pt>
                <c:pt idx="126">
                  <c:v>15875</c:v>
                </c:pt>
                <c:pt idx="127">
                  <c:v>15810</c:v>
                </c:pt>
                <c:pt idx="128">
                  <c:v>15750</c:v>
                </c:pt>
                <c:pt idx="129">
                  <c:v>15720</c:v>
                </c:pt>
                <c:pt idx="130">
                  <c:v>15785</c:v>
                </c:pt>
                <c:pt idx="131">
                  <c:v>15770</c:v>
                </c:pt>
                <c:pt idx="132">
                  <c:v>15875</c:v>
                </c:pt>
                <c:pt idx="133">
                  <c:v>15700</c:v>
                </c:pt>
                <c:pt idx="134">
                  <c:v>15700</c:v>
                </c:pt>
                <c:pt idx="135">
                  <c:v>15410</c:v>
                </c:pt>
                <c:pt idx="136">
                  <c:v>15930</c:v>
                </c:pt>
                <c:pt idx="137">
                  <c:v>15940</c:v>
                </c:pt>
                <c:pt idx="138">
                  <c:v>16005</c:v>
                </c:pt>
                <c:pt idx="139">
                  <c:v>15970</c:v>
                </c:pt>
                <c:pt idx="140">
                  <c:v>15975</c:v>
                </c:pt>
                <c:pt idx="141">
                  <c:v>15940</c:v>
                </c:pt>
                <c:pt idx="142">
                  <c:v>16200</c:v>
                </c:pt>
                <c:pt idx="143">
                  <c:v>16195</c:v>
                </c:pt>
                <c:pt idx="144">
                  <c:v>16185</c:v>
                </c:pt>
                <c:pt idx="145">
                  <c:v>16285</c:v>
                </c:pt>
                <c:pt idx="146">
                  <c:v>16370</c:v>
                </c:pt>
                <c:pt idx="147">
                  <c:v>16265</c:v>
                </c:pt>
                <c:pt idx="148">
                  <c:v>16175</c:v>
                </c:pt>
                <c:pt idx="149">
                  <c:v>16120</c:v>
                </c:pt>
                <c:pt idx="150">
                  <c:v>16055</c:v>
                </c:pt>
                <c:pt idx="151">
                  <c:v>16040</c:v>
                </c:pt>
                <c:pt idx="152">
                  <c:v>16090</c:v>
                </c:pt>
                <c:pt idx="153">
                  <c:v>16130</c:v>
                </c:pt>
                <c:pt idx="154">
                  <c:v>16175</c:v>
                </c:pt>
                <c:pt idx="155">
                  <c:v>16130</c:v>
                </c:pt>
                <c:pt idx="156">
                  <c:v>16255</c:v>
                </c:pt>
                <c:pt idx="157">
                  <c:v>16120</c:v>
                </c:pt>
                <c:pt idx="158">
                  <c:v>16075</c:v>
                </c:pt>
                <c:pt idx="159">
                  <c:v>15990</c:v>
                </c:pt>
                <c:pt idx="160">
                  <c:v>16260</c:v>
                </c:pt>
                <c:pt idx="161">
                  <c:v>16210</c:v>
                </c:pt>
                <c:pt idx="162">
                  <c:v>15995</c:v>
                </c:pt>
                <c:pt idx="163">
                  <c:v>16150</c:v>
                </c:pt>
                <c:pt idx="164">
                  <c:v>16440</c:v>
                </c:pt>
                <c:pt idx="165">
                  <c:v>16450</c:v>
                </c:pt>
                <c:pt idx="166">
                  <c:v>16525</c:v>
                </c:pt>
                <c:pt idx="167">
                  <c:v>16515</c:v>
                </c:pt>
                <c:pt idx="168">
                  <c:v>16540</c:v>
                </c:pt>
                <c:pt idx="169">
                  <c:v>16780</c:v>
                </c:pt>
                <c:pt idx="170">
                  <c:v>16630</c:v>
                </c:pt>
                <c:pt idx="171">
                  <c:v>16540</c:v>
                </c:pt>
                <c:pt idx="172">
                  <c:v>16690</c:v>
                </c:pt>
                <c:pt idx="173">
                  <c:v>16210</c:v>
                </c:pt>
                <c:pt idx="174">
                  <c:v>16190</c:v>
                </c:pt>
                <c:pt idx="175">
                  <c:v>16265</c:v>
                </c:pt>
                <c:pt idx="176">
                  <c:v>16155</c:v>
                </c:pt>
                <c:pt idx="177">
                  <c:v>15960</c:v>
                </c:pt>
                <c:pt idx="178">
                  <c:v>16195</c:v>
                </c:pt>
                <c:pt idx="179">
                  <c:v>16525</c:v>
                </c:pt>
                <c:pt idx="180">
                  <c:v>16530</c:v>
                </c:pt>
                <c:pt idx="181">
                  <c:v>16600</c:v>
                </c:pt>
                <c:pt idx="182">
                  <c:v>16585</c:v>
                </c:pt>
                <c:pt idx="183">
                  <c:v>16860</c:v>
                </c:pt>
                <c:pt idx="184">
                  <c:v>16710</c:v>
                </c:pt>
                <c:pt idx="185">
                  <c:v>16995</c:v>
                </c:pt>
                <c:pt idx="186">
                  <c:v>16825</c:v>
                </c:pt>
                <c:pt idx="187">
                  <c:v>16590</c:v>
                </c:pt>
                <c:pt idx="188">
                  <c:v>16390</c:v>
                </c:pt>
                <c:pt idx="189">
                  <c:v>16435</c:v>
                </c:pt>
                <c:pt idx="190">
                  <c:v>16415</c:v>
                </c:pt>
                <c:pt idx="191">
                  <c:v>16240</c:v>
                </c:pt>
                <c:pt idx="192">
                  <c:v>16125</c:v>
                </c:pt>
                <c:pt idx="193">
                  <c:v>16115</c:v>
                </c:pt>
                <c:pt idx="194">
                  <c:v>15915</c:v>
                </c:pt>
                <c:pt idx="195">
                  <c:v>15845</c:v>
                </c:pt>
                <c:pt idx="196">
                  <c:v>15805</c:v>
                </c:pt>
                <c:pt idx="197">
                  <c:v>15540</c:v>
                </c:pt>
                <c:pt idx="198">
                  <c:v>15540</c:v>
                </c:pt>
                <c:pt idx="199">
                  <c:v>15510</c:v>
                </c:pt>
                <c:pt idx="200">
                  <c:v>15420</c:v>
                </c:pt>
                <c:pt idx="201">
                  <c:v>15795</c:v>
                </c:pt>
                <c:pt idx="202">
                  <c:v>15725</c:v>
                </c:pt>
                <c:pt idx="203">
                  <c:v>15665</c:v>
                </c:pt>
                <c:pt idx="204">
                  <c:v>15695</c:v>
                </c:pt>
                <c:pt idx="205">
                  <c:v>15625</c:v>
                </c:pt>
                <c:pt idx="206">
                  <c:v>15530</c:v>
                </c:pt>
                <c:pt idx="207">
                  <c:v>15515</c:v>
                </c:pt>
                <c:pt idx="208">
                  <c:v>15460</c:v>
                </c:pt>
                <c:pt idx="209">
                  <c:v>15635</c:v>
                </c:pt>
                <c:pt idx="210">
                  <c:v>15660</c:v>
                </c:pt>
                <c:pt idx="211">
                  <c:v>15645</c:v>
                </c:pt>
                <c:pt idx="212">
                  <c:v>15625</c:v>
                </c:pt>
                <c:pt idx="213">
                  <c:v>15595</c:v>
                </c:pt>
                <c:pt idx="214">
                  <c:v>15185</c:v>
                </c:pt>
                <c:pt idx="215">
                  <c:v>15200</c:v>
                </c:pt>
                <c:pt idx="216">
                  <c:v>15330</c:v>
                </c:pt>
                <c:pt idx="217">
                  <c:v>15290</c:v>
                </c:pt>
                <c:pt idx="218">
                  <c:v>15860</c:v>
                </c:pt>
                <c:pt idx="219">
                  <c:v>15745</c:v>
                </c:pt>
                <c:pt idx="220">
                  <c:v>15725</c:v>
                </c:pt>
                <c:pt idx="221">
                  <c:v>15610</c:v>
                </c:pt>
                <c:pt idx="222">
                  <c:v>15570</c:v>
                </c:pt>
                <c:pt idx="223">
                  <c:v>15615</c:v>
                </c:pt>
                <c:pt idx="224">
                  <c:v>15555</c:v>
                </c:pt>
                <c:pt idx="225">
                  <c:v>15440</c:v>
                </c:pt>
                <c:pt idx="226">
                  <c:v>15365</c:v>
                </c:pt>
                <c:pt idx="227">
                  <c:v>15640</c:v>
                </c:pt>
                <c:pt idx="228">
                  <c:v>15495</c:v>
                </c:pt>
                <c:pt idx="229">
                  <c:v>15325</c:v>
                </c:pt>
                <c:pt idx="230">
                  <c:v>15260</c:v>
                </c:pt>
                <c:pt idx="231">
                  <c:v>15665</c:v>
                </c:pt>
                <c:pt idx="232">
                  <c:v>15650</c:v>
                </c:pt>
                <c:pt idx="233">
                  <c:v>15950</c:v>
                </c:pt>
                <c:pt idx="234">
                  <c:v>15380</c:v>
                </c:pt>
                <c:pt idx="235">
                  <c:v>15330</c:v>
                </c:pt>
                <c:pt idx="236">
                  <c:v>15220</c:v>
                </c:pt>
                <c:pt idx="237">
                  <c:v>15215</c:v>
                </c:pt>
                <c:pt idx="238">
                  <c:v>15100</c:v>
                </c:pt>
                <c:pt idx="239">
                  <c:v>15235</c:v>
                </c:pt>
                <c:pt idx="240">
                  <c:v>15380</c:v>
                </c:pt>
                <c:pt idx="241">
                  <c:v>15275</c:v>
                </c:pt>
                <c:pt idx="242">
                  <c:v>15375</c:v>
                </c:pt>
                <c:pt idx="243">
                  <c:v>15140</c:v>
                </c:pt>
                <c:pt idx="244">
                  <c:v>15120</c:v>
                </c:pt>
                <c:pt idx="245">
                  <c:v>15065</c:v>
                </c:pt>
                <c:pt idx="246">
                  <c:v>15380</c:v>
                </c:pt>
                <c:pt idx="247">
                  <c:v>15760</c:v>
                </c:pt>
                <c:pt idx="248">
                  <c:v>15240</c:v>
                </c:pt>
                <c:pt idx="249">
                  <c:v>14495</c:v>
                </c:pt>
                <c:pt idx="250">
                  <c:v>14370</c:v>
                </c:pt>
                <c:pt idx="251">
                  <c:v>14540</c:v>
                </c:pt>
                <c:pt idx="252">
                  <c:v>14535</c:v>
                </c:pt>
              </c:numCache>
            </c:numRef>
          </c:val>
          <c:smooth val="0"/>
          <c:extLst>
            <c:ext xmlns:c16="http://schemas.microsoft.com/office/drawing/2014/chart" uri="{C3380CC4-5D6E-409C-BE32-E72D297353CC}">
              <c16:uniqueId val="{00000002-EA79-4F0B-B482-E3A760CE57DF}"/>
            </c:ext>
          </c:extLst>
        </c:ser>
        <c:ser>
          <c:idx val="3"/>
          <c:order val="3"/>
          <c:tx>
            <c:strRef>
              <c:f>各合约价格!$AN$6</c:f>
              <c:strCache>
                <c:ptCount val="1"/>
                <c:pt idx="0">
                  <c:v>华东不通氧553</c:v>
                </c:pt>
              </c:strCache>
            </c:strRef>
          </c:tx>
          <c:spPr>
            <a:ln w="28575" cap="rnd">
              <a:solidFill>
                <a:schemeClr val="bg1">
                  <a:lumMod val="50000"/>
                </a:schemeClr>
              </a:solidFill>
              <a:round/>
            </a:ln>
            <a:effectLst/>
          </c:spPr>
          <c:marker>
            <c:symbol val="none"/>
          </c:marker>
          <c:cat>
            <c:numRef>
              <c:f>各合约价格!$AJ$7:$AJ$372</c:f>
              <c:numCache>
                <c:formatCode>m/d/yyyy</c:formatCode>
                <c:ptCount val="366"/>
                <c:pt idx="0">
                  <c:v>45471</c:v>
                </c:pt>
                <c:pt idx="1">
                  <c:v>45470</c:v>
                </c:pt>
                <c:pt idx="2">
                  <c:v>45469</c:v>
                </c:pt>
                <c:pt idx="3">
                  <c:v>45468</c:v>
                </c:pt>
                <c:pt idx="4">
                  <c:v>45467</c:v>
                </c:pt>
                <c:pt idx="5">
                  <c:v>45464</c:v>
                </c:pt>
                <c:pt idx="6">
                  <c:v>45463</c:v>
                </c:pt>
                <c:pt idx="7">
                  <c:v>45462</c:v>
                </c:pt>
                <c:pt idx="8">
                  <c:v>45461</c:v>
                </c:pt>
                <c:pt idx="9">
                  <c:v>45460</c:v>
                </c:pt>
                <c:pt idx="10">
                  <c:v>45457</c:v>
                </c:pt>
                <c:pt idx="11">
                  <c:v>45456</c:v>
                </c:pt>
                <c:pt idx="12">
                  <c:v>45455</c:v>
                </c:pt>
                <c:pt idx="13">
                  <c:v>45454</c:v>
                </c:pt>
                <c:pt idx="14">
                  <c:v>45450</c:v>
                </c:pt>
                <c:pt idx="15">
                  <c:v>45449</c:v>
                </c:pt>
                <c:pt idx="16">
                  <c:v>45448</c:v>
                </c:pt>
                <c:pt idx="17">
                  <c:v>45447</c:v>
                </c:pt>
                <c:pt idx="18">
                  <c:v>45446</c:v>
                </c:pt>
                <c:pt idx="19">
                  <c:v>45443</c:v>
                </c:pt>
                <c:pt idx="20">
                  <c:v>45442</c:v>
                </c:pt>
                <c:pt idx="21">
                  <c:v>45441</c:v>
                </c:pt>
                <c:pt idx="22">
                  <c:v>45440</c:v>
                </c:pt>
                <c:pt idx="23">
                  <c:v>45439</c:v>
                </c:pt>
                <c:pt idx="24">
                  <c:v>45436</c:v>
                </c:pt>
                <c:pt idx="25">
                  <c:v>45435</c:v>
                </c:pt>
                <c:pt idx="26">
                  <c:v>45434</c:v>
                </c:pt>
                <c:pt idx="27">
                  <c:v>45433</c:v>
                </c:pt>
                <c:pt idx="28">
                  <c:v>45432</c:v>
                </c:pt>
                <c:pt idx="29">
                  <c:v>45429</c:v>
                </c:pt>
                <c:pt idx="30">
                  <c:v>45428</c:v>
                </c:pt>
                <c:pt idx="31">
                  <c:v>45427</c:v>
                </c:pt>
                <c:pt idx="32">
                  <c:v>45426</c:v>
                </c:pt>
                <c:pt idx="33">
                  <c:v>45425</c:v>
                </c:pt>
                <c:pt idx="34">
                  <c:v>45422</c:v>
                </c:pt>
                <c:pt idx="35">
                  <c:v>45421</c:v>
                </c:pt>
                <c:pt idx="36">
                  <c:v>45420</c:v>
                </c:pt>
                <c:pt idx="37">
                  <c:v>45419</c:v>
                </c:pt>
                <c:pt idx="38">
                  <c:v>45418</c:v>
                </c:pt>
                <c:pt idx="39">
                  <c:v>45412</c:v>
                </c:pt>
                <c:pt idx="40">
                  <c:v>45411</c:v>
                </c:pt>
                <c:pt idx="41">
                  <c:v>45408</c:v>
                </c:pt>
                <c:pt idx="42">
                  <c:v>45407</c:v>
                </c:pt>
                <c:pt idx="43">
                  <c:v>45406</c:v>
                </c:pt>
                <c:pt idx="44">
                  <c:v>45405</c:v>
                </c:pt>
                <c:pt idx="45">
                  <c:v>45404</c:v>
                </c:pt>
                <c:pt idx="46">
                  <c:v>45401</c:v>
                </c:pt>
                <c:pt idx="47">
                  <c:v>45400</c:v>
                </c:pt>
                <c:pt idx="48">
                  <c:v>45399</c:v>
                </c:pt>
                <c:pt idx="49">
                  <c:v>45398</c:v>
                </c:pt>
                <c:pt idx="50">
                  <c:v>45397</c:v>
                </c:pt>
                <c:pt idx="51">
                  <c:v>45394</c:v>
                </c:pt>
                <c:pt idx="52">
                  <c:v>45393</c:v>
                </c:pt>
                <c:pt idx="53">
                  <c:v>45392</c:v>
                </c:pt>
                <c:pt idx="54">
                  <c:v>45391</c:v>
                </c:pt>
                <c:pt idx="55">
                  <c:v>45390</c:v>
                </c:pt>
                <c:pt idx="56">
                  <c:v>45385</c:v>
                </c:pt>
                <c:pt idx="57">
                  <c:v>45384</c:v>
                </c:pt>
                <c:pt idx="58">
                  <c:v>45383</c:v>
                </c:pt>
                <c:pt idx="59">
                  <c:v>45380</c:v>
                </c:pt>
                <c:pt idx="60">
                  <c:v>45379</c:v>
                </c:pt>
                <c:pt idx="61">
                  <c:v>45378</c:v>
                </c:pt>
                <c:pt idx="62">
                  <c:v>45377</c:v>
                </c:pt>
                <c:pt idx="63">
                  <c:v>45376</c:v>
                </c:pt>
                <c:pt idx="64">
                  <c:v>45373</c:v>
                </c:pt>
                <c:pt idx="65">
                  <c:v>45372</c:v>
                </c:pt>
                <c:pt idx="66">
                  <c:v>45371</c:v>
                </c:pt>
                <c:pt idx="67">
                  <c:v>45370</c:v>
                </c:pt>
                <c:pt idx="68">
                  <c:v>45369</c:v>
                </c:pt>
                <c:pt idx="69">
                  <c:v>45366</c:v>
                </c:pt>
                <c:pt idx="70">
                  <c:v>45365</c:v>
                </c:pt>
                <c:pt idx="71">
                  <c:v>45364</c:v>
                </c:pt>
                <c:pt idx="72">
                  <c:v>45363</c:v>
                </c:pt>
                <c:pt idx="73">
                  <c:v>45362</c:v>
                </c:pt>
                <c:pt idx="74">
                  <c:v>45359</c:v>
                </c:pt>
                <c:pt idx="75">
                  <c:v>45358</c:v>
                </c:pt>
                <c:pt idx="76">
                  <c:v>45357</c:v>
                </c:pt>
                <c:pt idx="77">
                  <c:v>45356</c:v>
                </c:pt>
                <c:pt idx="78">
                  <c:v>45355</c:v>
                </c:pt>
                <c:pt idx="79">
                  <c:v>45352</c:v>
                </c:pt>
                <c:pt idx="80">
                  <c:v>45351</c:v>
                </c:pt>
                <c:pt idx="81">
                  <c:v>45350</c:v>
                </c:pt>
                <c:pt idx="82">
                  <c:v>45349</c:v>
                </c:pt>
                <c:pt idx="83">
                  <c:v>45348</c:v>
                </c:pt>
                <c:pt idx="84">
                  <c:v>45345</c:v>
                </c:pt>
                <c:pt idx="85">
                  <c:v>45344</c:v>
                </c:pt>
                <c:pt idx="86">
                  <c:v>45343</c:v>
                </c:pt>
                <c:pt idx="87">
                  <c:v>45342</c:v>
                </c:pt>
                <c:pt idx="88">
                  <c:v>45341</c:v>
                </c:pt>
                <c:pt idx="89">
                  <c:v>45330</c:v>
                </c:pt>
                <c:pt idx="90">
                  <c:v>45329</c:v>
                </c:pt>
                <c:pt idx="91">
                  <c:v>45328</c:v>
                </c:pt>
                <c:pt idx="92">
                  <c:v>45327</c:v>
                </c:pt>
                <c:pt idx="93">
                  <c:v>45324</c:v>
                </c:pt>
                <c:pt idx="94">
                  <c:v>45323</c:v>
                </c:pt>
                <c:pt idx="95">
                  <c:v>45322</c:v>
                </c:pt>
                <c:pt idx="96">
                  <c:v>45321</c:v>
                </c:pt>
                <c:pt idx="97">
                  <c:v>45320</c:v>
                </c:pt>
                <c:pt idx="98">
                  <c:v>45317</c:v>
                </c:pt>
                <c:pt idx="99">
                  <c:v>45316</c:v>
                </c:pt>
                <c:pt idx="100">
                  <c:v>45315</c:v>
                </c:pt>
                <c:pt idx="101">
                  <c:v>45314</c:v>
                </c:pt>
                <c:pt idx="102">
                  <c:v>45313</c:v>
                </c:pt>
                <c:pt idx="103">
                  <c:v>45310</c:v>
                </c:pt>
                <c:pt idx="104">
                  <c:v>45309</c:v>
                </c:pt>
                <c:pt idx="105">
                  <c:v>45308</c:v>
                </c:pt>
                <c:pt idx="106">
                  <c:v>45307</c:v>
                </c:pt>
                <c:pt idx="107">
                  <c:v>45306</c:v>
                </c:pt>
                <c:pt idx="108">
                  <c:v>45303</c:v>
                </c:pt>
                <c:pt idx="109">
                  <c:v>45302</c:v>
                </c:pt>
                <c:pt idx="110">
                  <c:v>45301</c:v>
                </c:pt>
                <c:pt idx="111">
                  <c:v>45300</c:v>
                </c:pt>
                <c:pt idx="112">
                  <c:v>45299</c:v>
                </c:pt>
                <c:pt idx="113">
                  <c:v>45296</c:v>
                </c:pt>
                <c:pt idx="114">
                  <c:v>45295</c:v>
                </c:pt>
                <c:pt idx="115">
                  <c:v>45294</c:v>
                </c:pt>
                <c:pt idx="116">
                  <c:v>45293</c:v>
                </c:pt>
                <c:pt idx="117">
                  <c:v>45289</c:v>
                </c:pt>
                <c:pt idx="118">
                  <c:v>45288</c:v>
                </c:pt>
                <c:pt idx="119">
                  <c:v>45287</c:v>
                </c:pt>
                <c:pt idx="120">
                  <c:v>45286</c:v>
                </c:pt>
                <c:pt idx="121">
                  <c:v>45285</c:v>
                </c:pt>
                <c:pt idx="122">
                  <c:v>45282</c:v>
                </c:pt>
                <c:pt idx="123">
                  <c:v>45281</c:v>
                </c:pt>
                <c:pt idx="124">
                  <c:v>45280</c:v>
                </c:pt>
                <c:pt idx="125">
                  <c:v>45279</c:v>
                </c:pt>
                <c:pt idx="126">
                  <c:v>45278</c:v>
                </c:pt>
                <c:pt idx="127">
                  <c:v>45275</c:v>
                </c:pt>
                <c:pt idx="128">
                  <c:v>45274</c:v>
                </c:pt>
                <c:pt idx="129">
                  <c:v>45273</c:v>
                </c:pt>
                <c:pt idx="130">
                  <c:v>45272</c:v>
                </c:pt>
                <c:pt idx="131">
                  <c:v>45271</c:v>
                </c:pt>
                <c:pt idx="132">
                  <c:v>45268</c:v>
                </c:pt>
                <c:pt idx="133">
                  <c:v>45267</c:v>
                </c:pt>
                <c:pt idx="134">
                  <c:v>45266</c:v>
                </c:pt>
                <c:pt idx="135">
                  <c:v>45265</c:v>
                </c:pt>
                <c:pt idx="136">
                  <c:v>45264</c:v>
                </c:pt>
                <c:pt idx="137">
                  <c:v>45261</c:v>
                </c:pt>
                <c:pt idx="138">
                  <c:v>45260</c:v>
                </c:pt>
                <c:pt idx="139">
                  <c:v>45259</c:v>
                </c:pt>
                <c:pt idx="140">
                  <c:v>45258</c:v>
                </c:pt>
                <c:pt idx="141">
                  <c:v>45257</c:v>
                </c:pt>
                <c:pt idx="142">
                  <c:v>45254</c:v>
                </c:pt>
                <c:pt idx="143">
                  <c:v>45253</c:v>
                </c:pt>
                <c:pt idx="144">
                  <c:v>45252</c:v>
                </c:pt>
                <c:pt idx="145">
                  <c:v>45251</c:v>
                </c:pt>
                <c:pt idx="146">
                  <c:v>45250</c:v>
                </c:pt>
                <c:pt idx="147">
                  <c:v>45247</c:v>
                </c:pt>
                <c:pt idx="148">
                  <c:v>45246</c:v>
                </c:pt>
                <c:pt idx="149">
                  <c:v>45245</c:v>
                </c:pt>
                <c:pt idx="150">
                  <c:v>45244</c:v>
                </c:pt>
                <c:pt idx="151">
                  <c:v>45243</c:v>
                </c:pt>
                <c:pt idx="152">
                  <c:v>45240</c:v>
                </c:pt>
                <c:pt idx="153">
                  <c:v>45239</c:v>
                </c:pt>
                <c:pt idx="154">
                  <c:v>45238</c:v>
                </c:pt>
                <c:pt idx="155">
                  <c:v>45237</c:v>
                </c:pt>
                <c:pt idx="156">
                  <c:v>45236</c:v>
                </c:pt>
                <c:pt idx="157">
                  <c:v>45233</c:v>
                </c:pt>
                <c:pt idx="158">
                  <c:v>45232</c:v>
                </c:pt>
                <c:pt idx="159">
                  <c:v>45231</c:v>
                </c:pt>
                <c:pt idx="160">
                  <c:v>45230</c:v>
                </c:pt>
                <c:pt idx="161">
                  <c:v>45229</c:v>
                </c:pt>
                <c:pt idx="162">
                  <c:v>45226</c:v>
                </c:pt>
                <c:pt idx="163">
                  <c:v>45225</c:v>
                </c:pt>
                <c:pt idx="164">
                  <c:v>45224</c:v>
                </c:pt>
                <c:pt idx="165">
                  <c:v>45223</c:v>
                </c:pt>
                <c:pt idx="166">
                  <c:v>45222</c:v>
                </c:pt>
                <c:pt idx="167">
                  <c:v>45219</c:v>
                </c:pt>
                <c:pt idx="168">
                  <c:v>45218</c:v>
                </c:pt>
                <c:pt idx="169">
                  <c:v>45217</c:v>
                </c:pt>
                <c:pt idx="170">
                  <c:v>45216</c:v>
                </c:pt>
                <c:pt idx="171">
                  <c:v>45215</c:v>
                </c:pt>
                <c:pt idx="172">
                  <c:v>45212</c:v>
                </c:pt>
                <c:pt idx="173">
                  <c:v>45211</c:v>
                </c:pt>
                <c:pt idx="174">
                  <c:v>45210</c:v>
                </c:pt>
                <c:pt idx="175">
                  <c:v>45209</c:v>
                </c:pt>
                <c:pt idx="176">
                  <c:v>45208</c:v>
                </c:pt>
                <c:pt idx="177">
                  <c:v>45197</c:v>
                </c:pt>
                <c:pt idx="178">
                  <c:v>45196</c:v>
                </c:pt>
                <c:pt idx="179">
                  <c:v>45195</c:v>
                </c:pt>
                <c:pt idx="180">
                  <c:v>45194</c:v>
                </c:pt>
                <c:pt idx="181">
                  <c:v>45191</c:v>
                </c:pt>
                <c:pt idx="182">
                  <c:v>45190</c:v>
                </c:pt>
                <c:pt idx="183">
                  <c:v>45189</c:v>
                </c:pt>
                <c:pt idx="184">
                  <c:v>45188</c:v>
                </c:pt>
                <c:pt idx="185">
                  <c:v>45187</c:v>
                </c:pt>
                <c:pt idx="186">
                  <c:v>45184</c:v>
                </c:pt>
                <c:pt idx="187">
                  <c:v>45183</c:v>
                </c:pt>
                <c:pt idx="188">
                  <c:v>45182</c:v>
                </c:pt>
                <c:pt idx="189">
                  <c:v>45181</c:v>
                </c:pt>
                <c:pt idx="190">
                  <c:v>45180</c:v>
                </c:pt>
                <c:pt idx="191">
                  <c:v>45177</c:v>
                </c:pt>
                <c:pt idx="192">
                  <c:v>45176</c:v>
                </c:pt>
                <c:pt idx="193">
                  <c:v>45175</c:v>
                </c:pt>
                <c:pt idx="194">
                  <c:v>45174</c:v>
                </c:pt>
                <c:pt idx="195">
                  <c:v>45173</c:v>
                </c:pt>
                <c:pt idx="196">
                  <c:v>45170</c:v>
                </c:pt>
                <c:pt idx="197">
                  <c:v>45169</c:v>
                </c:pt>
                <c:pt idx="198">
                  <c:v>45168</c:v>
                </c:pt>
                <c:pt idx="199">
                  <c:v>45167</c:v>
                </c:pt>
                <c:pt idx="200">
                  <c:v>45166</c:v>
                </c:pt>
                <c:pt idx="201">
                  <c:v>45163</c:v>
                </c:pt>
                <c:pt idx="202">
                  <c:v>45162</c:v>
                </c:pt>
                <c:pt idx="203">
                  <c:v>45161</c:v>
                </c:pt>
                <c:pt idx="204">
                  <c:v>45160</c:v>
                </c:pt>
                <c:pt idx="205">
                  <c:v>45159</c:v>
                </c:pt>
                <c:pt idx="206">
                  <c:v>45156</c:v>
                </c:pt>
                <c:pt idx="207">
                  <c:v>45155</c:v>
                </c:pt>
                <c:pt idx="208">
                  <c:v>45154</c:v>
                </c:pt>
                <c:pt idx="209">
                  <c:v>45153</c:v>
                </c:pt>
                <c:pt idx="210">
                  <c:v>45152</c:v>
                </c:pt>
                <c:pt idx="211">
                  <c:v>45149</c:v>
                </c:pt>
                <c:pt idx="212">
                  <c:v>45148</c:v>
                </c:pt>
                <c:pt idx="213">
                  <c:v>45147</c:v>
                </c:pt>
                <c:pt idx="214">
                  <c:v>45146</c:v>
                </c:pt>
                <c:pt idx="215">
                  <c:v>45145</c:v>
                </c:pt>
                <c:pt idx="216">
                  <c:v>45142</c:v>
                </c:pt>
                <c:pt idx="217">
                  <c:v>45141</c:v>
                </c:pt>
                <c:pt idx="218">
                  <c:v>45140</c:v>
                </c:pt>
                <c:pt idx="219">
                  <c:v>45139</c:v>
                </c:pt>
                <c:pt idx="220">
                  <c:v>45138</c:v>
                </c:pt>
                <c:pt idx="221">
                  <c:v>45135</c:v>
                </c:pt>
                <c:pt idx="222">
                  <c:v>45134</c:v>
                </c:pt>
                <c:pt idx="223">
                  <c:v>45133</c:v>
                </c:pt>
                <c:pt idx="224">
                  <c:v>45132</c:v>
                </c:pt>
                <c:pt idx="225">
                  <c:v>45131</c:v>
                </c:pt>
                <c:pt idx="226">
                  <c:v>45128</c:v>
                </c:pt>
                <c:pt idx="227">
                  <c:v>45127</c:v>
                </c:pt>
                <c:pt idx="228">
                  <c:v>45126</c:v>
                </c:pt>
                <c:pt idx="229">
                  <c:v>45125</c:v>
                </c:pt>
                <c:pt idx="230">
                  <c:v>45124</c:v>
                </c:pt>
                <c:pt idx="231">
                  <c:v>45121</c:v>
                </c:pt>
                <c:pt idx="232">
                  <c:v>45120</c:v>
                </c:pt>
                <c:pt idx="233">
                  <c:v>45119</c:v>
                </c:pt>
                <c:pt idx="234">
                  <c:v>45118</c:v>
                </c:pt>
                <c:pt idx="235">
                  <c:v>45117</c:v>
                </c:pt>
                <c:pt idx="236">
                  <c:v>45114</c:v>
                </c:pt>
                <c:pt idx="237">
                  <c:v>45113</c:v>
                </c:pt>
                <c:pt idx="238">
                  <c:v>45112</c:v>
                </c:pt>
                <c:pt idx="239">
                  <c:v>45111</c:v>
                </c:pt>
                <c:pt idx="240">
                  <c:v>45110</c:v>
                </c:pt>
                <c:pt idx="241">
                  <c:v>45107</c:v>
                </c:pt>
                <c:pt idx="242">
                  <c:v>45106</c:v>
                </c:pt>
                <c:pt idx="243">
                  <c:v>45105</c:v>
                </c:pt>
                <c:pt idx="244">
                  <c:v>45104</c:v>
                </c:pt>
                <c:pt idx="245">
                  <c:v>45103</c:v>
                </c:pt>
                <c:pt idx="246">
                  <c:v>45098</c:v>
                </c:pt>
                <c:pt idx="247">
                  <c:v>45097</c:v>
                </c:pt>
                <c:pt idx="248">
                  <c:v>45096</c:v>
                </c:pt>
                <c:pt idx="249">
                  <c:v>45093</c:v>
                </c:pt>
                <c:pt idx="250">
                  <c:v>45092</c:v>
                </c:pt>
                <c:pt idx="251">
                  <c:v>45091</c:v>
                </c:pt>
                <c:pt idx="252">
                  <c:v>45090</c:v>
                </c:pt>
              </c:numCache>
            </c:numRef>
          </c:cat>
          <c:val>
            <c:numRef>
              <c:f>各合约价格!$AN$7:$AN$372</c:f>
              <c:numCache>
                <c:formatCode>General</c:formatCode>
                <c:ptCount val="366"/>
                <c:pt idx="0">
                  <c:v>12350</c:v>
                </c:pt>
                <c:pt idx="1">
                  <c:v>12400</c:v>
                </c:pt>
                <c:pt idx="2">
                  <c:v>12450</c:v>
                </c:pt>
                <c:pt idx="3">
                  <c:v>12550</c:v>
                </c:pt>
                <c:pt idx="4">
                  <c:v>12650</c:v>
                </c:pt>
                <c:pt idx="5">
                  <c:v>12750</c:v>
                </c:pt>
                <c:pt idx="6">
                  <c:v>12800</c:v>
                </c:pt>
                <c:pt idx="7">
                  <c:v>12800</c:v>
                </c:pt>
                <c:pt idx="8">
                  <c:v>12850</c:v>
                </c:pt>
                <c:pt idx="9">
                  <c:v>12900</c:v>
                </c:pt>
                <c:pt idx="10">
                  <c:v>12900</c:v>
                </c:pt>
                <c:pt idx="11">
                  <c:v>12900</c:v>
                </c:pt>
                <c:pt idx="12">
                  <c:v>12900</c:v>
                </c:pt>
                <c:pt idx="13">
                  <c:v>12950</c:v>
                </c:pt>
                <c:pt idx="14">
                  <c:v>13000</c:v>
                </c:pt>
                <c:pt idx="15">
                  <c:v>13000</c:v>
                </c:pt>
                <c:pt idx="16">
                  <c:v>13000</c:v>
                </c:pt>
                <c:pt idx="17">
                  <c:v>13000</c:v>
                </c:pt>
                <c:pt idx="18">
                  <c:v>13000</c:v>
                </c:pt>
                <c:pt idx="19">
                  <c:v>13000</c:v>
                </c:pt>
                <c:pt idx="20">
                  <c:v>13000</c:v>
                </c:pt>
                <c:pt idx="21">
                  <c:v>13000</c:v>
                </c:pt>
                <c:pt idx="22">
                  <c:v>13000</c:v>
                </c:pt>
                <c:pt idx="23">
                  <c:v>13000</c:v>
                </c:pt>
                <c:pt idx="24">
                  <c:v>13000</c:v>
                </c:pt>
                <c:pt idx="25">
                  <c:v>13000</c:v>
                </c:pt>
                <c:pt idx="26">
                  <c:v>13000</c:v>
                </c:pt>
                <c:pt idx="27">
                  <c:v>13000</c:v>
                </c:pt>
                <c:pt idx="28">
                  <c:v>13000</c:v>
                </c:pt>
                <c:pt idx="29">
                  <c:v>13000</c:v>
                </c:pt>
                <c:pt idx="30">
                  <c:v>13000</c:v>
                </c:pt>
                <c:pt idx="31">
                  <c:v>13000</c:v>
                </c:pt>
                <c:pt idx="32">
                  <c:v>13000</c:v>
                </c:pt>
                <c:pt idx="33">
                  <c:v>13000</c:v>
                </c:pt>
                <c:pt idx="34">
                  <c:v>13000</c:v>
                </c:pt>
                <c:pt idx="35">
                  <c:v>13000</c:v>
                </c:pt>
                <c:pt idx="36">
                  <c:v>13000</c:v>
                </c:pt>
                <c:pt idx="37">
                  <c:v>13000</c:v>
                </c:pt>
                <c:pt idx="38">
                  <c:v>13000</c:v>
                </c:pt>
                <c:pt idx="39">
                  <c:v>13000</c:v>
                </c:pt>
                <c:pt idx="40">
                  <c:v>13000</c:v>
                </c:pt>
                <c:pt idx="41">
                  <c:v>13000</c:v>
                </c:pt>
                <c:pt idx="42">
                  <c:v>13000</c:v>
                </c:pt>
                <c:pt idx="43">
                  <c:v>13000</c:v>
                </c:pt>
                <c:pt idx="44">
                  <c:v>13000</c:v>
                </c:pt>
                <c:pt idx="45">
                  <c:v>13000</c:v>
                </c:pt>
                <c:pt idx="46">
                  <c:v>13000</c:v>
                </c:pt>
                <c:pt idx="47">
                  <c:v>13050</c:v>
                </c:pt>
                <c:pt idx="48">
                  <c:v>13050</c:v>
                </c:pt>
                <c:pt idx="49">
                  <c:v>13050</c:v>
                </c:pt>
                <c:pt idx="50">
                  <c:v>13050</c:v>
                </c:pt>
                <c:pt idx="51">
                  <c:v>13050</c:v>
                </c:pt>
                <c:pt idx="52">
                  <c:v>13050</c:v>
                </c:pt>
                <c:pt idx="53">
                  <c:v>13050</c:v>
                </c:pt>
                <c:pt idx="54">
                  <c:v>13050</c:v>
                </c:pt>
                <c:pt idx="55">
                  <c:v>13100</c:v>
                </c:pt>
                <c:pt idx="56">
                  <c:v>13300</c:v>
                </c:pt>
                <c:pt idx="57">
                  <c:v>13400</c:v>
                </c:pt>
                <c:pt idx="58">
                  <c:v>13450</c:v>
                </c:pt>
                <c:pt idx="59">
                  <c:v>13500</c:v>
                </c:pt>
                <c:pt idx="60">
                  <c:v>13600</c:v>
                </c:pt>
                <c:pt idx="61">
                  <c:v>13700</c:v>
                </c:pt>
                <c:pt idx="62">
                  <c:v>13800</c:v>
                </c:pt>
                <c:pt idx="63">
                  <c:v>13850</c:v>
                </c:pt>
                <c:pt idx="64">
                  <c:v>13950</c:v>
                </c:pt>
                <c:pt idx="65">
                  <c:v>14000</c:v>
                </c:pt>
                <c:pt idx="66">
                  <c:v>14000</c:v>
                </c:pt>
                <c:pt idx="67">
                  <c:v>14050</c:v>
                </c:pt>
                <c:pt idx="68">
                  <c:v>14150</c:v>
                </c:pt>
                <c:pt idx="69">
                  <c:v>14150</c:v>
                </c:pt>
                <c:pt idx="70">
                  <c:v>14250</c:v>
                </c:pt>
                <c:pt idx="71">
                  <c:v>14350</c:v>
                </c:pt>
                <c:pt idx="72">
                  <c:v>14350</c:v>
                </c:pt>
                <c:pt idx="73">
                  <c:v>14400</c:v>
                </c:pt>
                <c:pt idx="74">
                  <c:v>14400</c:v>
                </c:pt>
                <c:pt idx="75">
                  <c:v>14450</c:v>
                </c:pt>
                <c:pt idx="76">
                  <c:v>14500</c:v>
                </c:pt>
                <c:pt idx="77">
                  <c:v>14500</c:v>
                </c:pt>
                <c:pt idx="78">
                  <c:v>14500</c:v>
                </c:pt>
                <c:pt idx="79">
                  <c:v>14500</c:v>
                </c:pt>
                <c:pt idx="80">
                  <c:v>14500</c:v>
                </c:pt>
                <c:pt idx="81">
                  <c:v>14500</c:v>
                </c:pt>
                <c:pt idx="82">
                  <c:v>14600</c:v>
                </c:pt>
                <c:pt idx="83">
                  <c:v>14600</c:v>
                </c:pt>
                <c:pt idx="84">
                  <c:v>14600</c:v>
                </c:pt>
                <c:pt idx="85">
                  <c:v>14650</c:v>
                </c:pt>
                <c:pt idx="86">
                  <c:v>14750</c:v>
                </c:pt>
                <c:pt idx="87">
                  <c:v>14850</c:v>
                </c:pt>
                <c:pt idx="88">
                  <c:v>14850</c:v>
                </c:pt>
                <c:pt idx="89">
                  <c:v>14850</c:v>
                </c:pt>
                <c:pt idx="90">
                  <c:v>14850</c:v>
                </c:pt>
                <c:pt idx="91">
                  <c:v>14850</c:v>
                </c:pt>
                <c:pt idx="92">
                  <c:v>14850</c:v>
                </c:pt>
                <c:pt idx="93">
                  <c:v>14850</c:v>
                </c:pt>
                <c:pt idx="94">
                  <c:v>14850</c:v>
                </c:pt>
                <c:pt idx="95">
                  <c:v>14850</c:v>
                </c:pt>
                <c:pt idx="96">
                  <c:v>14850</c:v>
                </c:pt>
                <c:pt idx="97">
                  <c:v>14850</c:v>
                </c:pt>
                <c:pt idx="98">
                  <c:v>14850</c:v>
                </c:pt>
                <c:pt idx="99">
                  <c:v>14900</c:v>
                </c:pt>
                <c:pt idx="100">
                  <c:v>14900</c:v>
                </c:pt>
                <c:pt idx="101">
                  <c:v>14900</c:v>
                </c:pt>
                <c:pt idx="102">
                  <c:v>14950</c:v>
                </c:pt>
                <c:pt idx="103">
                  <c:v>14950</c:v>
                </c:pt>
                <c:pt idx="104">
                  <c:v>14950</c:v>
                </c:pt>
                <c:pt idx="105">
                  <c:v>15050</c:v>
                </c:pt>
                <c:pt idx="106">
                  <c:v>15100</c:v>
                </c:pt>
                <c:pt idx="107">
                  <c:v>15100</c:v>
                </c:pt>
                <c:pt idx="108">
                  <c:v>15100</c:v>
                </c:pt>
                <c:pt idx="109">
                  <c:v>15100</c:v>
                </c:pt>
                <c:pt idx="110">
                  <c:v>15100</c:v>
                </c:pt>
                <c:pt idx="111">
                  <c:v>15100</c:v>
                </c:pt>
                <c:pt idx="112">
                  <c:v>15100</c:v>
                </c:pt>
                <c:pt idx="113">
                  <c:v>15100</c:v>
                </c:pt>
                <c:pt idx="114">
                  <c:v>15100</c:v>
                </c:pt>
                <c:pt idx="115">
                  <c:v>15100</c:v>
                </c:pt>
                <c:pt idx="116">
                  <c:v>15100</c:v>
                </c:pt>
                <c:pt idx="117">
                  <c:v>15100</c:v>
                </c:pt>
                <c:pt idx="118">
                  <c:v>15100</c:v>
                </c:pt>
                <c:pt idx="119">
                  <c:v>15100</c:v>
                </c:pt>
                <c:pt idx="120">
                  <c:v>15050</c:v>
                </c:pt>
                <c:pt idx="121">
                  <c:v>15050</c:v>
                </c:pt>
                <c:pt idx="122">
                  <c:v>14950</c:v>
                </c:pt>
                <c:pt idx="123">
                  <c:v>14950</c:v>
                </c:pt>
                <c:pt idx="124">
                  <c:v>14850</c:v>
                </c:pt>
                <c:pt idx="125">
                  <c:v>14750</c:v>
                </c:pt>
                <c:pt idx="126">
                  <c:v>14650</c:v>
                </c:pt>
                <c:pt idx="127">
                  <c:v>14550</c:v>
                </c:pt>
                <c:pt idx="128">
                  <c:v>14550</c:v>
                </c:pt>
                <c:pt idx="129">
                  <c:v>14550</c:v>
                </c:pt>
                <c:pt idx="130">
                  <c:v>14500</c:v>
                </c:pt>
                <c:pt idx="131">
                  <c:v>14400</c:v>
                </c:pt>
                <c:pt idx="132">
                  <c:v>14400</c:v>
                </c:pt>
                <c:pt idx="133">
                  <c:v>14300</c:v>
                </c:pt>
                <c:pt idx="134">
                  <c:v>14300</c:v>
                </c:pt>
                <c:pt idx="135">
                  <c:v>14300</c:v>
                </c:pt>
                <c:pt idx="136">
                  <c:v>14300</c:v>
                </c:pt>
                <c:pt idx="137">
                  <c:v>14300</c:v>
                </c:pt>
                <c:pt idx="138">
                  <c:v>14300</c:v>
                </c:pt>
                <c:pt idx="139">
                  <c:v>14200</c:v>
                </c:pt>
                <c:pt idx="140">
                  <c:v>14150</c:v>
                </c:pt>
                <c:pt idx="141">
                  <c:v>14150</c:v>
                </c:pt>
                <c:pt idx="142">
                  <c:v>14150</c:v>
                </c:pt>
                <c:pt idx="143">
                  <c:v>14150</c:v>
                </c:pt>
                <c:pt idx="144">
                  <c:v>14150</c:v>
                </c:pt>
                <c:pt idx="145">
                  <c:v>14150</c:v>
                </c:pt>
                <c:pt idx="146">
                  <c:v>14150</c:v>
                </c:pt>
                <c:pt idx="147">
                  <c:v>14150</c:v>
                </c:pt>
                <c:pt idx="148">
                  <c:v>14150</c:v>
                </c:pt>
                <c:pt idx="149">
                  <c:v>14200</c:v>
                </c:pt>
                <c:pt idx="150">
                  <c:v>14200</c:v>
                </c:pt>
                <c:pt idx="151">
                  <c:v>14200</c:v>
                </c:pt>
                <c:pt idx="152">
                  <c:v>14250</c:v>
                </c:pt>
                <c:pt idx="153">
                  <c:v>14250</c:v>
                </c:pt>
                <c:pt idx="154">
                  <c:v>14250</c:v>
                </c:pt>
                <c:pt idx="155">
                  <c:v>14250</c:v>
                </c:pt>
                <c:pt idx="156">
                  <c:v>14350</c:v>
                </c:pt>
                <c:pt idx="157">
                  <c:v>14350</c:v>
                </c:pt>
                <c:pt idx="158">
                  <c:v>14400</c:v>
                </c:pt>
                <c:pt idx="159">
                  <c:v>14400</c:v>
                </c:pt>
                <c:pt idx="160">
                  <c:v>14400</c:v>
                </c:pt>
                <c:pt idx="161">
                  <c:v>14400</c:v>
                </c:pt>
                <c:pt idx="162">
                  <c:v>14400</c:v>
                </c:pt>
                <c:pt idx="163">
                  <c:v>14450</c:v>
                </c:pt>
                <c:pt idx="164">
                  <c:v>14550</c:v>
                </c:pt>
                <c:pt idx="165">
                  <c:v>14550</c:v>
                </c:pt>
                <c:pt idx="166">
                  <c:v>14650</c:v>
                </c:pt>
                <c:pt idx="167">
                  <c:v>14650</c:v>
                </c:pt>
                <c:pt idx="168">
                  <c:v>14650</c:v>
                </c:pt>
                <c:pt idx="169">
                  <c:v>14650</c:v>
                </c:pt>
                <c:pt idx="170">
                  <c:v>14750</c:v>
                </c:pt>
                <c:pt idx="171">
                  <c:v>14800</c:v>
                </c:pt>
                <c:pt idx="172">
                  <c:v>14850</c:v>
                </c:pt>
                <c:pt idx="173">
                  <c:v>14850</c:v>
                </c:pt>
                <c:pt idx="174">
                  <c:v>14850</c:v>
                </c:pt>
                <c:pt idx="175">
                  <c:v>14850</c:v>
                </c:pt>
                <c:pt idx="176">
                  <c:v>14850</c:v>
                </c:pt>
                <c:pt idx="177">
                  <c:v>14850</c:v>
                </c:pt>
                <c:pt idx="178">
                  <c:v>14850</c:v>
                </c:pt>
                <c:pt idx="179">
                  <c:v>14850</c:v>
                </c:pt>
                <c:pt idx="180">
                  <c:v>14850</c:v>
                </c:pt>
                <c:pt idx="181">
                  <c:v>14750</c:v>
                </c:pt>
                <c:pt idx="182">
                  <c:v>14650</c:v>
                </c:pt>
                <c:pt idx="183">
                  <c:v>14650</c:v>
                </c:pt>
                <c:pt idx="184">
                  <c:v>14650</c:v>
                </c:pt>
                <c:pt idx="185">
                  <c:v>14650</c:v>
                </c:pt>
                <c:pt idx="186">
                  <c:v>14650</c:v>
                </c:pt>
                <c:pt idx="187">
                  <c:v>14550</c:v>
                </c:pt>
                <c:pt idx="188">
                  <c:v>14350</c:v>
                </c:pt>
                <c:pt idx="189">
                  <c:v>14150</c:v>
                </c:pt>
                <c:pt idx="190">
                  <c:v>14000</c:v>
                </c:pt>
                <c:pt idx="191">
                  <c:v>14000</c:v>
                </c:pt>
                <c:pt idx="192">
                  <c:v>14000</c:v>
                </c:pt>
                <c:pt idx="193">
                  <c:v>13900</c:v>
                </c:pt>
                <c:pt idx="194">
                  <c:v>13800</c:v>
                </c:pt>
                <c:pt idx="195">
                  <c:v>13650</c:v>
                </c:pt>
                <c:pt idx="196">
                  <c:v>13550</c:v>
                </c:pt>
                <c:pt idx="197">
                  <c:v>13550</c:v>
                </c:pt>
                <c:pt idx="198">
                  <c:v>13550</c:v>
                </c:pt>
                <c:pt idx="199">
                  <c:v>13550</c:v>
                </c:pt>
                <c:pt idx="200">
                  <c:v>13550</c:v>
                </c:pt>
                <c:pt idx="201">
                  <c:v>13450</c:v>
                </c:pt>
                <c:pt idx="202">
                  <c:v>13450</c:v>
                </c:pt>
                <c:pt idx="203">
                  <c:v>13400</c:v>
                </c:pt>
                <c:pt idx="204">
                  <c:v>13400</c:v>
                </c:pt>
                <c:pt idx="205">
                  <c:v>13300</c:v>
                </c:pt>
                <c:pt idx="206">
                  <c:v>13300</c:v>
                </c:pt>
                <c:pt idx="207">
                  <c:v>13300</c:v>
                </c:pt>
                <c:pt idx="208">
                  <c:v>13200</c:v>
                </c:pt>
                <c:pt idx="209">
                  <c:v>13200</c:v>
                </c:pt>
                <c:pt idx="210">
                  <c:v>13100</c:v>
                </c:pt>
                <c:pt idx="211">
                  <c:v>13000</c:v>
                </c:pt>
                <c:pt idx="212">
                  <c:v>13000</c:v>
                </c:pt>
                <c:pt idx="213">
                  <c:v>12950</c:v>
                </c:pt>
                <c:pt idx="214">
                  <c:v>12950</c:v>
                </c:pt>
                <c:pt idx="215">
                  <c:v>12950</c:v>
                </c:pt>
                <c:pt idx="216">
                  <c:v>12950</c:v>
                </c:pt>
                <c:pt idx="217">
                  <c:v>12950</c:v>
                </c:pt>
                <c:pt idx="218">
                  <c:v>12950</c:v>
                </c:pt>
                <c:pt idx="219">
                  <c:v>12950</c:v>
                </c:pt>
                <c:pt idx="220">
                  <c:v>12950</c:v>
                </c:pt>
                <c:pt idx="221">
                  <c:v>12950</c:v>
                </c:pt>
                <c:pt idx="222">
                  <c:v>12950</c:v>
                </c:pt>
                <c:pt idx="223">
                  <c:v>12950</c:v>
                </c:pt>
                <c:pt idx="224">
                  <c:v>12950</c:v>
                </c:pt>
                <c:pt idx="225">
                  <c:v>12950</c:v>
                </c:pt>
                <c:pt idx="226">
                  <c:v>12950</c:v>
                </c:pt>
                <c:pt idx="227">
                  <c:v>12950</c:v>
                </c:pt>
                <c:pt idx="228">
                  <c:v>12950</c:v>
                </c:pt>
                <c:pt idx="229">
                  <c:v>12950</c:v>
                </c:pt>
                <c:pt idx="230">
                  <c:v>13000</c:v>
                </c:pt>
                <c:pt idx="231">
                  <c:v>13000</c:v>
                </c:pt>
                <c:pt idx="232">
                  <c:v>13000</c:v>
                </c:pt>
                <c:pt idx="233">
                  <c:v>13000</c:v>
                </c:pt>
                <c:pt idx="234">
                  <c:v>13000</c:v>
                </c:pt>
                <c:pt idx="235">
                  <c:v>13000</c:v>
                </c:pt>
                <c:pt idx="236">
                  <c:v>13000</c:v>
                </c:pt>
                <c:pt idx="237">
                  <c:v>13000</c:v>
                </c:pt>
                <c:pt idx="238">
                  <c:v>13000</c:v>
                </c:pt>
                <c:pt idx="239">
                  <c:v>13000</c:v>
                </c:pt>
                <c:pt idx="240">
                  <c:v>13000</c:v>
                </c:pt>
                <c:pt idx="241">
                  <c:v>13000</c:v>
                </c:pt>
                <c:pt idx="242">
                  <c:v>13000</c:v>
                </c:pt>
                <c:pt idx="243">
                  <c:v>13050</c:v>
                </c:pt>
                <c:pt idx="244">
                  <c:v>13050</c:v>
                </c:pt>
                <c:pt idx="245">
                  <c:v>13050</c:v>
                </c:pt>
                <c:pt idx="246">
                  <c:v>13100</c:v>
                </c:pt>
                <c:pt idx="247">
                  <c:v>13000</c:v>
                </c:pt>
                <c:pt idx="248">
                  <c:v>13000</c:v>
                </c:pt>
                <c:pt idx="249">
                  <c:v>13000</c:v>
                </c:pt>
                <c:pt idx="250">
                  <c:v>13000</c:v>
                </c:pt>
                <c:pt idx="251">
                  <c:v>13000</c:v>
                </c:pt>
                <c:pt idx="252">
                  <c:v>13150</c:v>
                </c:pt>
              </c:numCache>
            </c:numRef>
          </c:val>
          <c:smooth val="0"/>
          <c:extLst>
            <c:ext xmlns:c16="http://schemas.microsoft.com/office/drawing/2014/chart" uri="{C3380CC4-5D6E-409C-BE32-E72D297353CC}">
              <c16:uniqueId val="{00000003-EA79-4F0B-B482-E3A760CE57DF}"/>
            </c:ext>
          </c:extLst>
        </c:ser>
        <c:ser>
          <c:idx val="4"/>
          <c:order val="4"/>
          <c:tx>
            <c:strRef>
              <c:f>各合约价格!$AO$6</c:f>
              <c:strCache>
                <c:ptCount val="1"/>
                <c:pt idx="0">
                  <c:v>华东通氧421</c:v>
                </c:pt>
              </c:strCache>
            </c:strRef>
          </c:tx>
          <c:spPr>
            <a:ln w="28575" cap="rnd">
              <a:solidFill>
                <a:schemeClr val="accent5"/>
              </a:solidFill>
              <a:round/>
            </a:ln>
            <a:effectLst/>
          </c:spPr>
          <c:marker>
            <c:symbol val="none"/>
          </c:marker>
          <c:cat>
            <c:numRef>
              <c:f>各合约价格!$AJ$7:$AJ$372</c:f>
              <c:numCache>
                <c:formatCode>m/d/yyyy</c:formatCode>
                <c:ptCount val="366"/>
                <c:pt idx="0">
                  <c:v>45471</c:v>
                </c:pt>
                <c:pt idx="1">
                  <c:v>45470</c:v>
                </c:pt>
                <c:pt idx="2">
                  <c:v>45469</c:v>
                </c:pt>
                <c:pt idx="3">
                  <c:v>45468</c:v>
                </c:pt>
                <c:pt idx="4">
                  <c:v>45467</c:v>
                </c:pt>
                <c:pt idx="5">
                  <c:v>45464</c:v>
                </c:pt>
                <c:pt idx="6">
                  <c:v>45463</c:v>
                </c:pt>
                <c:pt idx="7">
                  <c:v>45462</c:v>
                </c:pt>
                <c:pt idx="8">
                  <c:v>45461</c:v>
                </c:pt>
                <c:pt idx="9">
                  <c:v>45460</c:v>
                </c:pt>
                <c:pt idx="10">
                  <c:v>45457</c:v>
                </c:pt>
                <c:pt idx="11">
                  <c:v>45456</c:v>
                </c:pt>
                <c:pt idx="12">
                  <c:v>45455</c:v>
                </c:pt>
                <c:pt idx="13">
                  <c:v>45454</c:v>
                </c:pt>
                <c:pt idx="14">
                  <c:v>45450</c:v>
                </c:pt>
                <c:pt idx="15">
                  <c:v>45449</c:v>
                </c:pt>
                <c:pt idx="16">
                  <c:v>45448</c:v>
                </c:pt>
                <c:pt idx="17">
                  <c:v>45447</c:v>
                </c:pt>
                <c:pt idx="18">
                  <c:v>45446</c:v>
                </c:pt>
                <c:pt idx="19">
                  <c:v>45443</c:v>
                </c:pt>
                <c:pt idx="20">
                  <c:v>45442</c:v>
                </c:pt>
                <c:pt idx="21">
                  <c:v>45441</c:v>
                </c:pt>
                <c:pt idx="22">
                  <c:v>45440</c:v>
                </c:pt>
                <c:pt idx="23">
                  <c:v>45439</c:v>
                </c:pt>
                <c:pt idx="24">
                  <c:v>45436</c:v>
                </c:pt>
                <c:pt idx="25">
                  <c:v>45435</c:v>
                </c:pt>
                <c:pt idx="26">
                  <c:v>45434</c:v>
                </c:pt>
                <c:pt idx="27">
                  <c:v>45433</c:v>
                </c:pt>
                <c:pt idx="28">
                  <c:v>45432</c:v>
                </c:pt>
                <c:pt idx="29">
                  <c:v>45429</c:v>
                </c:pt>
                <c:pt idx="30">
                  <c:v>45428</c:v>
                </c:pt>
                <c:pt idx="31">
                  <c:v>45427</c:v>
                </c:pt>
                <c:pt idx="32">
                  <c:v>45426</c:v>
                </c:pt>
                <c:pt idx="33">
                  <c:v>45425</c:v>
                </c:pt>
                <c:pt idx="34">
                  <c:v>45422</c:v>
                </c:pt>
                <c:pt idx="35">
                  <c:v>45421</c:v>
                </c:pt>
                <c:pt idx="36">
                  <c:v>45420</c:v>
                </c:pt>
                <c:pt idx="37">
                  <c:v>45419</c:v>
                </c:pt>
                <c:pt idx="38">
                  <c:v>45418</c:v>
                </c:pt>
                <c:pt idx="39">
                  <c:v>45412</c:v>
                </c:pt>
                <c:pt idx="40">
                  <c:v>45411</c:v>
                </c:pt>
                <c:pt idx="41">
                  <c:v>45408</c:v>
                </c:pt>
                <c:pt idx="42">
                  <c:v>45407</c:v>
                </c:pt>
                <c:pt idx="43">
                  <c:v>45406</c:v>
                </c:pt>
                <c:pt idx="44">
                  <c:v>45405</c:v>
                </c:pt>
                <c:pt idx="45">
                  <c:v>45404</c:v>
                </c:pt>
                <c:pt idx="46">
                  <c:v>45401</c:v>
                </c:pt>
                <c:pt idx="47">
                  <c:v>45400</c:v>
                </c:pt>
                <c:pt idx="48">
                  <c:v>45399</c:v>
                </c:pt>
                <c:pt idx="49">
                  <c:v>45398</c:v>
                </c:pt>
                <c:pt idx="50">
                  <c:v>45397</c:v>
                </c:pt>
                <c:pt idx="51">
                  <c:v>45394</c:v>
                </c:pt>
                <c:pt idx="52">
                  <c:v>45393</c:v>
                </c:pt>
                <c:pt idx="53">
                  <c:v>45392</c:v>
                </c:pt>
                <c:pt idx="54">
                  <c:v>45391</c:v>
                </c:pt>
                <c:pt idx="55">
                  <c:v>45390</c:v>
                </c:pt>
                <c:pt idx="56">
                  <c:v>45385</c:v>
                </c:pt>
                <c:pt idx="57">
                  <c:v>45384</c:v>
                </c:pt>
                <c:pt idx="58">
                  <c:v>45383</c:v>
                </c:pt>
                <c:pt idx="59">
                  <c:v>45380</c:v>
                </c:pt>
                <c:pt idx="60">
                  <c:v>45379</c:v>
                </c:pt>
                <c:pt idx="61">
                  <c:v>45378</c:v>
                </c:pt>
                <c:pt idx="62">
                  <c:v>45377</c:v>
                </c:pt>
                <c:pt idx="63">
                  <c:v>45376</c:v>
                </c:pt>
                <c:pt idx="64">
                  <c:v>45373</c:v>
                </c:pt>
                <c:pt idx="65">
                  <c:v>45372</c:v>
                </c:pt>
                <c:pt idx="66">
                  <c:v>45371</c:v>
                </c:pt>
                <c:pt idx="67">
                  <c:v>45370</c:v>
                </c:pt>
                <c:pt idx="68">
                  <c:v>45369</c:v>
                </c:pt>
                <c:pt idx="69">
                  <c:v>45366</c:v>
                </c:pt>
                <c:pt idx="70">
                  <c:v>45365</c:v>
                </c:pt>
                <c:pt idx="71">
                  <c:v>45364</c:v>
                </c:pt>
                <c:pt idx="72">
                  <c:v>45363</c:v>
                </c:pt>
                <c:pt idx="73">
                  <c:v>45362</c:v>
                </c:pt>
                <c:pt idx="74">
                  <c:v>45359</c:v>
                </c:pt>
                <c:pt idx="75">
                  <c:v>45358</c:v>
                </c:pt>
                <c:pt idx="76">
                  <c:v>45357</c:v>
                </c:pt>
                <c:pt idx="77">
                  <c:v>45356</c:v>
                </c:pt>
                <c:pt idx="78">
                  <c:v>45355</c:v>
                </c:pt>
                <c:pt idx="79">
                  <c:v>45352</c:v>
                </c:pt>
                <c:pt idx="80">
                  <c:v>45351</c:v>
                </c:pt>
                <c:pt idx="81">
                  <c:v>45350</c:v>
                </c:pt>
                <c:pt idx="82">
                  <c:v>45349</c:v>
                </c:pt>
                <c:pt idx="83">
                  <c:v>45348</c:v>
                </c:pt>
                <c:pt idx="84">
                  <c:v>45345</c:v>
                </c:pt>
                <c:pt idx="85">
                  <c:v>45344</c:v>
                </c:pt>
                <c:pt idx="86">
                  <c:v>45343</c:v>
                </c:pt>
                <c:pt idx="87">
                  <c:v>45342</c:v>
                </c:pt>
                <c:pt idx="88">
                  <c:v>45341</c:v>
                </c:pt>
                <c:pt idx="89">
                  <c:v>45330</c:v>
                </c:pt>
                <c:pt idx="90">
                  <c:v>45329</c:v>
                </c:pt>
                <c:pt idx="91">
                  <c:v>45328</c:v>
                </c:pt>
                <c:pt idx="92">
                  <c:v>45327</c:v>
                </c:pt>
                <c:pt idx="93">
                  <c:v>45324</c:v>
                </c:pt>
                <c:pt idx="94">
                  <c:v>45323</c:v>
                </c:pt>
                <c:pt idx="95">
                  <c:v>45322</c:v>
                </c:pt>
                <c:pt idx="96">
                  <c:v>45321</c:v>
                </c:pt>
                <c:pt idx="97">
                  <c:v>45320</c:v>
                </c:pt>
                <c:pt idx="98">
                  <c:v>45317</c:v>
                </c:pt>
                <c:pt idx="99">
                  <c:v>45316</c:v>
                </c:pt>
                <c:pt idx="100">
                  <c:v>45315</c:v>
                </c:pt>
                <c:pt idx="101">
                  <c:v>45314</c:v>
                </c:pt>
                <c:pt idx="102">
                  <c:v>45313</c:v>
                </c:pt>
                <c:pt idx="103">
                  <c:v>45310</c:v>
                </c:pt>
                <c:pt idx="104">
                  <c:v>45309</c:v>
                </c:pt>
                <c:pt idx="105">
                  <c:v>45308</c:v>
                </c:pt>
                <c:pt idx="106">
                  <c:v>45307</c:v>
                </c:pt>
                <c:pt idx="107">
                  <c:v>45306</c:v>
                </c:pt>
                <c:pt idx="108">
                  <c:v>45303</c:v>
                </c:pt>
                <c:pt idx="109">
                  <c:v>45302</c:v>
                </c:pt>
                <c:pt idx="110">
                  <c:v>45301</c:v>
                </c:pt>
                <c:pt idx="111">
                  <c:v>45300</c:v>
                </c:pt>
                <c:pt idx="112">
                  <c:v>45299</c:v>
                </c:pt>
                <c:pt idx="113">
                  <c:v>45296</c:v>
                </c:pt>
                <c:pt idx="114">
                  <c:v>45295</c:v>
                </c:pt>
                <c:pt idx="115">
                  <c:v>45294</c:v>
                </c:pt>
                <c:pt idx="116">
                  <c:v>45293</c:v>
                </c:pt>
                <c:pt idx="117">
                  <c:v>45289</c:v>
                </c:pt>
                <c:pt idx="118">
                  <c:v>45288</c:v>
                </c:pt>
                <c:pt idx="119">
                  <c:v>45287</c:v>
                </c:pt>
                <c:pt idx="120">
                  <c:v>45286</c:v>
                </c:pt>
                <c:pt idx="121">
                  <c:v>45285</c:v>
                </c:pt>
                <c:pt idx="122">
                  <c:v>45282</c:v>
                </c:pt>
                <c:pt idx="123">
                  <c:v>45281</c:v>
                </c:pt>
                <c:pt idx="124">
                  <c:v>45280</c:v>
                </c:pt>
                <c:pt idx="125">
                  <c:v>45279</c:v>
                </c:pt>
                <c:pt idx="126">
                  <c:v>45278</c:v>
                </c:pt>
                <c:pt idx="127">
                  <c:v>45275</c:v>
                </c:pt>
                <c:pt idx="128">
                  <c:v>45274</c:v>
                </c:pt>
                <c:pt idx="129">
                  <c:v>45273</c:v>
                </c:pt>
                <c:pt idx="130">
                  <c:v>45272</c:v>
                </c:pt>
                <c:pt idx="131">
                  <c:v>45271</c:v>
                </c:pt>
                <c:pt idx="132">
                  <c:v>45268</c:v>
                </c:pt>
                <c:pt idx="133">
                  <c:v>45267</c:v>
                </c:pt>
                <c:pt idx="134">
                  <c:v>45266</c:v>
                </c:pt>
                <c:pt idx="135">
                  <c:v>45265</c:v>
                </c:pt>
                <c:pt idx="136">
                  <c:v>45264</c:v>
                </c:pt>
                <c:pt idx="137">
                  <c:v>45261</c:v>
                </c:pt>
                <c:pt idx="138">
                  <c:v>45260</c:v>
                </c:pt>
                <c:pt idx="139">
                  <c:v>45259</c:v>
                </c:pt>
                <c:pt idx="140">
                  <c:v>45258</c:v>
                </c:pt>
                <c:pt idx="141">
                  <c:v>45257</c:v>
                </c:pt>
                <c:pt idx="142">
                  <c:v>45254</c:v>
                </c:pt>
                <c:pt idx="143">
                  <c:v>45253</c:v>
                </c:pt>
                <c:pt idx="144">
                  <c:v>45252</c:v>
                </c:pt>
                <c:pt idx="145">
                  <c:v>45251</c:v>
                </c:pt>
                <c:pt idx="146">
                  <c:v>45250</c:v>
                </c:pt>
                <c:pt idx="147">
                  <c:v>45247</c:v>
                </c:pt>
                <c:pt idx="148">
                  <c:v>45246</c:v>
                </c:pt>
                <c:pt idx="149">
                  <c:v>45245</c:v>
                </c:pt>
                <c:pt idx="150">
                  <c:v>45244</c:v>
                </c:pt>
                <c:pt idx="151">
                  <c:v>45243</c:v>
                </c:pt>
                <c:pt idx="152">
                  <c:v>45240</c:v>
                </c:pt>
                <c:pt idx="153">
                  <c:v>45239</c:v>
                </c:pt>
                <c:pt idx="154">
                  <c:v>45238</c:v>
                </c:pt>
                <c:pt idx="155">
                  <c:v>45237</c:v>
                </c:pt>
                <c:pt idx="156">
                  <c:v>45236</c:v>
                </c:pt>
                <c:pt idx="157">
                  <c:v>45233</c:v>
                </c:pt>
                <c:pt idx="158">
                  <c:v>45232</c:v>
                </c:pt>
                <c:pt idx="159">
                  <c:v>45231</c:v>
                </c:pt>
                <c:pt idx="160">
                  <c:v>45230</c:v>
                </c:pt>
                <c:pt idx="161">
                  <c:v>45229</c:v>
                </c:pt>
                <c:pt idx="162">
                  <c:v>45226</c:v>
                </c:pt>
                <c:pt idx="163">
                  <c:v>45225</c:v>
                </c:pt>
                <c:pt idx="164">
                  <c:v>45224</c:v>
                </c:pt>
                <c:pt idx="165">
                  <c:v>45223</c:v>
                </c:pt>
                <c:pt idx="166">
                  <c:v>45222</c:v>
                </c:pt>
                <c:pt idx="167">
                  <c:v>45219</c:v>
                </c:pt>
                <c:pt idx="168">
                  <c:v>45218</c:v>
                </c:pt>
                <c:pt idx="169">
                  <c:v>45217</c:v>
                </c:pt>
                <c:pt idx="170">
                  <c:v>45216</c:v>
                </c:pt>
                <c:pt idx="171">
                  <c:v>45215</c:v>
                </c:pt>
                <c:pt idx="172">
                  <c:v>45212</c:v>
                </c:pt>
                <c:pt idx="173">
                  <c:v>45211</c:v>
                </c:pt>
                <c:pt idx="174">
                  <c:v>45210</c:v>
                </c:pt>
                <c:pt idx="175">
                  <c:v>45209</c:v>
                </c:pt>
                <c:pt idx="176">
                  <c:v>45208</c:v>
                </c:pt>
                <c:pt idx="177">
                  <c:v>45197</c:v>
                </c:pt>
                <c:pt idx="178">
                  <c:v>45196</c:v>
                </c:pt>
                <c:pt idx="179">
                  <c:v>45195</c:v>
                </c:pt>
                <c:pt idx="180">
                  <c:v>45194</c:v>
                </c:pt>
                <c:pt idx="181">
                  <c:v>45191</c:v>
                </c:pt>
                <c:pt idx="182">
                  <c:v>45190</c:v>
                </c:pt>
                <c:pt idx="183">
                  <c:v>45189</c:v>
                </c:pt>
                <c:pt idx="184">
                  <c:v>45188</c:v>
                </c:pt>
                <c:pt idx="185">
                  <c:v>45187</c:v>
                </c:pt>
                <c:pt idx="186">
                  <c:v>45184</c:v>
                </c:pt>
                <c:pt idx="187">
                  <c:v>45183</c:v>
                </c:pt>
                <c:pt idx="188">
                  <c:v>45182</c:v>
                </c:pt>
                <c:pt idx="189">
                  <c:v>45181</c:v>
                </c:pt>
                <c:pt idx="190">
                  <c:v>45180</c:v>
                </c:pt>
                <c:pt idx="191">
                  <c:v>45177</c:v>
                </c:pt>
                <c:pt idx="192">
                  <c:v>45176</c:v>
                </c:pt>
                <c:pt idx="193">
                  <c:v>45175</c:v>
                </c:pt>
                <c:pt idx="194">
                  <c:v>45174</c:v>
                </c:pt>
                <c:pt idx="195">
                  <c:v>45173</c:v>
                </c:pt>
                <c:pt idx="196">
                  <c:v>45170</c:v>
                </c:pt>
                <c:pt idx="197">
                  <c:v>45169</c:v>
                </c:pt>
                <c:pt idx="198">
                  <c:v>45168</c:v>
                </c:pt>
                <c:pt idx="199">
                  <c:v>45167</c:v>
                </c:pt>
                <c:pt idx="200">
                  <c:v>45166</c:v>
                </c:pt>
                <c:pt idx="201">
                  <c:v>45163</c:v>
                </c:pt>
                <c:pt idx="202">
                  <c:v>45162</c:v>
                </c:pt>
                <c:pt idx="203">
                  <c:v>45161</c:v>
                </c:pt>
                <c:pt idx="204">
                  <c:v>45160</c:v>
                </c:pt>
                <c:pt idx="205">
                  <c:v>45159</c:v>
                </c:pt>
                <c:pt idx="206">
                  <c:v>45156</c:v>
                </c:pt>
                <c:pt idx="207">
                  <c:v>45155</c:v>
                </c:pt>
                <c:pt idx="208">
                  <c:v>45154</c:v>
                </c:pt>
                <c:pt idx="209">
                  <c:v>45153</c:v>
                </c:pt>
                <c:pt idx="210">
                  <c:v>45152</c:v>
                </c:pt>
                <c:pt idx="211">
                  <c:v>45149</c:v>
                </c:pt>
                <c:pt idx="212">
                  <c:v>45148</c:v>
                </c:pt>
                <c:pt idx="213">
                  <c:v>45147</c:v>
                </c:pt>
                <c:pt idx="214">
                  <c:v>45146</c:v>
                </c:pt>
                <c:pt idx="215">
                  <c:v>45145</c:v>
                </c:pt>
                <c:pt idx="216">
                  <c:v>45142</c:v>
                </c:pt>
                <c:pt idx="217">
                  <c:v>45141</c:v>
                </c:pt>
                <c:pt idx="218">
                  <c:v>45140</c:v>
                </c:pt>
                <c:pt idx="219">
                  <c:v>45139</c:v>
                </c:pt>
                <c:pt idx="220">
                  <c:v>45138</c:v>
                </c:pt>
                <c:pt idx="221">
                  <c:v>45135</c:v>
                </c:pt>
                <c:pt idx="222">
                  <c:v>45134</c:v>
                </c:pt>
                <c:pt idx="223">
                  <c:v>45133</c:v>
                </c:pt>
                <c:pt idx="224">
                  <c:v>45132</c:v>
                </c:pt>
                <c:pt idx="225">
                  <c:v>45131</c:v>
                </c:pt>
                <c:pt idx="226">
                  <c:v>45128</c:v>
                </c:pt>
                <c:pt idx="227">
                  <c:v>45127</c:v>
                </c:pt>
                <c:pt idx="228">
                  <c:v>45126</c:v>
                </c:pt>
                <c:pt idx="229">
                  <c:v>45125</c:v>
                </c:pt>
                <c:pt idx="230">
                  <c:v>45124</c:v>
                </c:pt>
                <c:pt idx="231">
                  <c:v>45121</c:v>
                </c:pt>
                <c:pt idx="232">
                  <c:v>45120</c:v>
                </c:pt>
                <c:pt idx="233">
                  <c:v>45119</c:v>
                </c:pt>
                <c:pt idx="234">
                  <c:v>45118</c:v>
                </c:pt>
                <c:pt idx="235">
                  <c:v>45117</c:v>
                </c:pt>
                <c:pt idx="236">
                  <c:v>45114</c:v>
                </c:pt>
                <c:pt idx="237">
                  <c:v>45113</c:v>
                </c:pt>
                <c:pt idx="238">
                  <c:v>45112</c:v>
                </c:pt>
                <c:pt idx="239">
                  <c:v>45111</c:v>
                </c:pt>
                <c:pt idx="240">
                  <c:v>45110</c:v>
                </c:pt>
                <c:pt idx="241">
                  <c:v>45107</c:v>
                </c:pt>
                <c:pt idx="242">
                  <c:v>45106</c:v>
                </c:pt>
                <c:pt idx="243">
                  <c:v>45105</c:v>
                </c:pt>
                <c:pt idx="244">
                  <c:v>45104</c:v>
                </c:pt>
                <c:pt idx="245">
                  <c:v>45103</c:v>
                </c:pt>
                <c:pt idx="246">
                  <c:v>45098</c:v>
                </c:pt>
                <c:pt idx="247">
                  <c:v>45097</c:v>
                </c:pt>
                <c:pt idx="248">
                  <c:v>45096</c:v>
                </c:pt>
                <c:pt idx="249">
                  <c:v>45093</c:v>
                </c:pt>
                <c:pt idx="250">
                  <c:v>45092</c:v>
                </c:pt>
                <c:pt idx="251">
                  <c:v>45091</c:v>
                </c:pt>
                <c:pt idx="252">
                  <c:v>45090</c:v>
                </c:pt>
              </c:numCache>
            </c:numRef>
          </c:cat>
          <c:val>
            <c:numRef>
              <c:f>各合约价格!$AO$7:$AO$372</c:f>
              <c:numCache>
                <c:formatCode>General</c:formatCode>
                <c:ptCount val="366"/>
                <c:pt idx="0">
                  <c:v>13550</c:v>
                </c:pt>
                <c:pt idx="1">
                  <c:v>13550</c:v>
                </c:pt>
                <c:pt idx="2">
                  <c:v>13550</c:v>
                </c:pt>
                <c:pt idx="3">
                  <c:v>13550</c:v>
                </c:pt>
                <c:pt idx="4">
                  <c:v>13600</c:v>
                </c:pt>
                <c:pt idx="5">
                  <c:v>13600</c:v>
                </c:pt>
                <c:pt idx="6">
                  <c:v>13600</c:v>
                </c:pt>
                <c:pt idx="7">
                  <c:v>13600</c:v>
                </c:pt>
                <c:pt idx="8">
                  <c:v>13600</c:v>
                </c:pt>
                <c:pt idx="9">
                  <c:v>13600</c:v>
                </c:pt>
                <c:pt idx="10">
                  <c:v>13600</c:v>
                </c:pt>
                <c:pt idx="11">
                  <c:v>13600</c:v>
                </c:pt>
                <c:pt idx="12">
                  <c:v>13600</c:v>
                </c:pt>
                <c:pt idx="13">
                  <c:v>13600</c:v>
                </c:pt>
                <c:pt idx="14">
                  <c:v>13600</c:v>
                </c:pt>
                <c:pt idx="15">
                  <c:v>13600</c:v>
                </c:pt>
                <c:pt idx="16">
                  <c:v>13600</c:v>
                </c:pt>
                <c:pt idx="17">
                  <c:v>13600</c:v>
                </c:pt>
                <c:pt idx="18">
                  <c:v>13600</c:v>
                </c:pt>
                <c:pt idx="19">
                  <c:v>13600</c:v>
                </c:pt>
                <c:pt idx="20">
                  <c:v>13600</c:v>
                </c:pt>
                <c:pt idx="21">
                  <c:v>13600</c:v>
                </c:pt>
                <c:pt idx="22">
                  <c:v>13600</c:v>
                </c:pt>
                <c:pt idx="23">
                  <c:v>13600</c:v>
                </c:pt>
                <c:pt idx="24">
                  <c:v>13600</c:v>
                </c:pt>
                <c:pt idx="25">
                  <c:v>13600</c:v>
                </c:pt>
                <c:pt idx="26">
                  <c:v>13600</c:v>
                </c:pt>
                <c:pt idx="27">
                  <c:v>13650</c:v>
                </c:pt>
                <c:pt idx="28">
                  <c:v>13750</c:v>
                </c:pt>
                <c:pt idx="29">
                  <c:v>13750</c:v>
                </c:pt>
                <c:pt idx="30">
                  <c:v>13750</c:v>
                </c:pt>
                <c:pt idx="31">
                  <c:v>13750</c:v>
                </c:pt>
                <c:pt idx="32">
                  <c:v>13750</c:v>
                </c:pt>
                <c:pt idx="33">
                  <c:v>13750</c:v>
                </c:pt>
                <c:pt idx="34">
                  <c:v>13750</c:v>
                </c:pt>
                <c:pt idx="35">
                  <c:v>13750</c:v>
                </c:pt>
                <c:pt idx="36">
                  <c:v>13750</c:v>
                </c:pt>
                <c:pt idx="37">
                  <c:v>13750</c:v>
                </c:pt>
                <c:pt idx="38">
                  <c:v>13750</c:v>
                </c:pt>
                <c:pt idx="39">
                  <c:v>13750</c:v>
                </c:pt>
                <c:pt idx="40">
                  <c:v>13750</c:v>
                </c:pt>
                <c:pt idx="41">
                  <c:v>13750</c:v>
                </c:pt>
                <c:pt idx="42">
                  <c:v>13750</c:v>
                </c:pt>
                <c:pt idx="43">
                  <c:v>13750</c:v>
                </c:pt>
                <c:pt idx="44">
                  <c:v>13750</c:v>
                </c:pt>
                <c:pt idx="45">
                  <c:v>13750</c:v>
                </c:pt>
                <c:pt idx="46">
                  <c:v>13750</c:v>
                </c:pt>
                <c:pt idx="47">
                  <c:v>13850</c:v>
                </c:pt>
                <c:pt idx="48">
                  <c:v>13850</c:v>
                </c:pt>
                <c:pt idx="49">
                  <c:v>13950</c:v>
                </c:pt>
                <c:pt idx="50">
                  <c:v>14000</c:v>
                </c:pt>
                <c:pt idx="51">
                  <c:v>14000</c:v>
                </c:pt>
                <c:pt idx="52">
                  <c:v>14000</c:v>
                </c:pt>
                <c:pt idx="53">
                  <c:v>14000</c:v>
                </c:pt>
                <c:pt idx="54">
                  <c:v>14000</c:v>
                </c:pt>
                <c:pt idx="55">
                  <c:v>14000</c:v>
                </c:pt>
                <c:pt idx="56">
                  <c:v>14100</c:v>
                </c:pt>
                <c:pt idx="57">
                  <c:v>14200</c:v>
                </c:pt>
                <c:pt idx="58">
                  <c:v>14200</c:v>
                </c:pt>
                <c:pt idx="59">
                  <c:v>14300</c:v>
                </c:pt>
                <c:pt idx="60">
                  <c:v>14300</c:v>
                </c:pt>
                <c:pt idx="61">
                  <c:v>14400</c:v>
                </c:pt>
                <c:pt idx="62">
                  <c:v>14500</c:v>
                </c:pt>
                <c:pt idx="63">
                  <c:v>14550</c:v>
                </c:pt>
                <c:pt idx="64">
                  <c:v>14650</c:v>
                </c:pt>
                <c:pt idx="65">
                  <c:v>14750</c:v>
                </c:pt>
                <c:pt idx="66">
                  <c:v>14750</c:v>
                </c:pt>
                <c:pt idx="67">
                  <c:v>14850</c:v>
                </c:pt>
                <c:pt idx="68">
                  <c:v>15050</c:v>
                </c:pt>
                <c:pt idx="69">
                  <c:v>15100</c:v>
                </c:pt>
                <c:pt idx="70">
                  <c:v>15200</c:v>
                </c:pt>
                <c:pt idx="71">
                  <c:v>15250</c:v>
                </c:pt>
                <c:pt idx="72">
                  <c:v>15250</c:v>
                </c:pt>
                <c:pt idx="73">
                  <c:v>15250</c:v>
                </c:pt>
                <c:pt idx="74">
                  <c:v>15250</c:v>
                </c:pt>
                <c:pt idx="75">
                  <c:v>15250</c:v>
                </c:pt>
                <c:pt idx="76">
                  <c:v>15250</c:v>
                </c:pt>
                <c:pt idx="77">
                  <c:v>15250</c:v>
                </c:pt>
                <c:pt idx="78">
                  <c:v>15250</c:v>
                </c:pt>
                <c:pt idx="79">
                  <c:v>15250</c:v>
                </c:pt>
                <c:pt idx="80">
                  <c:v>15250</c:v>
                </c:pt>
                <c:pt idx="81">
                  <c:v>15300</c:v>
                </c:pt>
                <c:pt idx="82">
                  <c:v>15350</c:v>
                </c:pt>
                <c:pt idx="83">
                  <c:v>15350</c:v>
                </c:pt>
                <c:pt idx="84">
                  <c:v>15350</c:v>
                </c:pt>
                <c:pt idx="85">
                  <c:v>15350</c:v>
                </c:pt>
                <c:pt idx="86">
                  <c:v>15350</c:v>
                </c:pt>
                <c:pt idx="87">
                  <c:v>15400</c:v>
                </c:pt>
                <c:pt idx="88">
                  <c:v>15450</c:v>
                </c:pt>
                <c:pt idx="89">
                  <c:v>15450</c:v>
                </c:pt>
                <c:pt idx="90">
                  <c:v>15450</c:v>
                </c:pt>
                <c:pt idx="91">
                  <c:v>15450</c:v>
                </c:pt>
                <c:pt idx="92">
                  <c:v>15450</c:v>
                </c:pt>
                <c:pt idx="93">
                  <c:v>15450</c:v>
                </c:pt>
                <c:pt idx="94">
                  <c:v>15450</c:v>
                </c:pt>
                <c:pt idx="95">
                  <c:v>15450</c:v>
                </c:pt>
                <c:pt idx="96">
                  <c:v>15450</c:v>
                </c:pt>
                <c:pt idx="97">
                  <c:v>15450</c:v>
                </c:pt>
                <c:pt idx="98">
                  <c:v>15500</c:v>
                </c:pt>
                <c:pt idx="99">
                  <c:v>15500</c:v>
                </c:pt>
                <c:pt idx="100">
                  <c:v>15500</c:v>
                </c:pt>
                <c:pt idx="101">
                  <c:v>15500</c:v>
                </c:pt>
                <c:pt idx="102">
                  <c:v>15500</c:v>
                </c:pt>
                <c:pt idx="103">
                  <c:v>15500</c:v>
                </c:pt>
                <c:pt idx="104">
                  <c:v>15500</c:v>
                </c:pt>
                <c:pt idx="105">
                  <c:v>15600</c:v>
                </c:pt>
                <c:pt idx="106">
                  <c:v>15650</c:v>
                </c:pt>
                <c:pt idx="107">
                  <c:v>15750</c:v>
                </c:pt>
                <c:pt idx="108">
                  <c:v>15750</c:v>
                </c:pt>
                <c:pt idx="109">
                  <c:v>15750</c:v>
                </c:pt>
                <c:pt idx="110">
                  <c:v>15750</c:v>
                </c:pt>
                <c:pt idx="111">
                  <c:v>15800</c:v>
                </c:pt>
                <c:pt idx="112">
                  <c:v>15850</c:v>
                </c:pt>
                <c:pt idx="113">
                  <c:v>15850</c:v>
                </c:pt>
                <c:pt idx="114">
                  <c:v>15850</c:v>
                </c:pt>
                <c:pt idx="115">
                  <c:v>15850</c:v>
                </c:pt>
                <c:pt idx="116">
                  <c:v>15850</c:v>
                </c:pt>
                <c:pt idx="117">
                  <c:v>15850</c:v>
                </c:pt>
                <c:pt idx="118">
                  <c:v>15850</c:v>
                </c:pt>
                <c:pt idx="119">
                  <c:v>15850</c:v>
                </c:pt>
                <c:pt idx="120">
                  <c:v>15850</c:v>
                </c:pt>
                <c:pt idx="121">
                  <c:v>15850</c:v>
                </c:pt>
                <c:pt idx="122">
                  <c:v>15800</c:v>
                </c:pt>
                <c:pt idx="123">
                  <c:v>15700</c:v>
                </c:pt>
                <c:pt idx="124">
                  <c:v>15650</c:v>
                </c:pt>
                <c:pt idx="125">
                  <c:v>15550</c:v>
                </c:pt>
                <c:pt idx="126">
                  <c:v>15550</c:v>
                </c:pt>
                <c:pt idx="127">
                  <c:v>15550</c:v>
                </c:pt>
                <c:pt idx="128">
                  <c:v>15550</c:v>
                </c:pt>
                <c:pt idx="129">
                  <c:v>15550</c:v>
                </c:pt>
                <c:pt idx="130">
                  <c:v>15550</c:v>
                </c:pt>
                <c:pt idx="131">
                  <c:v>15550</c:v>
                </c:pt>
                <c:pt idx="132">
                  <c:v>15550</c:v>
                </c:pt>
                <c:pt idx="133">
                  <c:v>15550</c:v>
                </c:pt>
                <c:pt idx="134">
                  <c:v>15550</c:v>
                </c:pt>
                <c:pt idx="135">
                  <c:v>15550</c:v>
                </c:pt>
                <c:pt idx="136">
                  <c:v>15550</c:v>
                </c:pt>
                <c:pt idx="137">
                  <c:v>15550</c:v>
                </c:pt>
                <c:pt idx="138">
                  <c:v>15550</c:v>
                </c:pt>
                <c:pt idx="139">
                  <c:v>15550</c:v>
                </c:pt>
                <c:pt idx="140">
                  <c:v>15550</c:v>
                </c:pt>
                <c:pt idx="141">
                  <c:v>15550</c:v>
                </c:pt>
                <c:pt idx="142">
                  <c:v>15550</c:v>
                </c:pt>
                <c:pt idx="143">
                  <c:v>15550</c:v>
                </c:pt>
                <c:pt idx="144">
                  <c:v>15550</c:v>
                </c:pt>
                <c:pt idx="145">
                  <c:v>15550</c:v>
                </c:pt>
                <c:pt idx="146">
                  <c:v>15550</c:v>
                </c:pt>
                <c:pt idx="147">
                  <c:v>15550</c:v>
                </c:pt>
                <c:pt idx="148">
                  <c:v>15550</c:v>
                </c:pt>
                <c:pt idx="149">
                  <c:v>15550</c:v>
                </c:pt>
                <c:pt idx="150">
                  <c:v>15550</c:v>
                </c:pt>
                <c:pt idx="151">
                  <c:v>15550</c:v>
                </c:pt>
                <c:pt idx="152">
                  <c:v>15600</c:v>
                </c:pt>
                <c:pt idx="153">
                  <c:v>15600</c:v>
                </c:pt>
                <c:pt idx="154">
                  <c:v>15600</c:v>
                </c:pt>
                <c:pt idx="155">
                  <c:v>15650</c:v>
                </c:pt>
                <c:pt idx="156">
                  <c:v>15700</c:v>
                </c:pt>
                <c:pt idx="157">
                  <c:v>15700</c:v>
                </c:pt>
                <c:pt idx="158">
                  <c:v>15750</c:v>
                </c:pt>
                <c:pt idx="159">
                  <c:v>15750</c:v>
                </c:pt>
                <c:pt idx="160">
                  <c:v>15850</c:v>
                </c:pt>
                <c:pt idx="161">
                  <c:v>15850</c:v>
                </c:pt>
                <c:pt idx="162">
                  <c:v>15850</c:v>
                </c:pt>
                <c:pt idx="163">
                  <c:v>15900</c:v>
                </c:pt>
                <c:pt idx="164">
                  <c:v>15950</c:v>
                </c:pt>
                <c:pt idx="165">
                  <c:v>15950</c:v>
                </c:pt>
                <c:pt idx="166">
                  <c:v>15950</c:v>
                </c:pt>
                <c:pt idx="167">
                  <c:v>15950</c:v>
                </c:pt>
                <c:pt idx="168">
                  <c:v>15950</c:v>
                </c:pt>
                <c:pt idx="169">
                  <c:v>15950</c:v>
                </c:pt>
                <c:pt idx="170">
                  <c:v>16000</c:v>
                </c:pt>
                <c:pt idx="171">
                  <c:v>16050</c:v>
                </c:pt>
                <c:pt idx="172">
                  <c:v>16100</c:v>
                </c:pt>
                <c:pt idx="173">
                  <c:v>16100</c:v>
                </c:pt>
                <c:pt idx="174">
                  <c:v>16100</c:v>
                </c:pt>
                <c:pt idx="175">
                  <c:v>16100</c:v>
                </c:pt>
                <c:pt idx="176">
                  <c:v>16100</c:v>
                </c:pt>
                <c:pt idx="177">
                  <c:v>16100</c:v>
                </c:pt>
                <c:pt idx="178">
                  <c:v>16100</c:v>
                </c:pt>
                <c:pt idx="179">
                  <c:v>16100</c:v>
                </c:pt>
                <c:pt idx="180">
                  <c:v>16100</c:v>
                </c:pt>
                <c:pt idx="181">
                  <c:v>16050</c:v>
                </c:pt>
                <c:pt idx="182">
                  <c:v>16050</c:v>
                </c:pt>
                <c:pt idx="183">
                  <c:v>16000</c:v>
                </c:pt>
                <c:pt idx="184">
                  <c:v>16000</c:v>
                </c:pt>
                <c:pt idx="185">
                  <c:v>15950</c:v>
                </c:pt>
                <c:pt idx="186">
                  <c:v>15900</c:v>
                </c:pt>
                <c:pt idx="187">
                  <c:v>15700</c:v>
                </c:pt>
                <c:pt idx="188">
                  <c:v>15700</c:v>
                </c:pt>
                <c:pt idx="189">
                  <c:v>15450</c:v>
                </c:pt>
                <c:pt idx="190">
                  <c:v>15300</c:v>
                </c:pt>
                <c:pt idx="191">
                  <c:v>15300</c:v>
                </c:pt>
                <c:pt idx="192">
                  <c:v>15300</c:v>
                </c:pt>
                <c:pt idx="193">
                  <c:v>15250</c:v>
                </c:pt>
                <c:pt idx="194">
                  <c:v>15150</c:v>
                </c:pt>
                <c:pt idx="195">
                  <c:v>15050</c:v>
                </c:pt>
                <c:pt idx="196">
                  <c:v>15000</c:v>
                </c:pt>
                <c:pt idx="197">
                  <c:v>15000</c:v>
                </c:pt>
                <c:pt idx="198">
                  <c:v>15000</c:v>
                </c:pt>
                <c:pt idx="199">
                  <c:v>15000</c:v>
                </c:pt>
                <c:pt idx="200">
                  <c:v>15000</c:v>
                </c:pt>
                <c:pt idx="201">
                  <c:v>14950</c:v>
                </c:pt>
                <c:pt idx="202">
                  <c:v>14800</c:v>
                </c:pt>
                <c:pt idx="203">
                  <c:v>14650</c:v>
                </c:pt>
                <c:pt idx="204">
                  <c:v>14650</c:v>
                </c:pt>
                <c:pt idx="205">
                  <c:v>14500</c:v>
                </c:pt>
                <c:pt idx="206">
                  <c:v>14500</c:v>
                </c:pt>
                <c:pt idx="207">
                  <c:v>14500</c:v>
                </c:pt>
                <c:pt idx="208">
                  <c:v>14500</c:v>
                </c:pt>
                <c:pt idx="209">
                  <c:v>14500</c:v>
                </c:pt>
                <c:pt idx="210">
                  <c:v>14500</c:v>
                </c:pt>
                <c:pt idx="211">
                  <c:v>14300</c:v>
                </c:pt>
                <c:pt idx="212">
                  <c:v>14300</c:v>
                </c:pt>
                <c:pt idx="213">
                  <c:v>14300</c:v>
                </c:pt>
                <c:pt idx="214">
                  <c:v>14300</c:v>
                </c:pt>
                <c:pt idx="215">
                  <c:v>14300</c:v>
                </c:pt>
                <c:pt idx="216">
                  <c:v>14300</c:v>
                </c:pt>
                <c:pt idx="217">
                  <c:v>14300</c:v>
                </c:pt>
                <c:pt idx="218">
                  <c:v>14300</c:v>
                </c:pt>
                <c:pt idx="219">
                  <c:v>14300</c:v>
                </c:pt>
                <c:pt idx="220">
                  <c:v>14300</c:v>
                </c:pt>
                <c:pt idx="221">
                  <c:v>14300</c:v>
                </c:pt>
                <c:pt idx="222">
                  <c:v>14300</c:v>
                </c:pt>
                <c:pt idx="223">
                  <c:v>14300</c:v>
                </c:pt>
                <c:pt idx="224">
                  <c:v>14300</c:v>
                </c:pt>
                <c:pt idx="225">
                  <c:v>14300</c:v>
                </c:pt>
                <c:pt idx="226">
                  <c:v>14300</c:v>
                </c:pt>
                <c:pt idx="227">
                  <c:v>14300</c:v>
                </c:pt>
                <c:pt idx="228">
                  <c:v>14300</c:v>
                </c:pt>
                <c:pt idx="229">
                  <c:v>14300</c:v>
                </c:pt>
                <c:pt idx="230">
                  <c:v>14300</c:v>
                </c:pt>
                <c:pt idx="231">
                  <c:v>14300</c:v>
                </c:pt>
                <c:pt idx="232">
                  <c:v>14300</c:v>
                </c:pt>
                <c:pt idx="233">
                  <c:v>14200</c:v>
                </c:pt>
                <c:pt idx="234">
                  <c:v>14200</c:v>
                </c:pt>
                <c:pt idx="235">
                  <c:v>14050</c:v>
                </c:pt>
                <c:pt idx="236">
                  <c:v>14050</c:v>
                </c:pt>
                <c:pt idx="237">
                  <c:v>14050</c:v>
                </c:pt>
                <c:pt idx="238">
                  <c:v>14050</c:v>
                </c:pt>
                <c:pt idx="239">
                  <c:v>13950</c:v>
                </c:pt>
                <c:pt idx="240">
                  <c:v>13950</c:v>
                </c:pt>
                <c:pt idx="241">
                  <c:v>13950</c:v>
                </c:pt>
                <c:pt idx="242">
                  <c:v>13950</c:v>
                </c:pt>
                <c:pt idx="243">
                  <c:v>13950</c:v>
                </c:pt>
                <c:pt idx="244">
                  <c:v>13950</c:v>
                </c:pt>
                <c:pt idx="245">
                  <c:v>13950</c:v>
                </c:pt>
                <c:pt idx="246">
                  <c:v>14000</c:v>
                </c:pt>
                <c:pt idx="247">
                  <c:v>13800</c:v>
                </c:pt>
                <c:pt idx="248">
                  <c:v>13800</c:v>
                </c:pt>
                <c:pt idx="249">
                  <c:v>13800</c:v>
                </c:pt>
                <c:pt idx="250">
                  <c:v>13850</c:v>
                </c:pt>
                <c:pt idx="251">
                  <c:v>13950</c:v>
                </c:pt>
                <c:pt idx="252">
                  <c:v>14150</c:v>
                </c:pt>
              </c:numCache>
            </c:numRef>
          </c:val>
          <c:smooth val="0"/>
          <c:extLst>
            <c:ext xmlns:c16="http://schemas.microsoft.com/office/drawing/2014/chart" uri="{C3380CC4-5D6E-409C-BE32-E72D297353CC}">
              <c16:uniqueId val="{00000004-EA79-4F0B-B482-E3A760CE57DF}"/>
            </c:ext>
          </c:extLst>
        </c:ser>
        <c:dLbls>
          <c:showLegendKey val="0"/>
          <c:showVal val="0"/>
          <c:showCatName val="0"/>
          <c:showSerName val="0"/>
          <c:showPercent val="0"/>
          <c:showBubbleSize val="0"/>
        </c:dLbls>
        <c:smooth val="0"/>
        <c:axId val="790466383"/>
        <c:axId val="364629568"/>
      </c:lineChart>
      <c:dateAx>
        <c:axId val="790466383"/>
        <c:scaling>
          <c:orientation val="minMax"/>
          <c:min val="45170"/>
        </c:scaling>
        <c:delete val="0"/>
        <c:axPos val="b"/>
        <c:numFmt formatCode="yy/mm/dd"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crossAx val="364629568"/>
        <c:crosses val="autoZero"/>
        <c:auto val="1"/>
        <c:lblOffset val="100"/>
        <c:baseTimeUnit val="days"/>
      </c:dateAx>
      <c:valAx>
        <c:axId val="364629568"/>
        <c:scaling>
          <c:orientation val="minMax"/>
          <c:max val="18000"/>
          <c:min val="11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crossAx val="790466383"/>
        <c:crosses val="autoZero"/>
        <c:crossBetween val="between"/>
      </c:valAx>
      <c:spPr>
        <a:noFill/>
        <a:ln>
          <a:noFill/>
        </a:ln>
        <a:effectLst/>
      </c:spPr>
    </c:plotArea>
    <c:legend>
      <c:legendPos val="b"/>
      <c:layout>
        <c:manualLayout>
          <c:xMode val="edge"/>
          <c:yMode val="edge"/>
          <c:x val="0"/>
          <c:y val="0.92716115978123381"/>
          <c:w val="1"/>
          <c:h val="7.2838840218766132E-2"/>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latin typeface="+mn-lt"/>
          <a:ea typeface="+mn-ea"/>
          <a:cs typeface="+mn-ea"/>
          <a:sym typeface="+mn-lt"/>
        </a:defRPr>
      </a:pPr>
      <a:endParaRPr lang="zh-CN"/>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zh-CN"/>
              <a:t>云南平均电价</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主流省份电价!$BD$5</c:f>
              <c:strCache>
                <c:ptCount val="1"/>
                <c:pt idx="0">
                  <c:v>2020</c:v>
                </c:pt>
              </c:strCache>
            </c:strRef>
          </c:tx>
          <c:spPr>
            <a:ln w="19050" cap="rnd">
              <a:solidFill>
                <a:srgbClr val="7030A0">
                  <a:alpha val="60000"/>
                </a:srgbClr>
              </a:solidFill>
              <a:round/>
            </a:ln>
            <a:effectLst/>
          </c:spPr>
          <c:marker>
            <c:symbol val="none"/>
          </c:marker>
          <c:cat>
            <c:strRef>
              <c:f>主流省份电价!$BA$6:$BA$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BD$6:$BD$371</c:f>
              <c:numCache>
                <c:formatCode>#,##0.00_);[Red]\(#,##0.00\)</c:formatCode>
                <c:ptCount val="366"/>
                <c:pt idx="0">
                  <c:v>0.36333333333333329</c:v>
                </c:pt>
                <c:pt idx="1">
                  <c:v>0.36333333333333329</c:v>
                </c:pt>
                <c:pt idx="2">
                  <c:v>0.36333333333333329</c:v>
                </c:pt>
                <c:pt idx="3">
                  <c:v>0.36333333333333301</c:v>
                </c:pt>
                <c:pt idx="4">
                  <c:v>0.36333333333333329</c:v>
                </c:pt>
                <c:pt idx="5">
                  <c:v>0.36333333333333329</c:v>
                </c:pt>
                <c:pt idx="6">
                  <c:v>0.36333333333333329</c:v>
                </c:pt>
                <c:pt idx="7">
                  <c:v>0.36333333333333329</c:v>
                </c:pt>
                <c:pt idx="8">
                  <c:v>0.36333333333333329</c:v>
                </c:pt>
                <c:pt idx="9">
                  <c:v>0.36333333333333329</c:v>
                </c:pt>
                <c:pt idx="10">
                  <c:v>0.36333333333333329</c:v>
                </c:pt>
                <c:pt idx="11">
                  <c:v>0.36333333333333329</c:v>
                </c:pt>
                <c:pt idx="12">
                  <c:v>0.36333333333333329</c:v>
                </c:pt>
                <c:pt idx="13">
                  <c:v>0.36333333333333329</c:v>
                </c:pt>
                <c:pt idx="14">
                  <c:v>0.36333333333333329</c:v>
                </c:pt>
                <c:pt idx="15">
                  <c:v>0.36333333333333329</c:v>
                </c:pt>
                <c:pt idx="16">
                  <c:v>0.36333333333333329</c:v>
                </c:pt>
                <c:pt idx="17">
                  <c:v>0.36333333333333329</c:v>
                </c:pt>
                <c:pt idx="18">
                  <c:v>0.36333333333333329</c:v>
                </c:pt>
                <c:pt idx="19">
                  <c:v>0.36333333333333329</c:v>
                </c:pt>
                <c:pt idx="20">
                  <c:v>0.36333333333333329</c:v>
                </c:pt>
                <c:pt idx="21">
                  <c:v>0.36333333333333329</c:v>
                </c:pt>
                <c:pt idx="22">
                  <c:v>0.36333333333333329</c:v>
                </c:pt>
                <c:pt idx="23">
                  <c:v>0.36333333333333329</c:v>
                </c:pt>
                <c:pt idx="24">
                  <c:v>0.36333333333333329</c:v>
                </c:pt>
                <c:pt idx="25">
                  <c:v>0.36333333333333329</c:v>
                </c:pt>
                <c:pt idx="26">
                  <c:v>0.36333333333333329</c:v>
                </c:pt>
                <c:pt idx="27">
                  <c:v>0.36333333333333329</c:v>
                </c:pt>
                <c:pt idx="28">
                  <c:v>0.36333333333333329</c:v>
                </c:pt>
                <c:pt idx="29">
                  <c:v>0.36333333333333329</c:v>
                </c:pt>
                <c:pt idx="30">
                  <c:v>0.36333333333333329</c:v>
                </c:pt>
                <c:pt idx="31">
                  <c:v>0.36333333333333329</c:v>
                </c:pt>
                <c:pt idx="32">
                  <c:v>0.36333333333333329</c:v>
                </c:pt>
                <c:pt idx="33">
                  <c:v>0.36333333333333329</c:v>
                </c:pt>
                <c:pt idx="34">
                  <c:v>0.36333333333333329</c:v>
                </c:pt>
                <c:pt idx="35">
                  <c:v>0.36333333333333329</c:v>
                </c:pt>
                <c:pt idx="36">
                  <c:v>0.36333333333333329</c:v>
                </c:pt>
                <c:pt idx="37">
                  <c:v>0.36333333333333329</c:v>
                </c:pt>
                <c:pt idx="38">
                  <c:v>0.36333333333333329</c:v>
                </c:pt>
                <c:pt idx="39">
                  <c:v>0.36333333333333329</c:v>
                </c:pt>
                <c:pt idx="40">
                  <c:v>0.36333333333333329</c:v>
                </c:pt>
                <c:pt idx="41">
                  <c:v>0.36333333333333329</c:v>
                </c:pt>
                <c:pt idx="42">
                  <c:v>0.36333333333333329</c:v>
                </c:pt>
                <c:pt idx="43">
                  <c:v>0.36333333333333329</c:v>
                </c:pt>
                <c:pt idx="44">
                  <c:v>0.36333333333333329</c:v>
                </c:pt>
                <c:pt idx="45">
                  <c:v>0.36333333333333329</c:v>
                </c:pt>
                <c:pt idx="46">
                  <c:v>0.36333333333333329</c:v>
                </c:pt>
                <c:pt idx="47">
                  <c:v>0.36333333333333329</c:v>
                </c:pt>
                <c:pt idx="48">
                  <c:v>0.36333333333333329</c:v>
                </c:pt>
                <c:pt idx="49">
                  <c:v>0.36333333333333329</c:v>
                </c:pt>
                <c:pt idx="50">
                  <c:v>0.36333333333333329</c:v>
                </c:pt>
                <c:pt idx="51">
                  <c:v>0.36333333333333329</c:v>
                </c:pt>
                <c:pt idx="52">
                  <c:v>0.36333333333333329</c:v>
                </c:pt>
                <c:pt idx="53">
                  <c:v>0.36333333333333329</c:v>
                </c:pt>
                <c:pt idx="54">
                  <c:v>0.36333333333333329</c:v>
                </c:pt>
                <c:pt idx="55">
                  <c:v>0.36333333333333329</c:v>
                </c:pt>
                <c:pt idx="56">
                  <c:v>0.36333333333333329</c:v>
                </c:pt>
                <c:pt idx="57">
                  <c:v>0.36333333333333329</c:v>
                </c:pt>
                <c:pt idx="58">
                  <c:v>0.36333333333333329</c:v>
                </c:pt>
                <c:pt idx="59">
                  <c:v>0.36333333333333329</c:v>
                </c:pt>
                <c:pt idx="60">
                  <c:v>0.36333333333333329</c:v>
                </c:pt>
                <c:pt idx="61">
                  <c:v>0.36333333333333329</c:v>
                </c:pt>
                <c:pt idx="62">
                  <c:v>0.36333333333333329</c:v>
                </c:pt>
                <c:pt idx="63">
                  <c:v>0.36333333333333329</c:v>
                </c:pt>
                <c:pt idx="64">
                  <c:v>0.36333333333333329</c:v>
                </c:pt>
                <c:pt idx="65">
                  <c:v>0.36333333333333329</c:v>
                </c:pt>
                <c:pt idx="66">
                  <c:v>0.36333333333333329</c:v>
                </c:pt>
                <c:pt idx="67">
                  <c:v>0.36333333333333329</c:v>
                </c:pt>
                <c:pt idx="68">
                  <c:v>0.36333333333333329</c:v>
                </c:pt>
                <c:pt idx="69">
                  <c:v>0.36333333333333329</c:v>
                </c:pt>
                <c:pt idx="70">
                  <c:v>0.36333333333333329</c:v>
                </c:pt>
                <c:pt idx="71">
                  <c:v>0.36333333333333329</c:v>
                </c:pt>
                <c:pt idx="72">
                  <c:v>0.36333333333333329</c:v>
                </c:pt>
                <c:pt idx="73">
                  <c:v>0.36333333333333329</c:v>
                </c:pt>
                <c:pt idx="74">
                  <c:v>0.36333333333333329</c:v>
                </c:pt>
                <c:pt idx="75">
                  <c:v>0.36333333333333329</c:v>
                </c:pt>
                <c:pt idx="76">
                  <c:v>0.36333333333333329</c:v>
                </c:pt>
                <c:pt idx="77">
                  <c:v>0.36333333333333329</c:v>
                </c:pt>
                <c:pt idx="78">
                  <c:v>0.36333333333333329</c:v>
                </c:pt>
                <c:pt idx="79">
                  <c:v>0.36333333333333329</c:v>
                </c:pt>
                <c:pt idx="80">
                  <c:v>0.36333333333333329</c:v>
                </c:pt>
                <c:pt idx="81">
                  <c:v>0.36333333333333329</c:v>
                </c:pt>
                <c:pt idx="82">
                  <c:v>0.36333333333333329</c:v>
                </c:pt>
                <c:pt idx="83">
                  <c:v>0.36333333333333329</c:v>
                </c:pt>
                <c:pt idx="84">
                  <c:v>0.36333333333333329</c:v>
                </c:pt>
                <c:pt idx="85">
                  <c:v>0.36333333333333329</c:v>
                </c:pt>
                <c:pt idx="86">
                  <c:v>0.36333333333333329</c:v>
                </c:pt>
                <c:pt idx="87">
                  <c:v>0.36333333333333329</c:v>
                </c:pt>
                <c:pt idx="88">
                  <c:v>0.36333333333333329</c:v>
                </c:pt>
                <c:pt idx="89">
                  <c:v>0.36333333333333329</c:v>
                </c:pt>
                <c:pt idx="90">
                  <c:v>0.36333333333333329</c:v>
                </c:pt>
                <c:pt idx="91">
                  <c:v>0.36333333333333329</c:v>
                </c:pt>
                <c:pt idx="92">
                  <c:v>0.36333333333333329</c:v>
                </c:pt>
                <c:pt idx="93">
                  <c:v>0.36333333333333329</c:v>
                </c:pt>
                <c:pt idx="94">
                  <c:v>0.36333333333333329</c:v>
                </c:pt>
                <c:pt idx="95">
                  <c:v>0.36333333333333329</c:v>
                </c:pt>
                <c:pt idx="96">
                  <c:v>0.36333333333333329</c:v>
                </c:pt>
                <c:pt idx="97">
                  <c:v>0.36333333333333329</c:v>
                </c:pt>
                <c:pt idx="98">
                  <c:v>0.36333333333333329</c:v>
                </c:pt>
                <c:pt idx="99">
                  <c:v>0.36333333333333329</c:v>
                </c:pt>
                <c:pt idx="100">
                  <c:v>0.36333333333333329</c:v>
                </c:pt>
                <c:pt idx="101">
                  <c:v>0.36333333333333329</c:v>
                </c:pt>
                <c:pt idx="102">
                  <c:v>0.36333333333333329</c:v>
                </c:pt>
                <c:pt idx="103">
                  <c:v>0.36333333333333329</c:v>
                </c:pt>
                <c:pt idx="104">
                  <c:v>0.36333333333333329</c:v>
                </c:pt>
                <c:pt idx="105">
                  <c:v>0.36333333333333329</c:v>
                </c:pt>
                <c:pt idx="106">
                  <c:v>0.36333333333333329</c:v>
                </c:pt>
                <c:pt idx="107">
                  <c:v>0.36333333333333329</c:v>
                </c:pt>
                <c:pt idx="108">
                  <c:v>0.36333333333333329</c:v>
                </c:pt>
                <c:pt idx="109">
                  <c:v>0.36333333333333329</c:v>
                </c:pt>
                <c:pt idx="110">
                  <c:v>0.36333333333333329</c:v>
                </c:pt>
                <c:pt idx="111">
                  <c:v>0.36333333333333329</c:v>
                </c:pt>
                <c:pt idx="112">
                  <c:v>0.36333333333333329</c:v>
                </c:pt>
                <c:pt idx="113">
                  <c:v>0.36333333333333329</c:v>
                </c:pt>
                <c:pt idx="114">
                  <c:v>0.36333333333333329</c:v>
                </c:pt>
                <c:pt idx="115">
                  <c:v>0.36333333333333329</c:v>
                </c:pt>
                <c:pt idx="116">
                  <c:v>0.36333333333333329</c:v>
                </c:pt>
                <c:pt idx="117">
                  <c:v>0.36333333333333329</c:v>
                </c:pt>
                <c:pt idx="118">
                  <c:v>0.36333333333333329</c:v>
                </c:pt>
                <c:pt idx="119">
                  <c:v>0.36333333333333329</c:v>
                </c:pt>
                <c:pt idx="120">
                  <c:v>0.36333333333333329</c:v>
                </c:pt>
                <c:pt idx="121">
                  <c:v>0.34333333333333327</c:v>
                </c:pt>
                <c:pt idx="122">
                  <c:v>0.34333333333333327</c:v>
                </c:pt>
                <c:pt idx="123">
                  <c:v>0.34333333333333327</c:v>
                </c:pt>
                <c:pt idx="124">
                  <c:v>0.34333333333333327</c:v>
                </c:pt>
                <c:pt idx="125">
                  <c:v>0.34333333333333327</c:v>
                </c:pt>
                <c:pt idx="126">
                  <c:v>0.34333333333333327</c:v>
                </c:pt>
                <c:pt idx="127">
                  <c:v>0.34333333333333327</c:v>
                </c:pt>
                <c:pt idx="128">
                  <c:v>0.34333333333333327</c:v>
                </c:pt>
                <c:pt idx="129">
                  <c:v>0.34333333333333327</c:v>
                </c:pt>
                <c:pt idx="130">
                  <c:v>0.34333333333333327</c:v>
                </c:pt>
                <c:pt idx="131">
                  <c:v>0.34333333333333327</c:v>
                </c:pt>
                <c:pt idx="132">
                  <c:v>0.34333333333333327</c:v>
                </c:pt>
                <c:pt idx="133">
                  <c:v>0.34333333333333327</c:v>
                </c:pt>
                <c:pt idx="134">
                  <c:v>0.34333333333333327</c:v>
                </c:pt>
                <c:pt idx="135">
                  <c:v>0.34333333333333327</c:v>
                </c:pt>
                <c:pt idx="136">
                  <c:v>0.34333333333333327</c:v>
                </c:pt>
                <c:pt idx="137">
                  <c:v>0.34333333333333327</c:v>
                </c:pt>
                <c:pt idx="138">
                  <c:v>0.34333333333333327</c:v>
                </c:pt>
                <c:pt idx="139">
                  <c:v>0.34333333333333327</c:v>
                </c:pt>
                <c:pt idx="140">
                  <c:v>0.34333333333333327</c:v>
                </c:pt>
                <c:pt idx="141">
                  <c:v>0.34333333333333327</c:v>
                </c:pt>
                <c:pt idx="142">
                  <c:v>0.34333333333333327</c:v>
                </c:pt>
                <c:pt idx="143">
                  <c:v>0.34333333333333327</c:v>
                </c:pt>
                <c:pt idx="144">
                  <c:v>0.34333333333333327</c:v>
                </c:pt>
                <c:pt idx="145">
                  <c:v>0.34333333333333327</c:v>
                </c:pt>
                <c:pt idx="146">
                  <c:v>0.34333333333333327</c:v>
                </c:pt>
                <c:pt idx="147">
                  <c:v>0.34333333333333327</c:v>
                </c:pt>
                <c:pt idx="148">
                  <c:v>0.34333333333333327</c:v>
                </c:pt>
                <c:pt idx="149">
                  <c:v>0.34333333333333327</c:v>
                </c:pt>
                <c:pt idx="150">
                  <c:v>0.34333333333333327</c:v>
                </c:pt>
                <c:pt idx="151">
                  <c:v>0.34333333333333327</c:v>
                </c:pt>
                <c:pt idx="152">
                  <c:v>0.27</c:v>
                </c:pt>
                <c:pt idx="153">
                  <c:v>0.27</c:v>
                </c:pt>
                <c:pt idx="154">
                  <c:v>0.27</c:v>
                </c:pt>
                <c:pt idx="155">
                  <c:v>0.27</c:v>
                </c:pt>
                <c:pt idx="156">
                  <c:v>0.27</c:v>
                </c:pt>
                <c:pt idx="157">
                  <c:v>0.27</c:v>
                </c:pt>
                <c:pt idx="158">
                  <c:v>0.27</c:v>
                </c:pt>
                <c:pt idx="159">
                  <c:v>0.27</c:v>
                </c:pt>
                <c:pt idx="160">
                  <c:v>0.27</c:v>
                </c:pt>
                <c:pt idx="161">
                  <c:v>0.27</c:v>
                </c:pt>
                <c:pt idx="162">
                  <c:v>0.27</c:v>
                </c:pt>
                <c:pt idx="163">
                  <c:v>0.27</c:v>
                </c:pt>
                <c:pt idx="164">
                  <c:v>0.27</c:v>
                </c:pt>
                <c:pt idx="165">
                  <c:v>0.27</c:v>
                </c:pt>
                <c:pt idx="166">
                  <c:v>0.27</c:v>
                </c:pt>
                <c:pt idx="167">
                  <c:v>0.27</c:v>
                </c:pt>
                <c:pt idx="168">
                  <c:v>0.27</c:v>
                </c:pt>
                <c:pt idx="169">
                  <c:v>0.27</c:v>
                </c:pt>
                <c:pt idx="170">
                  <c:v>0.27</c:v>
                </c:pt>
                <c:pt idx="171">
                  <c:v>0.27</c:v>
                </c:pt>
                <c:pt idx="172">
                  <c:v>0.27</c:v>
                </c:pt>
                <c:pt idx="173">
                  <c:v>0.27</c:v>
                </c:pt>
                <c:pt idx="174">
                  <c:v>0.27</c:v>
                </c:pt>
                <c:pt idx="175">
                  <c:v>0.27</c:v>
                </c:pt>
                <c:pt idx="176">
                  <c:v>0.27</c:v>
                </c:pt>
                <c:pt idx="177">
                  <c:v>0.27</c:v>
                </c:pt>
                <c:pt idx="178">
                  <c:v>0.27</c:v>
                </c:pt>
                <c:pt idx="179">
                  <c:v>0.27</c:v>
                </c:pt>
                <c:pt idx="180">
                  <c:v>0.27</c:v>
                </c:pt>
                <c:pt idx="181">
                  <c:v>0.27</c:v>
                </c:pt>
                <c:pt idx="182">
                  <c:v>0.27</c:v>
                </c:pt>
                <c:pt idx="183">
                  <c:v>0.27</c:v>
                </c:pt>
                <c:pt idx="184">
                  <c:v>0.27</c:v>
                </c:pt>
                <c:pt idx="185">
                  <c:v>0.27</c:v>
                </c:pt>
                <c:pt idx="186">
                  <c:v>0.27</c:v>
                </c:pt>
                <c:pt idx="187">
                  <c:v>0.27</c:v>
                </c:pt>
                <c:pt idx="188">
                  <c:v>0.27</c:v>
                </c:pt>
                <c:pt idx="189">
                  <c:v>0.27</c:v>
                </c:pt>
                <c:pt idx="190">
                  <c:v>0.27</c:v>
                </c:pt>
                <c:pt idx="191">
                  <c:v>0.27</c:v>
                </c:pt>
                <c:pt idx="192">
                  <c:v>0.27</c:v>
                </c:pt>
                <c:pt idx="193">
                  <c:v>0.27</c:v>
                </c:pt>
                <c:pt idx="194">
                  <c:v>0.27</c:v>
                </c:pt>
                <c:pt idx="195">
                  <c:v>0.27</c:v>
                </c:pt>
                <c:pt idx="196">
                  <c:v>0.27</c:v>
                </c:pt>
                <c:pt idx="197">
                  <c:v>0.27</c:v>
                </c:pt>
                <c:pt idx="198">
                  <c:v>0.27</c:v>
                </c:pt>
                <c:pt idx="199">
                  <c:v>0.27</c:v>
                </c:pt>
                <c:pt idx="200">
                  <c:v>0.27</c:v>
                </c:pt>
                <c:pt idx="201">
                  <c:v>0.27</c:v>
                </c:pt>
                <c:pt idx="202">
                  <c:v>0.27</c:v>
                </c:pt>
                <c:pt idx="203">
                  <c:v>0.27</c:v>
                </c:pt>
                <c:pt idx="204">
                  <c:v>0.27</c:v>
                </c:pt>
                <c:pt idx="205">
                  <c:v>0.27</c:v>
                </c:pt>
                <c:pt idx="206">
                  <c:v>0.27</c:v>
                </c:pt>
                <c:pt idx="207">
                  <c:v>0.27</c:v>
                </c:pt>
                <c:pt idx="208">
                  <c:v>0.27</c:v>
                </c:pt>
                <c:pt idx="209">
                  <c:v>0.27</c:v>
                </c:pt>
                <c:pt idx="210">
                  <c:v>0.27</c:v>
                </c:pt>
                <c:pt idx="211">
                  <c:v>0.27</c:v>
                </c:pt>
                <c:pt idx="212">
                  <c:v>0.27</c:v>
                </c:pt>
                <c:pt idx="213">
                  <c:v>0.27</c:v>
                </c:pt>
                <c:pt idx="214">
                  <c:v>0.27</c:v>
                </c:pt>
                <c:pt idx="215">
                  <c:v>0.27</c:v>
                </c:pt>
                <c:pt idx="216">
                  <c:v>0.27</c:v>
                </c:pt>
                <c:pt idx="217">
                  <c:v>0.27</c:v>
                </c:pt>
                <c:pt idx="218">
                  <c:v>0.27</c:v>
                </c:pt>
                <c:pt idx="219">
                  <c:v>0.27</c:v>
                </c:pt>
                <c:pt idx="220">
                  <c:v>0.27</c:v>
                </c:pt>
                <c:pt idx="221">
                  <c:v>0.27</c:v>
                </c:pt>
                <c:pt idx="222">
                  <c:v>0.27</c:v>
                </c:pt>
                <c:pt idx="223">
                  <c:v>0.27</c:v>
                </c:pt>
                <c:pt idx="224">
                  <c:v>0.27</c:v>
                </c:pt>
                <c:pt idx="225">
                  <c:v>0.27</c:v>
                </c:pt>
                <c:pt idx="226">
                  <c:v>0.27</c:v>
                </c:pt>
                <c:pt idx="227">
                  <c:v>0.27</c:v>
                </c:pt>
                <c:pt idx="228">
                  <c:v>0.27</c:v>
                </c:pt>
                <c:pt idx="229">
                  <c:v>0.27</c:v>
                </c:pt>
                <c:pt idx="230">
                  <c:v>0.27</c:v>
                </c:pt>
                <c:pt idx="231">
                  <c:v>0.27</c:v>
                </c:pt>
                <c:pt idx="232">
                  <c:v>0.27</c:v>
                </c:pt>
                <c:pt idx="233">
                  <c:v>0.27</c:v>
                </c:pt>
                <c:pt idx="234">
                  <c:v>0.27</c:v>
                </c:pt>
                <c:pt idx="235">
                  <c:v>0.27</c:v>
                </c:pt>
                <c:pt idx="236">
                  <c:v>0.27</c:v>
                </c:pt>
                <c:pt idx="237">
                  <c:v>0.27</c:v>
                </c:pt>
                <c:pt idx="238">
                  <c:v>0.27</c:v>
                </c:pt>
                <c:pt idx="239">
                  <c:v>0.27</c:v>
                </c:pt>
                <c:pt idx="240">
                  <c:v>0.27</c:v>
                </c:pt>
                <c:pt idx="241">
                  <c:v>0.27</c:v>
                </c:pt>
                <c:pt idx="242">
                  <c:v>0.27</c:v>
                </c:pt>
                <c:pt idx="243">
                  <c:v>0.27</c:v>
                </c:pt>
                <c:pt idx="244">
                  <c:v>0.27</c:v>
                </c:pt>
                <c:pt idx="245">
                  <c:v>0.27</c:v>
                </c:pt>
                <c:pt idx="246">
                  <c:v>0.27</c:v>
                </c:pt>
                <c:pt idx="247">
                  <c:v>0.27</c:v>
                </c:pt>
                <c:pt idx="248">
                  <c:v>0.27</c:v>
                </c:pt>
                <c:pt idx="249">
                  <c:v>0.27</c:v>
                </c:pt>
                <c:pt idx="250">
                  <c:v>0.27</c:v>
                </c:pt>
                <c:pt idx="251">
                  <c:v>0.27</c:v>
                </c:pt>
                <c:pt idx="252">
                  <c:v>0.27</c:v>
                </c:pt>
                <c:pt idx="253">
                  <c:v>0.27</c:v>
                </c:pt>
                <c:pt idx="254">
                  <c:v>0.27</c:v>
                </c:pt>
                <c:pt idx="255">
                  <c:v>0.27</c:v>
                </c:pt>
                <c:pt idx="256">
                  <c:v>0.27</c:v>
                </c:pt>
                <c:pt idx="257">
                  <c:v>0.27</c:v>
                </c:pt>
                <c:pt idx="258">
                  <c:v>0.27</c:v>
                </c:pt>
                <c:pt idx="259">
                  <c:v>0.27</c:v>
                </c:pt>
                <c:pt idx="260">
                  <c:v>0.27</c:v>
                </c:pt>
                <c:pt idx="261">
                  <c:v>0.27</c:v>
                </c:pt>
                <c:pt idx="262">
                  <c:v>0.27</c:v>
                </c:pt>
                <c:pt idx="263">
                  <c:v>0.27</c:v>
                </c:pt>
                <c:pt idx="264">
                  <c:v>0.27</c:v>
                </c:pt>
                <c:pt idx="265">
                  <c:v>0.27</c:v>
                </c:pt>
                <c:pt idx="266">
                  <c:v>0.27</c:v>
                </c:pt>
                <c:pt idx="267">
                  <c:v>0.27</c:v>
                </c:pt>
                <c:pt idx="268">
                  <c:v>0.27</c:v>
                </c:pt>
                <c:pt idx="269">
                  <c:v>0.27</c:v>
                </c:pt>
                <c:pt idx="270">
                  <c:v>0.27</c:v>
                </c:pt>
                <c:pt idx="271">
                  <c:v>0.27</c:v>
                </c:pt>
                <c:pt idx="272">
                  <c:v>0.27</c:v>
                </c:pt>
                <c:pt idx="273">
                  <c:v>0.27</c:v>
                </c:pt>
                <c:pt idx="274">
                  <c:v>0.27</c:v>
                </c:pt>
                <c:pt idx="275">
                  <c:v>0.27</c:v>
                </c:pt>
                <c:pt idx="276">
                  <c:v>0.27</c:v>
                </c:pt>
                <c:pt idx="277">
                  <c:v>0.27</c:v>
                </c:pt>
                <c:pt idx="278">
                  <c:v>0.27</c:v>
                </c:pt>
                <c:pt idx="279">
                  <c:v>0.27</c:v>
                </c:pt>
                <c:pt idx="280">
                  <c:v>0.27</c:v>
                </c:pt>
                <c:pt idx="281">
                  <c:v>0.27</c:v>
                </c:pt>
                <c:pt idx="282">
                  <c:v>0.27</c:v>
                </c:pt>
                <c:pt idx="283">
                  <c:v>0.27</c:v>
                </c:pt>
                <c:pt idx="284">
                  <c:v>0.27</c:v>
                </c:pt>
                <c:pt idx="285">
                  <c:v>0.27</c:v>
                </c:pt>
                <c:pt idx="286">
                  <c:v>0.27</c:v>
                </c:pt>
                <c:pt idx="287">
                  <c:v>0.27</c:v>
                </c:pt>
                <c:pt idx="288">
                  <c:v>0.27</c:v>
                </c:pt>
                <c:pt idx="289">
                  <c:v>0.27</c:v>
                </c:pt>
                <c:pt idx="290">
                  <c:v>0.27</c:v>
                </c:pt>
                <c:pt idx="291">
                  <c:v>0.27</c:v>
                </c:pt>
                <c:pt idx="292">
                  <c:v>0.27</c:v>
                </c:pt>
                <c:pt idx="293">
                  <c:v>0.27</c:v>
                </c:pt>
                <c:pt idx="294">
                  <c:v>0.27</c:v>
                </c:pt>
                <c:pt idx="295">
                  <c:v>0.27</c:v>
                </c:pt>
                <c:pt idx="296">
                  <c:v>0.27</c:v>
                </c:pt>
                <c:pt idx="297">
                  <c:v>0.27</c:v>
                </c:pt>
                <c:pt idx="298">
                  <c:v>0.27</c:v>
                </c:pt>
                <c:pt idx="299">
                  <c:v>0.27</c:v>
                </c:pt>
                <c:pt idx="300">
                  <c:v>0.27</c:v>
                </c:pt>
                <c:pt idx="301">
                  <c:v>0.27</c:v>
                </c:pt>
                <c:pt idx="302">
                  <c:v>0.27</c:v>
                </c:pt>
                <c:pt idx="303">
                  <c:v>0.27</c:v>
                </c:pt>
                <c:pt idx="304">
                  <c:v>0.27</c:v>
                </c:pt>
                <c:pt idx="305">
                  <c:v>0.27</c:v>
                </c:pt>
                <c:pt idx="306">
                  <c:v>0.27</c:v>
                </c:pt>
                <c:pt idx="307">
                  <c:v>0.27</c:v>
                </c:pt>
                <c:pt idx="308">
                  <c:v>0.27</c:v>
                </c:pt>
                <c:pt idx="309">
                  <c:v>0.27</c:v>
                </c:pt>
                <c:pt idx="310">
                  <c:v>0.27</c:v>
                </c:pt>
                <c:pt idx="311">
                  <c:v>0.27</c:v>
                </c:pt>
                <c:pt idx="312">
                  <c:v>0.27</c:v>
                </c:pt>
                <c:pt idx="313">
                  <c:v>0.27</c:v>
                </c:pt>
                <c:pt idx="314">
                  <c:v>0.27</c:v>
                </c:pt>
                <c:pt idx="315">
                  <c:v>0.27</c:v>
                </c:pt>
                <c:pt idx="316">
                  <c:v>0.27</c:v>
                </c:pt>
                <c:pt idx="317">
                  <c:v>0.27</c:v>
                </c:pt>
                <c:pt idx="318">
                  <c:v>0.27</c:v>
                </c:pt>
                <c:pt idx="319">
                  <c:v>0.27</c:v>
                </c:pt>
                <c:pt idx="320">
                  <c:v>0.27</c:v>
                </c:pt>
                <c:pt idx="321">
                  <c:v>0.27</c:v>
                </c:pt>
                <c:pt idx="322">
                  <c:v>0.27</c:v>
                </c:pt>
                <c:pt idx="323">
                  <c:v>0.27</c:v>
                </c:pt>
                <c:pt idx="324">
                  <c:v>0.27</c:v>
                </c:pt>
                <c:pt idx="325">
                  <c:v>0.27</c:v>
                </c:pt>
                <c:pt idx="326">
                  <c:v>0.27</c:v>
                </c:pt>
                <c:pt idx="327">
                  <c:v>0.27</c:v>
                </c:pt>
                <c:pt idx="328">
                  <c:v>0.27</c:v>
                </c:pt>
                <c:pt idx="329">
                  <c:v>0.27</c:v>
                </c:pt>
                <c:pt idx="330">
                  <c:v>0.27</c:v>
                </c:pt>
                <c:pt idx="331">
                  <c:v>0.27</c:v>
                </c:pt>
                <c:pt idx="332">
                  <c:v>0.27</c:v>
                </c:pt>
                <c:pt idx="333">
                  <c:v>0.27</c:v>
                </c:pt>
                <c:pt idx="334">
                  <c:v>0.27</c:v>
                </c:pt>
                <c:pt idx="335">
                  <c:v>0.35833333333333334</c:v>
                </c:pt>
                <c:pt idx="336">
                  <c:v>0.35833333333333334</c:v>
                </c:pt>
                <c:pt idx="337">
                  <c:v>0.35833333333333334</c:v>
                </c:pt>
                <c:pt idx="338">
                  <c:v>0.35833333333333334</c:v>
                </c:pt>
                <c:pt idx="339">
                  <c:v>0.35833333333333334</c:v>
                </c:pt>
                <c:pt idx="340">
                  <c:v>0.35833333333333334</c:v>
                </c:pt>
                <c:pt idx="341">
                  <c:v>0.35833333333333334</c:v>
                </c:pt>
                <c:pt idx="342">
                  <c:v>0.35833333333333334</c:v>
                </c:pt>
                <c:pt idx="343">
                  <c:v>0.35833333333333334</c:v>
                </c:pt>
                <c:pt idx="344">
                  <c:v>0.35833333333333334</c:v>
                </c:pt>
                <c:pt idx="345">
                  <c:v>0.35833333333333334</c:v>
                </c:pt>
                <c:pt idx="346">
                  <c:v>0.35833333333333334</c:v>
                </c:pt>
                <c:pt idx="347">
                  <c:v>0.35833333333333334</c:v>
                </c:pt>
                <c:pt idx="348">
                  <c:v>0.35833333333333334</c:v>
                </c:pt>
                <c:pt idx="349">
                  <c:v>0.35833333333333334</c:v>
                </c:pt>
                <c:pt idx="350">
                  <c:v>0.35833333333333334</c:v>
                </c:pt>
                <c:pt idx="351">
                  <c:v>0.35833333333333334</c:v>
                </c:pt>
                <c:pt idx="352">
                  <c:v>0.35833333333333334</c:v>
                </c:pt>
                <c:pt idx="353">
                  <c:v>0.35833333333333334</c:v>
                </c:pt>
                <c:pt idx="354">
                  <c:v>0.35833333333333334</c:v>
                </c:pt>
                <c:pt idx="355">
                  <c:v>0.35833333333333334</c:v>
                </c:pt>
                <c:pt idx="356">
                  <c:v>0.35833333333333334</c:v>
                </c:pt>
                <c:pt idx="357">
                  <c:v>0.35833333333333334</c:v>
                </c:pt>
                <c:pt idx="358">
                  <c:v>0.35833333333333334</c:v>
                </c:pt>
                <c:pt idx="359">
                  <c:v>0.35833333333333334</c:v>
                </c:pt>
                <c:pt idx="360">
                  <c:v>0.35833333333333334</c:v>
                </c:pt>
                <c:pt idx="361">
                  <c:v>0.35833333333333334</c:v>
                </c:pt>
                <c:pt idx="362">
                  <c:v>0.35833333333333334</c:v>
                </c:pt>
                <c:pt idx="363">
                  <c:v>0.35833333333333334</c:v>
                </c:pt>
                <c:pt idx="364">
                  <c:v>0.35833333333333334</c:v>
                </c:pt>
                <c:pt idx="365">
                  <c:v>0.35833333333333334</c:v>
                </c:pt>
              </c:numCache>
            </c:numRef>
          </c:val>
          <c:smooth val="0"/>
          <c:extLst>
            <c:ext xmlns:c16="http://schemas.microsoft.com/office/drawing/2014/chart" uri="{C3380CC4-5D6E-409C-BE32-E72D297353CC}">
              <c16:uniqueId val="{00000000-D711-480A-A078-CE5611A64EB8}"/>
            </c:ext>
          </c:extLst>
        </c:ser>
        <c:ser>
          <c:idx val="1"/>
          <c:order val="1"/>
          <c:tx>
            <c:strRef>
              <c:f>主流省份电价!$BE$5</c:f>
              <c:strCache>
                <c:ptCount val="1"/>
                <c:pt idx="0">
                  <c:v>2021</c:v>
                </c:pt>
              </c:strCache>
            </c:strRef>
          </c:tx>
          <c:spPr>
            <a:ln w="19050" cap="rnd">
              <a:solidFill>
                <a:schemeClr val="accent5">
                  <a:lumMod val="75000"/>
                  <a:alpha val="60000"/>
                </a:schemeClr>
              </a:solidFill>
              <a:round/>
            </a:ln>
            <a:effectLst/>
          </c:spPr>
          <c:marker>
            <c:symbol val="none"/>
          </c:marker>
          <c:cat>
            <c:strRef>
              <c:f>主流省份电价!$BA$6:$BA$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BE$6:$BE$371</c:f>
              <c:numCache>
                <c:formatCode>#,##0.00_);[Red]\(#,##0.00\)</c:formatCode>
                <c:ptCount val="366"/>
                <c:pt idx="0">
                  <c:v>0.41</c:v>
                </c:pt>
                <c:pt idx="1">
                  <c:v>0.41</c:v>
                </c:pt>
                <c:pt idx="2">
                  <c:v>0.41</c:v>
                </c:pt>
                <c:pt idx="3">
                  <c:v>0.41</c:v>
                </c:pt>
                <c:pt idx="4">
                  <c:v>0.41</c:v>
                </c:pt>
                <c:pt idx="5">
                  <c:v>0.41</c:v>
                </c:pt>
                <c:pt idx="6">
                  <c:v>0.41</c:v>
                </c:pt>
                <c:pt idx="7">
                  <c:v>0.41</c:v>
                </c:pt>
                <c:pt idx="8">
                  <c:v>0.41</c:v>
                </c:pt>
                <c:pt idx="9">
                  <c:v>0.41</c:v>
                </c:pt>
                <c:pt idx="10">
                  <c:v>0.41</c:v>
                </c:pt>
                <c:pt idx="11">
                  <c:v>0.41</c:v>
                </c:pt>
                <c:pt idx="12">
                  <c:v>0.41</c:v>
                </c:pt>
                <c:pt idx="13">
                  <c:v>0.41</c:v>
                </c:pt>
                <c:pt idx="14">
                  <c:v>0.41</c:v>
                </c:pt>
                <c:pt idx="15">
                  <c:v>0.41</c:v>
                </c:pt>
                <c:pt idx="16">
                  <c:v>0.41</c:v>
                </c:pt>
                <c:pt idx="17">
                  <c:v>0.41</c:v>
                </c:pt>
                <c:pt idx="18">
                  <c:v>0.41</c:v>
                </c:pt>
                <c:pt idx="19">
                  <c:v>0.41</c:v>
                </c:pt>
                <c:pt idx="20">
                  <c:v>0.41</c:v>
                </c:pt>
                <c:pt idx="21">
                  <c:v>0.41</c:v>
                </c:pt>
                <c:pt idx="22">
                  <c:v>0.41</c:v>
                </c:pt>
                <c:pt idx="23">
                  <c:v>0.41</c:v>
                </c:pt>
                <c:pt idx="24">
                  <c:v>0.41</c:v>
                </c:pt>
                <c:pt idx="25">
                  <c:v>0.41</c:v>
                </c:pt>
                <c:pt idx="26">
                  <c:v>0.41</c:v>
                </c:pt>
                <c:pt idx="27">
                  <c:v>0.41</c:v>
                </c:pt>
                <c:pt idx="28">
                  <c:v>0.41</c:v>
                </c:pt>
                <c:pt idx="29">
                  <c:v>0.41</c:v>
                </c:pt>
                <c:pt idx="30">
                  <c:v>0.41</c:v>
                </c:pt>
                <c:pt idx="31">
                  <c:v>0.41</c:v>
                </c:pt>
                <c:pt idx="32">
                  <c:v>0.41</c:v>
                </c:pt>
                <c:pt idx="33">
                  <c:v>0.41</c:v>
                </c:pt>
                <c:pt idx="34">
                  <c:v>0.41</c:v>
                </c:pt>
                <c:pt idx="35">
                  <c:v>0.41</c:v>
                </c:pt>
                <c:pt idx="36">
                  <c:v>0.41</c:v>
                </c:pt>
                <c:pt idx="37">
                  <c:v>0.41</c:v>
                </c:pt>
                <c:pt idx="38">
                  <c:v>0.41</c:v>
                </c:pt>
                <c:pt idx="39">
                  <c:v>0.41</c:v>
                </c:pt>
                <c:pt idx="40">
                  <c:v>0.41</c:v>
                </c:pt>
                <c:pt idx="41">
                  <c:v>0.41</c:v>
                </c:pt>
                <c:pt idx="42">
                  <c:v>0.41</c:v>
                </c:pt>
                <c:pt idx="43">
                  <c:v>0.41</c:v>
                </c:pt>
                <c:pt idx="44">
                  <c:v>0.41</c:v>
                </c:pt>
                <c:pt idx="45">
                  <c:v>0.41</c:v>
                </c:pt>
                <c:pt idx="46">
                  <c:v>0.41</c:v>
                </c:pt>
                <c:pt idx="47">
                  <c:v>0.41</c:v>
                </c:pt>
                <c:pt idx="48">
                  <c:v>0.41</c:v>
                </c:pt>
                <c:pt idx="49">
                  <c:v>0.41</c:v>
                </c:pt>
                <c:pt idx="50">
                  <c:v>0.41</c:v>
                </c:pt>
                <c:pt idx="51">
                  <c:v>0.41</c:v>
                </c:pt>
                <c:pt idx="52">
                  <c:v>0.41</c:v>
                </c:pt>
                <c:pt idx="53">
                  <c:v>0.41</c:v>
                </c:pt>
                <c:pt idx="54">
                  <c:v>0.41</c:v>
                </c:pt>
                <c:pt idx="55">
                  <c:v>0.41</c:v>
                </c:pt>
                <c:pt idx="56">
                  <c:v>0.41</c:v>
                </c:pt>
                <c:pt idx="57">
                  <c:v>0.41</c:v>
                </c:pt>
                <c:pt idx="58">
                  <c:v>0.41</c:v>
                </c:pt>
                <c:pt idx="60">
                  <c:v>0.41</c:v>
                </c:pt>
                <c:pt idx="61">
                  <c:v>0.41</c:v>
                </c:pt>
                <c:pt idx="62">
                  <c:v>0.41</c:v>
                </c:pt>
                <c:pt idx="63">
                  <c:v>0.41</c:v>
                </c:pt>
                <c:pt idx="64">
                  <c:v>0.41</c:v>
                </c:pt>
                <c:pt idx="65">
                  <c:v>0.41</c:v>
                </c:pt>
                <c:pt idx="66">
                  <c:v>0.41</c:v>
                </c:pt>
                <c:pt idx="67">
                  <c:v>0.41</c:v>
                </c:pt>
                <c:pt idx="68">
                  <c:v>0.41</c:v>
                </c:pt>
                <c:pt idx="69">
                  <c:v>0.41</c:v>
                </c:pt>
                <c:pt idx="70">
                  <c:v>0.41</c:v>
                </c:pt>
                <c:pt idx="71">
                  <c:v>0.41</c:v>
                </c:pt>
                <c:pt idx="72">
                  <c:v>0.41</c:v>
                </c:pt>
                <c:pt idx="73">
                  <c:v>0.41</c:v>
                </c:pt>
                <c:pt idx="74">
                  <c:v>0.41</c:v>
                </c:pt>
                <c:pt idx="75">
                  <c:v>0.41</c:v>
                </c:pt>
                <c:pt idx="76">
                  <c:v>0.41</c:v>
                </c:pt>
                <c:pt idx="77">
                  <c:v>0.41</c:v>
                </c:pt>
                <c:pt idx="78">
                  <c:v>0.41</c:v>
                </c:pt>
                <c:pt idx="79">
                  <c:v>0.41</c:v>
                </c:pt>
                <c:pt idx="80">
                  <c:v>0.41</c:v>
                </c:pt>
                <c:pt idx="81">
                  <c:v>0.41</c:v>
                </c:pt>
                <c:pt idx="82">
                  <c:v>0.41</c:v>
                </c:pt>
                <c:pt idx="83">
                  <c:v>0.41</c:v>
                </c:pt>
                <c:pt idx="84">
                  <c:v>0.41</c:v>
                </c:pt>
                <c:pt idx="85">
                  <c:v>0.41</c:v>
                </c:pt>
                <c:pt idx="86">
                  <c:v>0.41</c:v>
                </c:pt>
                <c:pt idx="87">
                  <c:v>0.41</c:v>
                </c:pt>
                <c:pt idx="88">
                  <c:v>0.41</c:v>
                </c:pt>
                <c:pt idx="89">
                  <c:v>0.41</c:v>
                </c:pt>
                <c:pt idx="90">
                  <c:v>0.41</c:v>
                </c:pt>
                <c:pt idx="91">
                  <c:v>0.38500000000000001</c:v>
                </c:pt>
                <c:pt idx="92">
                  <c:v>0.38500000000000001</c:v>
                </c:pt>
                <c:pt idx="93">
                  <c:v>0.38500000000000001</c:v>
                </c:pt>
                <c:pt idx="94">
                  <c:v>0.38500000000000001</c:v>
                </c:pt>
                <c:pt idx="95">
                  <c:v>0.38500000000000001</c:v>
                </c:pt>
                <c:pt idx="96">
                  <c:v>0.38500000000000001</c:v>
                </c:pt>
                <c:pt idx="97">
                  <c:v>0.38500000000000001</c:v>
                </c:pt>
                <c:pt idx="98">
                  <c:v>0.38500000000000001</c:v>
                </c:pt>
                <c:pt idx="99">
                  <c:v>0.38500000000000001</c:v>
                </c:pt>
                <c:pt idx="100">
                  <c:v>0.38500000000000001</c:v>
                </c:pt>
                <c:pt idx="101">
                  <c:v>0.38500000000000001</c:v>
                </c:pt>
                <c:pt idx="102">
                  <c:v>0.38500000000000001</c:v>
                </c:pt>
                <c:pt idx="103">
                  <c:v>0.38500000000000001</c:v>
                </c:pt>
                <c:pt idx="104">
                  <c:v>0.38500000000000001</c:v>
                </c:pt>
                <c:pt idx="105">
                  <c:v>0.38500000000000001</c:v>
                </c:pt>
                <c:pt idx="106">
                  <c:v>0.38500000000000001</c:v>
                </c:pt>
                <c:pt idx="107">
                  <c:v>0.38500000000000001</c:v>
                </c:pt>
                <c:pt idx="108">
                  <c:v>0.38500000000000001</c:v>
                </c:pt>
                <c:pt idx="109">
                  <c:v>0.38500000000000001</c:v>
                </c:pt>
                <c:pt idx="110">
                  <c:v>0.38500000000000001</c:v>
                </c:pt>
                <c:pt idx="111">
                  <c:v>0.38500000000000001</c:v>
                </c:pt>
                <c:pt idx="112">
                  <c:v>0.38500000000000001</c:v>
                </c:pt>
                <c:pt idx="113">
                  <c:v>0.38500000000000001</c:v>
                </c:pt>
                <c:pt idx="114">
                  <c:v>0.38500000000000001</c:v>
                </c:pt>
                <c:pt idx="115">
                  <c:v>0.38500000000000001</c:v>
                </c:pt>
                <c:pt idx="116">
                  <c:v>0.38500000000000001</c:v>
                </c:pt>
                <c:pt idx="117">
                  <c:v>0.38500000000000001</c:v>
                </c:pt>
                <c:pt idx="118">
                  <c:v>0.38500000000000001</c:v>
                </c:pt>
                <c:pt idx="119">
                  <c:v>0.38500000000000001</c:v>
                </c:pt>
                <c:pt idx="120">
                  <c:v>0.38500000000000001</c:v>
                </c:pt>
                <c:pt idx="121">
                  <c:v>0.38999999999999996</c:v>
                </c:pt>
                <c:pt idx="122">
                  <c:v>0.38999999999999996</c:v>
                </c:pt>
                <c:pt idx="123">
                  <c:v>0.38999999999999996</c:v>
                </c:pt>
                <c:pt idx="124">
                  <c:v>0.38999999999999996</c:v>
                </c:pt>
                <c:pt idx="125">
                  <c:v>0.38999999999999996</c:v>
                </c:pt>
                <c:pt idx="126">
                  <c:v>0.38999999999999996</c:v>
                </c:pt>
                <c:pt idx="127">
                  <c:v>0.38999999999999996</c:v>
                </c:pt>
                <c:pt idx="128">
                  <c:v>0.38999999999999996</c:v>
                </c:pt>
                <c:pt idx="129">
                  <c:v>0.38999999999999996</c:v>
                </c:pt>
                <c:pt idx="130">
                  <c:v>0.38999999999999996</c:v>
                </c:pt>
                <c:pt idx="131">
                  <c:v>0.38999999999999996</c:v>
                </c:pt>
                <c:pt idx="132">
                  <c:v>0.38999999999999996</c:v>
                </c:pt>
                <c:pt idx="133">
                  <c:v>0.38999999999999996</c:v>
                </c:pt>
                <c:pt idx="134">
                  <c:v>0.38999999999999996</c:v>
                </c:pt>
                <c:pt idx="135">
                  <c:v>0.38999999999999996</c:v>
                </c:pt>
                <c:pt idx="136">
                  <c:v>0.38999999999999996</c:v>
                </c:pt>
                <c:pt idx="137">
                  <c:v>0.38999999999999996</c:v>
                </c:pt>
                <c:pt idx="138">
                  <c:v>0.38999999999999996</c:v>
                </c:pt>
                <c:pt idx="139">
                  <c:v>0.38999999999999996</c:v>
                </c:pt>
                <c:pt idx="140">
                  <c:v>0.38999999999999996</c:v>
                </c:pt>
                <c:pt idx="141">
                  <c:v>0.38999999999999996</c:v>
                </c:pt>
                <c:pt idx="142">
                  <c:v>0.38999999999999996</c:v>
                </c:pt>
                <c:pt idx="143">
                  <c:v>0.38999999999999996</c:v>
                </c:pt>
                <c:pt idx="144">
                  <c:v>0.38999999999999996</c:v>
                </c:pt>
                <c:pt idx="145">
                  <c:v>0.38999999999999996</c:v>
                </c:pt>
                <c:pt idx="146">
                  <c:v>0.38999999999999996</c:v>
                </c:pt>
                <c:pt idx="147">
                  <c:v>0.38999999999999996</c:v>
                </c:pt>
                <c:pt idx="148">
                  <c:v>0.38999999999999996</c:v>
                </c:pt>
                <c:pt idx="149">
                  <c:v>0.38999999999999996</c:v>
                </c:pt>
                <c:pt idx="150">
                  <c:v>0.38999999999999996</c:v>
                </c:pt>
                <c:pt idx="151">
                  <c:v>0.38999999999999996</c:v>
                </c:pt>
                <c:pt idx="152">
                  <c:v>0.34999999999999992</c:v>
                </c:pt>
                <c:pt idx="153">
                  <c:v>0.34999999999999992</c:v>
                </c:pt>
                <c:pt idx="154">
                  <c:v>0.34999999999999992</c:v>
                </c:pt>
                <c:pt idx="155">
                  <c:v>0.34999999999999992</c:v>
                </c:pt>
                <c:pt idx="156">
                  <c:v>0.34999999999999992</c:v>
                </c:pt>
                <c:pt idx="157">
                  <c:v>0.34999999999999992</c:v>
                </c:pt>
                <c:pt idx="158">
                  <c:v>0.34999999999999992</c:v>
                </c:pt>
                <c:pt idx="159">
                  <c:v>0.34999999999999992</c:v>
                </c:pt>
                <c:pt idx="160">
                  <c:v>0.34999999999999992</c:v>
                </c:pt>
                <c:pt idx="161">
                  <c:v>0.34999999999999992</c:v>
                </c:pt>
                <c:pt idx="162">
                  <c:v>0.34999999999999992</c:v>
                </c:pt>
                <c:pt idx="163">
                  <c:v>0.34999999999999992</c:v>
                </c:pt>
                <c:pt idx="164">
                  <c:v>0.34999999999999992</c:v>
                </c:pt>
                <c:pt idx="165">
                  <c:v>0.34999999999999992</c:v>
                </c:pt>
                <c:pt idx="166">
                  <c:v>0.34999999999999992</c:v>
                </c:pt>
                <c:pt idx="167">
                  <c:v>0.34999999999999992</c:v>
                </c:pt>
                <c:pt idx="168">
                  <c:v>0.34999999999999992</c:v>
                </c:pt>
                <c:pt idx="169">
                  <c:v>0.34999999999999992</c:v>
                </c:pt>
                <c:pt idx="170">
                  <c:v>0.34999999999999992</c:v>
                </c:pt>
                <c:pt idx="171">
                  <c:v>0.34999999999999992</c:v>
                </c:pt>
                <c:pt idx="172">
                  <c:v>0.34999999999999992</c:v>
                </c:pt>
                <c:pt idx="173">
                  <c:v>0.34999999999999992</c:v>
                </c:pt>
                <c:pt idx="174">
                  <c:v>0.34999999999999992</c:v>
                </c:pt>
                <c:pt idx="175">
                  <c:v>0.34999999999999992</c:v>
                </c:pt>
                <c:pt idx="176">
                  <c:v>0.34999999999999992</c:v>
                </c:pt>
                <c:pt idx="177">
                  <c:v>0.34999999999999992</c:v>
                </c:pt>
                <c:pt idx="178">
                  <c:v>0.34999999999999992</c:v>
                </c:pt>
                <c:pt idx="179">
                  <c:v>0.34999999999999992</c:v>
                </c:pt>
                <c:pt idx="180">
                  <c:v>0.34999999999999992</c:v>
                </c:pt>
                <c:pt idx="181">
                  <c:v>0.34999999999999992</c:v>
                </c:pt>
                <c:pt idx="182">
                  <c:v>0.3133333333333333</c:v>
                </c:pt>
                <c:pt idx="183">
                  <c:v>0.3133333333333333</c:v>
                </c:pt>
                <c:pt idx="184">
                  <c:v>0.3133333333333333</c:v>
                </c:pt>
                <c:pt idx="185">
                  <c:v>0.3133333333333333</c:v>
                </c:pt>
                <c:pt idx="186">
                  <c:v>0.3133333333333333</c:v>
                </c:pt>
                <c:pt idx="187">
                  <c:v>0.3133333333333333</c:v>
                </c:pt>
                <c:pt idx="188">
                  <c:v>0.3133333333333333</c:v>
                </c:pt>
                <c:pt idx="189">
                  <c:v>0.3133333333333333</c:v>
                </c:pt>
                <c:pt idx="190">
                  <c:v>0.3133333333333333</c:v>
                </c:pt>
                <c:pt idx="191">
                  <c:v>0.3133333333333333</c:v>
                </c:pt>
                <c:pt idx="192">
                  <c:v>0.3133333333333333</c:v>
                </c:pt>
                <c:pt idx="193">
                  <c:v>0.3133333333333333</c:v>
                </c:pt>
                <c:pt idx="194">
                  <c:v>0.3133333333333333</c:v>
                </c:pt>
                <c:pt idx="195">
                  <c:v>0.3133333333333333</c:v>
                </c:pt>
                <c:pt idx="196">
                  <c:v>0.3133333333333333</c:v>
                </c:pt>
                <c:pt idx="197">
                  <c:v>0.3133333333333333</c:v>
                </c:pt>
                <c:pt idx="198">
                  <c:v>0.3133333333333333</c:v>
                </c:pt>
                <c:pt idx="199">
                  <c:v>0.3133333333333333</c:v>
                </c:pt>
                <c:pt idx="200">
                  <c:v>0.3133333333333333</c:v>
                </c:pt>
                <c:pt idx="201">
                  <c:v>0.3133333333333333</c:v>
                </c:pt>
                <c:pt idx="202">
                  <c:v>0.3133333333333333</c:v>
                </c:pt>
                <c:pt idx="203">
                  <c:v>0.3133333333333333</c:v>
                </c:pt>
                <c:pt idx="204">
                  <c:v>0.3133333333333333</c:v>
                </c:pt>
                <c:pt idx="205">
                  <c:v>0.3133333333333333</c:v>
                </c:pt>
                <c:pt idx="206">
                  <c:v>0.3133333333333333</c:v>
                </c:pt>
                <c:pt idx="207">
                  <c:v>0.3133333333333333</c:v>
                </c:pt>
                <c:pt idx="208">
                  <c:v>0.3133333333333333</c:v>
                </c:pt>
                <c:pt idx="209">
                  <c:v>0.3133333333333333</c:v>
                </c:pt>
                <c:pt idx="210">
                  <c:v>0.3133333333333333</c:v>
                </c:pt>
                <c:pt idx="211">
                  <c:v>0.3133333333333333</c:v>
                </c:pt>
                <c:pt idx="212">
                  <c:v>0.3133333333333333</c:v>
                </c:pt>
                <c:pt idx="213">
                  <c:v>0.3133333333333333</c:v>
                </c:pt>
                <c:pt idx="214">
                  <c:v>0.3133333333333333</c:v>
                </c:pt>
                <c:pt idx="215">
                  <c:v>0.3133333333333333</c:v>
                </c:pt>
                <c:pt idx="216">
                  <c:v>0.3133333333333333</c:v>
                </c:pt>
                <c:pt idx="217">
                  <c:v>0.3133333333333333</c:v>
                </c:pt>
                <c:pt idx="218">
                  <c:v>0.3133333333333333</c:v>
                </c:pt>
                <c:pt idx="219">
                  <c:v>0.3133333333333333</c:v>
                </c:pt>
                <c:pt idx="220">
                  <c:v>0.3133333333333333</c:v>
                </c:pt>
                <c:pt idx="221">
                  <c:v>0.3133333333333333</c:v>
                </c:pt>
                <c:pt idx="222">
                  <c:v>0.3133333333333333</c:v>
                </c:pt>
                <c:pt idx="223">
                  <c:v>0.3133333333333333</c:v>
                </c:pt>
                <c:pt idx="224">
                  <c:v>0.3133333333333333</c:v>
                </c:pt>
                <c:pt idx="225">
                  <c:v>0.3133333333333333</c:v>
                </c:pt>
                <c:pt idx="226">
                  <c:v>0.3133333333333333</c:v>
                </c:pt>
                <c:pt idx="227">
                  <c:v>0.3133333333333333</c:v>
                </c:pt>
                <c:pt idx="228">
                  <c:v>0.3133333333333333</c:v>
                </c:pt>
                <c:pt idx="229">
                  <c:v>0.3133333333333333</c:v>
                </c:pt>
                <c:pt idx="230">
                  <c:v>0.3133333333333333</c:v>
                </c:pt>
                <c:pt idx="231">
                  <c:v>0.3133333333333333</c:v>
                </c:pt>
                <c:pt idx="232">
                  <c:v>0.3133333333333333</c:v>
                </c:pt>
                <c:pt idx="233">
                  <c:v>0.3133333333333333</c:v>
                </c:pt>
                <c:pt idx="234">
                  <c:v>0.3133333333333333</c:v>
                </c:pt>
                <c:pt idx="235">
                  <c:v>0.3133333333333333</c:v>
                </c:pt>
                <c:pt idx="236">
                  <c:v>0.3133333333333333</c:v>
                </c:pt>
                <c:pt idx="237">
                  <c:v>0.3133333333333333</c:v>
                </c:pt>
                <c:pt idx="238">
                  <c:v>0.3133333333333333</c:v>
                </c:pt>
                <c:pt idx="239">
                  <c:v>0.3133333333333333</c:v>
                </c:pt>
                <c:pt idx="240">
                  <c:v>0.3133333333333333</c:v>
                </c:pt>
                <c:pt idx="241">
                  <c:v>0.3133333333333333</c:v>
                </c:pt>
                <c:pt idx="242">
                  <c:v>0.3133333333333333</c:v>
                </c:pt>
                <c:pt idx="243">
                  <c:v>0.3133333333333333</c:v>
                </c:pt>
                <c:pt idx="244">
                  <c:v>0.3133333333333333</c:v>
                </c:pt>
                <c:pt idx="245">
                  <c:v>0.3133333333333333</c:v>
                </c:pt>
                <c:pt idx="246">
                  <c:v>0.3133333333333333</c:v>
                </c:pt>
                <c:pt idx="247">
                  <c:v>0.3133333333333333</c:v>
                </c:pt>
                <c:pt idx="248">
                  <c:v>0.3133333333333333</c:v>
                </c:pt>
                <c:pt idx="249">
                  <c:v>0.3133333333333333</c:v>
                </c:pt>
                <c:pt idx="250">
                  <c:v>0.3133333333333333</c:v>
                </c:pt>
                <c:pt idx="251">
                  <c:v>0.3133333333333333</c:v>
                </c:pt>
                <c:pt idx="252">
                  <c:v>0.3133333333333333</c:v>
                </c:pt>
                <c:pt idx="253">
                  <c:v>0.3133333333333333</c:v>
                </c:pt>
                <c:pt idx="254">
                  <c:v>0.3133333333333333</c:v>
                </c:pt>
                <c:pt idx="255">
                  <c:v>0.3133333333333333</c:v>
                </c:pt>
                <c:pt idx="256">
                  <c:v>0.3133333333333333</c:v>
                </c:pt>
                <c:pt idx="257">
                  <c:v>0.3133333333333333</c:v>
                </c:pt>
                <c:pt idx="258">
                  <c:v>0.3133333333333333</c:v>
                </c:pt>
                <c:pt idx="259">
                  <c:v>0.3133333333333333</c:v>
                </c:pt>
                <c:pt idx="260">
                  <c:v>0.3133333333333333</c:v>
                </c:pt>
                <c:pt idx="261">
                  <c:v>0.3133333333333333</c:v>
                </c:pt>
                <c:pt idx="262">
                  <c:v>0.3133333333333333</c:v>
                </c:pt>
                <c:pt idx="263">
                  <c:v>0.3133333333333333</c:v>
                </c:pt>
                <c:pt idx="264">
                  <c:v>0.3133333333333333</c:v>
                </c:pt>
                <c:pt idx="265">
                  <c:v>0.3133333333333333</c:v>
                </c:pt>
                <c:pt idx="266">
                  <c:v>0.3133333333333333</c:v>
                </c:pt>
                <c:pt idx="267">
                  <c:v>0.3133333333333333</c:v>
                </c:pt>
                <c:pt idx="268">
                  <c:v>0.3133333333333333</c:v>
                </c:pt>
                <c:pt idx="269">
                  <c:v>0.3133333333333333</c:v>
                </c:pt>
                <c:pt idx="270">
                  <c:v>0.3133333333333333</c:v>
                </c:pt>
                <c:pt idx="271">
                  <c:v>0.3133333333333333</c:v>
                </c:pt>
                <c:pt idx="272">
                  <c:v>0.3133333333333333</c:v>
                </c:pt>
                <c:pt idx="273">
                  <c:v>0.3133333333333333</c:v>
                </c:pt>
                <c:pt idx="274">
                  <c:v>0.3133333333333333</c:v>
                </c:pt>
                <c:pt idx="275">
                  <c:v>0.3133333333333333</c:v>
                </c:pt>
                <c:pt idx="276">
                  <c:v>0.3133333333333333</c:v>
                </c:pt>
                <c:pt idx="277">
                  <c:v>0.3133333333333333</c:v>
                </c:pt>
                <c:pt idx="278">
                  <c:v>0.3133333333333333</c:v>
                </c:pt>
                <c:pt idx="279">
                  <c:v>0.3133333333333333</c:v>
                </c:pt>
                <c:pt idx="280">
                  <c:v>0.3133333333333333</c:v>
                </c:pt>
                <c:pt idx="281">
                  <c:v>0.3133333333333333</c:v>
                </c:pt>
                <c:pt idx="282">
                  <c:v>0.3133333333333333</c:v>
                </c:pt>
                <c:pt idx="283">
                  <c:v>0.3133333333333333</c:v>
                </c:pt>
                <c:pt idx="284">
                  <c:v>0.3133333333333333</c:v>
                </c:pt>
                <c:pt idx="285">
                  <c:v>0.3133333333333333</c:v>
                </c:pt>
                <c:pt idx="286">
                  <c:v>0.3133333333333333</c:v>
                </c:pt>
                <c:pt idx="287">
                  <c:v>0.3133333333333333</c:v>
                </c:pt>
                <c:pt idx="288">
                  <c:v>0.3133333333333333</c:v>
                </c:pt>
                <c:pt idx="289">
                  <c:v>0.3133333333333333</c:v>
                </c:pt>
                <c:pt idx="290">
                  <c:v>0.3133333333333333</c:v>
                </c:pt>
                <c:pt idx="291">
                  <c:v>0.3133333333333333</c:v>
                </c:pt>
                <c:pt idx="292">
                  <c:v>0.3133333333333333</c:v>
                </c:pt>
                <c:pt idx="293">
                  <c:v>0.3133333333333333</c:v>
                </c:pt>
                <c:pt idx="294">
                  <c:v>0.3133333333333333</c:v>
                </c:pt>
                <c:pt idx="295">
                  <c:v>0.3133333333333333</c:v>
                </c:pt>
                <c:pt idx="296">
                  <c:v>0.3133333333333333</c:v>
                </c:pt>
                <c:pt idx="297">
                  <c:v>0.3133333333333333</c:v>
                </c:pt>
                <c:pt idx="298">
                  <c:v>0.3133333333333333</c:v>
                </c:pt>
                <c:pt idx="299">
                  <c:v>0.3133333333333333</c:v>
                </c:pt>
                <c:pt idx="300">
                  <c:v>0.3133333333333333</c:v>
                </c:pt>
                <c:pt idx="301">
                  <c:v>0.3133333333333333</c:v>
                </c:pt>
                <c:pt idx="302">
                  <c:v>0.3133333333333333</c:v>
                </c:pt>
                <c:pt idx="303">
                  <c:v>0.3133333333333333</c:v>
                </c:pt>
                <c:pt idx="304">
                  <c:v>0.3133333333333333</c:v>
                </c:pt>
                <c:pt idx="305">
                  <c:v>0.40333333333333332</c:v>
                </c:pt>
                <c:pt idx="306">
                  <c:v>0.40333333333333332</c:v>
                </c:pt>
                <c:pt idx="307">
                  <c:v>0.40333333333333332</c:v>
                </c:pt>
                <c:pt idx="308">
                  <c:v>0.40333333333333332</c:v>
                </c:pt>
                <c:pt idx="309">
                  <c:v>0.40333333333333332</c:v>
                </c:pt>
                <c:pt idx="310">
                  <c:v>0.40333333333333332</c:v>
                </c:pt>
                <c:pt idx="311">
                  <c:v>0.40333333333333332</c:v>
                </c:pt>
                <c:pt idx="312">
                  <c:v>0.40333333333333332</c:v>
                </c:pt>
                <c:pt idx="313">
                  <c:v>0.40333333333333332</c:v>
                </c:pt>
                <c:pt idx="314">
                  <c:v>0.40333333333333332</c:v>
                </c:pt>
                <c:pt idx="315">
                  <c:v>0.40333333333333332</c:v>
                </c:pt>
                <c:pt idx="316">
                  <c:v>0.40333333333333332</c:v>
                </c:pt>
                <c:pt idx="317">
                  <c:v>0.40333333333333332</c:v>
                </c:pt>
                <c:pt idx="318">
                  <c:v>0.40333333333333332</c:v>
                </c:pt>
                <c:pt idx="319">
                  <c:v>0.40333333333333332</c:v>
                </c:pt>
                <c:pt idx="320">
                  <c:v>0.40333333333333332</c:v>
                </c:pt>
                <c:pt idx="321">
                  <c:v>0.40333333333333332</c:v>
                </c:pt>
                <c:pt idx="322">
                  <c:v>0.40333333333333332</c:v>
                </c:pt>
                <c:pt idx="323">
                  <c:v>0.40333333333333332</c:v>
                </c:pt>
                <c:pt idx="324">
                  <c:v>0.40333333333333332</c:v>
                </c:pt>
                <c:pt idx="325">
                  <c:v>0.40333333333333332</c:v>
                </c:pt>
                <c:pt idx="326">
                  <c:v>0.40333333333333332</c:v>
                </c:pt>
                <c:pt idx="327">
                  <c:v>0.40333333333333332</c:v>
                </c:pt>
                <c:pt idx="328">
                  <c:v>0.40333333333333332</c:v>
                </c:pt>
                <c:pt idx="329">
                  <c:v>0.40333333333333332</c:v>
                </c:pt>
                <c:pt idx="330">
                  <c:v>0.40333333333333332</c:v>
                </c:pt>
                <c:pt idx="331">
                  <c:v>0.40333333333333332</c:v>
                </c:pt>
                <c:pt idx="332">
                  <c:v>0.40333333333333332</c:v>
                </c:pt>
                <c:pt idx="333">
                  <c:v>0.40333333333333332</c:v>
                </c:pt>
                <c:pt idx="334">
                  <c:v>0.40333333333333332</c:v>
                </c:pt>
                <c:pt idx="335">
                  <c:v>0.52</c:v>
                </c:pt>
                <c:pt idx="336">
                  <c:v>0.52</c:v>
                </c:pt>
                <c:pt idx="337">
                  <c:v>0.52</c:v>
                </c:pt>
                <c:pt idx="338">
                  <c:v>0.52</c:v>
                </c:pt>
                <c:pt idx="339">
                  <c:v>0.52</c:v>
                </c:pt>
                <c:pt idx="340">
                  <c:v>0.52</c:v>
                </c:pt>
                <c:pt idx="341">
                  <c:v>0.52</c:v>
                </c:pt>
                <c:pt idx="342">
                  <c:v>0.52</c:v>
                </c:pt>
                <c:pt idx="343">
                  <c:v>0.52</c:v>
                </c:pt>
                <c:pt idx="344">
                  <c:v>0.52</c:v>
                </c:pt>
                <c:pt idx="345">
                  <c:v>0.52</c:v>
                </c:pt>
                <c:pt idx="346">
                  <c:v>0.52</c:v>
                </c:pt>
                <c:pt idx="347">
                  <c:v>0.52</c:v>
                </c:pt>
                <c:pt idx="348">
                  <c:v>0.52</c:v>
                </c:pt>
                <c:pt idx="349">
                  <c:v>0.52</c:v>
                </c:pt>
                <c:pt idx="350">
                  <c:v>0.52</c:v>
                </c:pt>
                <c:pt idx="351">
                  <c:v>0.52</c:v>
                </c:pt>
                <c:pt idx="352">
                  <c:v>0.52</c:v>
                </c:pt>
                <c:pt idx="353">
                  <c:v>0.52</c:v>
                </c:pt>
                <c:pt idx="354">
                  <c:v>0.52</c:v>
                </c:pt>
                <c:pt idx="355">
                  <c:v>0.52</c:v>
                </c:pt>
                <c:pt idx="356">
                  <c:v>0.52</c:v>
                </c:pt>
                <c:pt idx="357">
                  <c:v>0.52</c:v>
                </c:pt>
                <c:pt idx="358">
                  <c:v>0.52</c:v>
                </c:pt>
                <c:pt idx="359">
                  <c:v>0.52</c:v>
                </c:pt>
                <c:pt idx="360">
                  <c:v>0.52</c:v>
                </c:pt>
                <c:pt idx="361">
                  <c:v>0.52</c:v>
                </c:pt>
                <c:pt idx="362">
                  <c:v>0.52</c:v>
                </c:pt>
                <c:pt idx="363">
                  <c:v>0.52</c:v>
                </c:pt>
                <c:pt idx="364">
                  <c:v>0.52</c:v>
                </c:pt>
                <c:pt idx="365">
                  <c:v>0.52</c:v>
                </c:pt>
              </c:numCache>
            </c:numRef>
          </c:val>
          <c:smooth val="0"/>
          <c:extLst>
            <c:ext xmlns:c16="http://schemas.microsoft.com/office/drawing/2014/chart" uri="{C3380CC4-5D6E-409C-BE32-E72D297353CC}">
              <c16:uniqueId val="{00000001-D711-480A-A078-CE5611A64EB8}"/>
            </c:ext>
          </c:extLst>
        </c:ser>
        <c:ser>
          <c:idx val="2"/>
          <c:order val="2"/>
          <c:tx>
            <c:strRef>
              <c:f>主流省份电价!$BF$5</c:f>
              <c:strCache>
                <c:ptCount val="1"/>
                <c:pt idx="0">
                  <c:v>2022</c:v>
                </c:pt>
              </c:strCache>
            </c:strRef>
          </c:tx>
          <c:spPr>
            <a:ln w="19050" cap="rnd">
              <a:solidFill>
                <a:schemeClr val="bg1">
                  <a:lumMod val="75000"/>
                </a:schemeClr>
              </a:solidFill>
              <a:round/>
            </a:ln>
            <a:effectLst/>
          </c:spPr>
          <c:marker>
            <c:symbol val="none"/>
          </c:marker>
          <c:cat>
            <c:strRef>
              <c:f>主流省份电价!$BA$6:$BA$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BF$6:$BF$371</c:f>
              <c:numCache>
                <c:formatCode>#,##0.00_);[Red]\(#,##0.00\)</c:formatCode>
                <c:ptCount val="366"/>
                <c:pt idx="0">
                  <c:v>0.59</c:v>
                </c:pt>
                <c:pt idx="1">
                  <c:v>0.59</c:v>
                </c:pt>
                <c:pt idx="2">
                  <c:v>0.59</c:v>
                </c:pt>
                <c:pt idx="3">
                  <c:v>0.59</c:v>
                </c:pt>
                <c:pt idx="4">
                  <c:v>0.59</c:v>
                </c:pt>
                <c:pt idx="5">
                  <c:v>0.59</c:v>
                </c:pt>
                <c:pt idx="6">
                  <c:v>0.59</c:v>
                </c:pt>
                <c:pt idx="7">
                  <c:v>0.59</c:v>
                </c:pt>
                <c:pt idx="8">
                  <c:v>0.59</c:v>
                </c:pt>
                <c:pt idx="9">
                  <c:v>0.59</c:v>
                </c:pt>
                <c:pt idx="10">
                  <c:v>0.59</c:v>
                </c:pt>
                <c:pt idx="11">
                  <c:v>0.59</c:v>
                </c:pt>
                <c:pt idx="12">
                  <c:v>0.59</c:v>
                </c:pt>
                <c:pt idx="13">
                  <c:v>0.59</c:v>
                </c:pt>
                <c:pt idx="14">
                  <c:v>0.59</c:v>
                </c:pt>
                <c:pt idx="15">
                  <c:v>0.59</c:v>
                </c:pt>
                <c:pt idx="16">
                  <c:v>0.59</c:v>
                </c:pt>
                <c:pt idx="17">
                  <c:v>0.59</c:v>
                </c:pt>
                <c:pt idx="18">
                  <c:v>0.59</c:v>
                </c:pt>
                <c:pt idx="19">
                  <c:v>0.59</c:v>
                </c:pt>
                <c:pt idx="20">
                  <c:v>0.59</c:v>
                </c:pt>
                <c:pt idx="21">
                  <c:v>0.59</c:v>
                </c:pt>
                <c:pt idx="22">
                  <c:v>0.59</c:v>
                </c:pt>
                <c:pt idx="23">
                  <c:v>0.59</c:v>
                </c:pt>
                <c:pt idx="24">
                  <c:v>0.59</c:v>
                </c:pt>
                <c:pt idx="25">
                  <c:v>0.59</c:v>
                </c:pt>
                <c:pt idx="26">
                  <c:v>0.59</c:v>
                </c:pt>
                <c:pt idx="27">
                  <c:v>0.59</c:v>
                </c:pt>
                <c:pt idx="28">
                  <c:v>0.59</c:v>
                </c:pt>
                <c:pt idx="29">
                  <c:v>0.59</c:v>
                </c:pt>
                <c:pt idx="30">
                  <c:v>0.59</c:v>
                </c:pt>
                <c:pt idx="31">
                  <c:v>0.59</c:v>
                </c:pt>
                <c:pt idx="32">
                  <c:v>0.59</c:v>
                </c:pt>
                <c:pt idx="33">
                  <c:v>0.59</c:v>
                </c:pt>
                <c:pt idx="34">
                  <c:v>0.59</c:v>
                </c:pt>
                <c:pt idx="35">
                  <c:v>0.59</c:v>
                </c:pt>
                <c:pt idx="36">
                  <c:v>0.59</c:v>
                </c:pt>
                <c:pt idx="37">
                  <c:v>0.59</c:v>
                </c:pt>
                <c:pt idx="38">
                  <c:v>0.59</c:v>
                </c:pt>
                <c:pt idx="39">
                  <c:v>0.59</c:v>
                </c:pt>
                <c:pt idx="40">
                  <c:v>0.59</c:v>
                </c:pt>
                <c:pt idx="41">
                  <c:v>0.59</c:v>
                </c:pt>
                <c:pt idx="42">
                  <c:v>0.59</c:v>
                </c:pt>
                <c:pt idx="43">
                  <c:v>0.59</c:v>
                </c:pt>
                <c:pt idx="44">
                  <c:v>0.59</c:v>
                </c:pt>
                <c:pt idx="45">
                  <c:v>0.59</c:v>
                </c:pt>
                <c:pt idx="46">
                  <c:v>0.59</c:v>
                </c:pt>
                <c:pt idx="47">
                  <c:v>0.59</c:v>
                </c:pt>
                <c:pt idx="48">
                  <c:v>0.59</c:v>
                </c:pt>
                <c:pt idx="49">
                  <c:v>0.59</c:v>
                </c:pt>
                <c:pt idx="50">
                  <c:v>0.59</c:v>
                </c:pt>
                <c:pt idx="51">
                  <c:v>0.59</c:v>
                </c:pt>
                <c:pt idx="52">
                  <c:v>0.59</c:v>
                </c:pt>
                <c:pt idx="53">
                  <c:v>0.59</c:v>
                </c:pt>
                <c:pt idx="54">
                  <c:v>0.59</c:v>
                </c:pt>
                <c:pt idx="55">
                  <c:v>0.59</c:v>
                </c:pt>
                <c:pt idx="56">
                  <c:v>0.59</c:v>
                </c:pt>
                <c:pt idx="57">
                  <c:v>0.59</c:v>
                </c:pt>
                <c:pt idx="58">
                  <c:v>0.59</c:v>
                </c:pt>
                <c:pt idx="60">
                  <c:v>0.59</c:v>
                </c:pt>
                <c:pt idx="61">
                  <c:v>0.59</c:v>
                </c:pt>
                <c:pt idx="62">
                  <c:v>0.59</c:v>
                </c:pt>
                <c:pt idx="63">
                  <c:v>0.59</c:v>
                </c:pt>
                <c:pt idx="64">
                  <c:v>0.59</c:v>
                </c:pt>
                <c:pt idx="65">
                  <c:v>0.59</c:v>
                </c:pt>
                <c:pt idx="66">
                  <c:v>0.59</c:v>
                </c:pt>
                <c:pt idx="67">
                  <c:v>0.59</c:v>
                </c:pt>
                <c:pt idx="68">
                  <c:v>0.59</c:v>
                </c:pt>
                <c:pt idx="69">
                  <c:v>0.59</c:v>
                </c:pt>
                <c:pt idx="70">
                  <c:v>0.59</c:v>
                </c:pt>
                <c:pt idx="71">
                  <c:v>0.59</c:v>
                </c:pt>
                <c:pt idx="72">
                  <c:v>0.59</c:v>
                </c:pt>
                <c:pt idx="73">
                  <c:v>0.59</c:v>
                </c:pt>
                <c:pt idx="74">
                  <c:v>0.59</c:v>
                </c:pt>
                <c:pt idx="75">
                  <c:v>0.59</c:v>
                </c:pt>
                <c:pt idx="76">
                  <c:v>0.59</c:v>
                </c:pt>
                <c:pt idx="77">
                  <c:v>0.59</c:v>
                </c:pt>
                <c:pt idx="78">
                  <c:v>0.59</c:v>
                </c:pt>
                <c:pt idx="79">
                  <c:v>0.59</c:v>
                </c:pt>
                <c:pt idx="80">
                  <c:v>0.59</c:v>
                </c:pt>
                <c:pt idx="81">
                  <c:v>0.59</c:v>
                </c:pt>
                <c:pt idx="82">
                  <c:v>0.59</c:v>
                </c:pt>
                <c:pt idx="83">
                  <c:v>0.59</c:v>
                </c:pt>
                <c:pt idx="84">
                  <c:v>0.59</c:v>
                </c:pt>
                <c:pt idx="85">
                  <c:v>0.59</c:v>
                </c:pt>
                <c:pt idx="86">
                  <c:v>0.59</c:v>
                </c:pt>
                <c:pt idx="87">
                  <c:v>0.59</c:v>
                </c:pt>
                <c:pt idx="88">
                  <c:v>0.59</c:v>
                </c:pt>
                <c:pt idx="89">
                  <c:v>0.59</c:v>
                </c:pt>
                <c:pt idx="90">
                  <c:v>0.59</c:v>
                </c:pt>
                <c:pt idx="91">
                  <c:v>0.51</c:v>
                </c:pt>
                <c:pt idx="92">
                  <c:v>0.51</c:v>
                </c:pt>
                <c:pt idx="93">
                  <c:v>0.51</c:v>
                </c:pt>
                <c:pt idx="94">
                  <c:v>0.51</c:v>
                </c:pt>
                <c:pt idx="95">
                  <c:v>0.51</c:v>
                </c:pt>
                <c:pt idx="96">
                  <c:v>0.51</c:v>
                </c:pt>
                <c:pt idx="97">
                  <c:v>0.51</c:v>
                </c:pt>
                <c:pt idx="98">
                  <c:v>0.51</c:v>
                </c:pt>
                <c:pt idx="99">
                  <c:v>0.51</c:v>
                </c:pt>
                <c:pt idx="100">
                  <c:v>0.51</c:v>
                </c:pt>
                <c:pt idx="101">
                  <c:v>0.51</c:v>
                </c:pt>
                <c:pt idx="102">
                  <c:v>0.51</c:v>
                </c:pt>
                <c:pt idx="103">
                  <c:v>0.51</c:v>
                </c:pt>
                <c:pt idx="104">
                  <c:v>0.51</c:v>
                </c:pt>
                <c:pt idx="105">
                  <c:v>0.51</c:v>
                </c:pt>
                <c:pt idx="106">
                  <c:v>0.51</c:v>
                </c:pt>
                <c:pt idx="107">
                  <c:v>0.51</c:v>
                </c:pt>
                <c:pt idx="108">
                  <c:v>0.51</c:v>
                </c:pt>
                <c:pt idx="109">
                  <c:v>0.51</c:v>
                </c:pt>
                <c:pt idx="110">
                  <c:v>0.51</c:v>
                </c:pt>
                <c:pt idx="111">
                  <c:v>0.51</c:v>
                </c:pt>
                <c:pt idx="112">
                  <c:v>0.51</c:v>
                </c:pt>
                <c:pt idx="113">
                  <c:v>0.51</c:v>
                </c:pt>
                <c:pt idx="114">
                  <c:v>0.51</c:v>
                </c:pt>
                <c:pt idx="115">
                  <c:v>0.51</c:v>
                </c:pt>
                <c:pt idx="116">
                  <c:v>0.51</c:v>
                </c:pt>
                <c:pt idx="117">
                  <c:v>0.51</c:v>
                </c:pt>
                <c:pt idx="118">
                  <c:v>0.51</c:v>
                </c:pt>
                <c:pt idx="119">
                  <c:v>0.51</c:v>
                </c:pt>
                <c:pt idx="120">
                  <c:v>0.51</c:v>
                </c:pt>
                <c:pt idx="121">
                  <c:v>0.51</c:v>
                </c:pt>
                <c:pt idx="122">
                  <c:v>0.51</c:v>
                </c:pt>
                <c:pt idx="123">
                  <c:v>0.51</c:v>
                </c:pt>
                <c:pt idx="124">
                  <c:v>0.51</c:v>
                </c:pt>
                <c:pt idx="125">
                  <c:v>0.51</c:v>
                </c:pt>
                <c:pt idx="126">
                  <c:v>0.51</c:v>
                </c:pt>
                <c:pt idx="127">
                  <c:v>0.51</c:v>
                </c:pt>
                <c:pt idx="128">
                  <c:v>0.51</c:v>
                </c:pt>
                <c:pt idx="129">
                  <c:v>0.51</c:v>
                </c:pt>
                <c:pt idx="130">
                  <c:v>0.51</c:v>
                </c:pt>
                <c:pt idx="131">
                  <c:v>0.51</c:v>
                </c:pt>
                <c:pt idx="132">
                  <c:v>0.51</c:v>
                </c:pt>
                <c:pt idx="133">
                  <c:v>0.51</c:v>
                </c:pt>
                <c:pt idx="134">
                  <c:v>0.51</c:v>
                </c:pt>
                <c:pt idx="135">
                  <c:v>0.51</c:v>
                </c:pt>
                <c:pt idx="136">
                  <c:v>0.51</c:v>
                </c:pt>
                <c:pt idx="137">
                  <c:v>0.51</c:v>
                </c:pt>
                <c:pt idx="138">
                  <c:v>0.51</c:v>
                </c:pt>
                <c:pt idx="139">
                  <c:v>0.51</c:v>
                </c:pt>
                <c:pt idx="140">
                  <c:v>0.51</c:v>
                </c:pt>
                <c:pt idx="141">
                  <c:v>0.51</c:v>
                </c:pt>
                <c:pt idx="142">
                  <c:v>0.51</c:v>
                </c:pt>
                <c:pt idx="143">
                  <c:v>0.51</c:v>
                </c:pt>
                <c:pt idx="144">
                  <c:v>0.51</c:v>
                </c:pt>
                <c:pt idx="145">
                  <c:v>0.51</c:v>
                </c:pt>
                <c:pt idx="146">
                  <c:v>0.51</c:v>
                </c:pt>
                <c:pt idx="147">
                  <c:v>0.51</c:v>
                </c:pt>
                <c:pt idx="148">
                  <c:v>0.51</c:v>
                </c:pt>
                <c:pt idx="149">
                  <c:v>0.51</c:v>
                </c:pt>
                <c:pt idx="150">
                  <c:v>0.51</c:v>
                </c:pt>
                <c:pt idx="151">
                  <c:v>0.51</c:v>
                </c:pt>
                <c:pt idx="152">
                  <c:v>0.40666666666666673</c:v>
                </c:pt>
                <c:pt idx="153">
                  <c:v>0.40666666666666673</c:v>
                </c:pt>
                <c:pt idx="154">
                  <c:v>0.40666666666666673</c:v>
                </c:pt>
                <c:pt idx="155">
                  <c:v>0.40666666666666673</c:v>
                </c:pt>
                <c:pt idx="156">
                  <c:v>0.40666666666666673</c:v>
                </c:pt>
                <c:pt idx="157">
                  <c:v>0.40666666666666673</c:v>
                </c:pt>
                <c:pt idx="158">
                  <c:v>0.40666666666666673</c:v>
                </c:pt>
                <c:pt idx="159">
                  <c:v>0.40666666666666673</c:v>
                </c:pt>
                <c:pt idx="160">
                  <c:v>0.40666666666666673</c:v>
                </c:pt>
                <c:pt idx="161">
                  <c:v>0.40666666666666673</c:v>
                </c:pt>
                <c:pt idx="162">
                  <c:v>0.40666666666666673</c:v>
                </c:pt>
                <c:pt idx="163">
                  <c:v>0.40666666666666673</c:v>
                </c:pt>
                <c:pt idx="164">
                  <c:v>0.40666666666666673</c:v>
                </c:pt>
                <c:pt idx="165">
                  <c:v>0.40666666666666673</c:v>
                </c:pt>
                <c:pt idx="166">
                  <c:v>0.40666666666666673</c:v>
                </c:pt>
                <c:pt idx="167">
                  <c:v>0.40666666666666673</c:v>
                </c:pt>
                <c:pt idx="168">
                  <c:v>0.40666666666666673</c:v>
                </c:pt>
                <c:pt idx="169">
                  <c:v>0.40666666666666673</c:v>
                </c:pt>
                <c:pt idx="170">
                  <c:v>0.40666666666666673</c:v>
                </c:pt>
                <c:pt idx="171">
                  <c:v>0.40666666666666673</c:v>
                </c:pt>
                <c:pt idx="172">
                  <c:v>0.40666666666666673</c:v>
                </c:pt>
                <c:pt idx="173">
                  <c:v>0.40666666666666673</c:v>
                </c:pt>
                <c:pt idx="174">
                  <c:v>0.40666666666666673</c:v>
                </c:pt>
                <c:pt idx="175">
                  <c:v>0.40666666666666673</c:v>
                </c:pt>
                <c:pt idx="176">
                  <c:v>0.40666666666666673</c:v>
                </c:pt>
                <c:pt idx="177">
                  <c:v>0.40666666666666673</c:v>
                </c:pt>
                <c:pt idx="178">
                  <c:v>0.40666666666666673</c:v>
                </c:pt>
                <c:pt idx="179">
                  <c:v>0.40666666666666673</c:v>
                </c:pt>
                <c:pt idx="180">
                  <c:v>0.40666666666666673</c:v>
                </c:pt>
                <c:pt idx="181">
                  <c:v>0.40666666666666673</c:v>
                </c:pt>
                <c:pt idx="182">
                  <c:v>0.39333333333333337</c:v>
                </c:pt>
                <c:pt idx="183">
                  <c:v>0.39333333333333337</c:v>
                </c:pt>
                <c:pt idx="184">
                  <c:v>0.39333333333333337</c:v>
                </c:pt>
                <c:pt idx="185">
                  <c:v>0.39333333333333337</c:v>
                </c:pt>
                <c:pt idx="186">
                  <c:v>0.39333333333333337</c:v>
                </c:pt>
                <c:pt idx="187">
                  <c:v>0.39333333333333337</c:v>
                </c:pt>
                <c:pt idx="188">
                  <c:v>0.39333333333333337</c:v>
                </c:pt>
                <c:pt idx="189">
                  <c:v>0.39333333333333337</c:v>
                </c:pt>
                <c:pt idx="190">
                  <c:v>0.39333333333333337</c:v>
                </c:pt>
                <c:pt idx="191">
                  <c:v>0.39333333333333337</c:v>
                </c:pt>
                <c:pt idx="192">
                  <c:v>0.39333333333333337</c:v>
                </c:pt>
                <c:pt idx="193">
                  <c:v>0.39333333333333337</c:v>
                </c:pt>
                <c:pt idx="194">
                  <c:v>0.39333333333333337</c:v>
                </c:pt>
                <c:pt idx="195">
                  <c:v>0.39333333333333337</c:v>
                </c:pt>
                <c:pt idx="196">
                  <c:v>0.39333333333333337</c:v>
                </c:pt>
                <c:pt idx="197">
                  <c:v>0.39333333333333337</c:v>
                </c:pt>
                <c:pt idx="198">
                  <c:v>0.39333333333333337</c:v>
                </c:pt>
                <c:pt idx="199">
                  <c:v>0.39333333333333337</c:v>
                </c:pt>
                <c:pt idx="200">
                  <c:v>0.39333333333333337</c:v>
                </c:pt>
                <c:pt idx="201">
                  <c:v>0.39333333333333337</c:v>
                </c:pt>
                <c:pt idx="202">
                  <c:v>0.39333333333333337</c:v>
                </c:pt>
                <c:pt idx="203">
                  <c:v>0.39333333333333337</c:v>
                </c:pt>
                <c:pt idx="204">
                  <c:v>0.39333333333333337</c:v>
                </c:pt>
                <c:pt idx="205">
                  <c:v>0.39333333333333337</c:v>
                </c:pt>
                <c:pt idx="206">
                  <c:v>0.39333333333333337</c:v>
                </c:pt>
                <c:pt idx="207">
                  <c:v>0.39333333333333337</c:v>
                </c:pt>
                <c:pt idx="208">
                  <c:v>0.39333333333333337</c:v>
                </c:pt>
                <c:pt idx="209">
                  <c:v>0.39333333333333337</c:v>
                </c:pt>
                <c:pt idx="210">
                  <c:v>0.39333333333333337</c:v>
                </c:pt>
                <c:pt idx="211">
                  <c:v>0.39333333333333337</c:v>
                </c:pt>
                <c:pt idx="212">
                  <c:v>0.39333333333333337</c:v>
                </c:pt>
                <c:pt idx="213">
                  <c:v>0.39333333333333337</c:v>
                </c:pt>
                <c:pt idx="214">
                  <c:v>0.39333333333333337</c:v>
                </c:pt>
                <c:pt idx="215">
                  <c:v>0.39333333333333337</c:v>
                </c:pt>
                <c:pt idx="216">
                  <c:v>0.39333333333333337</c:v>
                </c:pt>
                <c:pt idx="217">
                  <c:v>0.39333333333333337</c:v>
                </c:pt>
                <c:pt idx="218">
                  <c:v>0.39333333333333337</c:v>
                </c:pt>
                <c:pt idx="219">
                  <c:v>0.39333333333333337</c:v>
                </c:pt>
                <c:pt idx="220">
                  <c:v>0.39333333333333337</c:v>
                </c:pt>
                <c:pt idx="221">
                  <c:v>0.39333333333333337</c:v>
                </c:pt>
                <c:pt idx="222">
                  <c:v>0.39333333333333337</c:v>
                </c:pt>
                <c:pt idx="223">
                  <c:v>0.39333333333333337</c:v>
                </c:pt>
                <c:pt idx="224">
                  <c:v>0.39333333333333337</c:v>
                </c:pt>
                <c:pt idx="225">
                  <c:v>0.39333333333333337</c:v>
                </c:pt>
                <c:pt idx="226">
                  <c:v>0.39333333333333337</c:v>
                </c:pt>
                <c:pt idx="227">
                  <c:v>0.39333333333333337</c:v>
                </c:pt>
                <c:pt idx="228">
                  <c:v>0.39333333333333337</c:v>
                </c:pt>
                <c:pt idx="229">
                  <c:v>0.39333333333333337</c:v>
                </c:pt>
                <c:pt idx="230">
                  <c:v>0.39333333333333337</c:v>
                </c:pt>
                <c:pt idx="231">
                  <c:v>0.39333333333333337</c:v>
                </c:pt>
                <c:pt idx="232">
                  <c:v>0.39333333333333337</c:v>
                </c:pt>
                <c:pt idx="233">
                  <c:v>0.39333333333333337</c:v>
                </c:pt>
                <c:pt idx="234">
                  <c:v>0.39333333333333337</c:v>
                </c:pt>
                <c:pt idx="235">
                  <c:v>0.39333333333333337</c:v>
                </c:pt>
                <c:pt idx="236">
                  <c:v>0.39333333333333337</c:v>
                </c:pt>
                <c:pt idx="237">
                  <c:v>0.39333333333333337</c:v>
                </c:pt>
                <c:pt idx="238">
                  <c:v>0.39333333333333337</c:v>
                </c:pt>
                <c:pt idx="239">
                  <c:v>0.39333333333333337</c:v>
                </c:pt>
                <c:pt idx="240">
                  <c:v>0.39333333333333337</c:v>
                </c:pt>
                <c:pt idx="241">
                  <c:v>0.39333333333333337</c:v>
                </c:pt>
                <c:pt idx="242">
                  <c:v>0.39333333333333337</c:v>
                </c:pt>
                <c:pt idx="243">
                  <c:v>0.39333333333333337</c:v>
                </c:pt>
                <c:pt idx="244">
                  <c:v>0.39333333333333337</c:v>
                </c:pt>
                <c:pt idx="245">
                  <c:v>0.39333333333333337</c:v>
                </c:pt>
                <c:pt idx="246">
                  <c:v>0.39333333333333337</c:v>
                </c:pt>
                <c:pt idx="247">
                  <c:v>0.39333333333333337</c:v>
                </c:pt>
                <c:pt idx="248">
                  <c:v>0.39333333333333337</c:v>
                </c:pt>
                <c:pt idx="249">
                  <c:v>0.39333333333333337</c:v>
                </c:pt>
                <c:pt idx="250">
                  <c:v>0.39333333333333337</c:v>
                </c:pt>
                <c:pt idx="251">
                  <c:v>0.39333333333333337</c:v>
                </c:pt>
                <c:pt idx="252">
                  <c:v>0.39333333333333337</c:v>
                </c:pt>
                <c:pt idx="253">
                  <c:v>0.39333333333333337</c:v>
                </c:pt>
                <c:pt idx="254">
                  <c:v>0.39333333333333337</c:v>
                </c:pt>
                <c:pt idx="255">
                  <c:v>0.39333333333333337</c:v>
                </c:pt>
                <c:pt idx="256">
                  <c:v>0.39333333333333337</c:v>
                </c:pt>
                <c:pt idx="257">
                  <c:v>0.39333333333333337</c:v>
                </c:pt>
                <c:pt idx="258">
                  <c:v>0.39333333333333337</c:v>
                </c:pt>
                <c:pt idx="259">
                  <c:v>0.39333333333333337</c:v>
                </c:pt>
                <c:pt idx="260">
                  <c:v>0.39333333333333337</c:v>
                </c:pt>
                <c:pt idx="261">
                  <c:v>0.39333333333333337</c:v>
                </c:pt>
                <c:pt idx="262">
                  <c:v>0.39333333333333337</c:v>
                </c:pt>
                <c:pt idx="263">
                  <c:v>0.39333333333333337</c:v>
                </c:pt>
                <c:pt idx="264">
                  <c:v>0.39333333333333337</c:v>
                </c:pt>
                <c:pt idx="265">
                  <c:v>0.39333333333333337</c:v>
                </c:pt>
                <c:pt idx="266">
                  <c:v>0.39333333333333337</c:v>
                </c:pt>
                <c:pt idx="267">
                  <c:v>0.39333333333333337</c:v>
                </c:pt>
                <c:pt idx="268">
                  <c:v>0.39333333333333337</c:v>
                </c:pt>
                <c:pt idx="269">
                  <c:v>0.39333333333333337</c:v>
                </c:pt>
                <c:pt idx="270">
                  <c:v>0.39333333333333337</c:v>
                </c:pt>
                <c:pt idx="271">
                  <c:v>0.39333333333333337</c:v>
                </c:pt>
                <c:pt idx="272">
                  <c:v>0.39333333333333337</c:v>
                </c:pt>
                <c:pt idx="273">
                  <c:v>0.39333333333333337</c:v>
                </c:pt>
                <c:pt idx="274">
                  <c:v>0.39333333333333337</c:v>
                </c:pt>
                <c:pt idx="275">
                  <c:v>0.39333333333333337</c:v>
                </c:pt>
                <c:pt idx="276">
                  <c:v>0.39333333333333337</c:v>
                </c:pt>
                <c:pt idx="277">
                  <c:v>0.39333333333333337</c:v>
                </c:pt>
                <c:pt idx="278">
                  <c:v>0.39333333333333337</c:v>
                </c:pt>
                <c:pt idx="279">
                  <c:v>0.39333333333333337</c:v>
                </c:pt>
                <c:pt idx="280">
                  <c:v>0.39333333333333337</c:v>
                </c:pt>
                <c:pt idx="281">
                  <c:v>0.39333333333333337</c:v>
                </c:pt>
                <c:pt idx="282">
                  <c:v>0.39333333333333337</c:v>
                </c:pt>
                <c:pt idx="283">
                  <c:v>0.39333333333333337</c:v>
                </c:pt>
                <c:pt idx="284">
                  <c:v>0.39333333333333337</c:v>
                </c:pt>
                <c:pt idx="285">
                  <c:v>0.39333333333333337</c:v>
                </c:pt>
                <c:pt idx="286">
                  <c:v>0.39333333333333337</c:v>
                </c:pt>
                <c:pt idx="287">
                  <c:v>0.39333333333333337</c:v>
                </c:pt>
                <c:pt idx="288">
                  <c:v>0.39333333333333337</c:v>
                </c:pt>
                <c:pt idx="289">
                  <c:v>0.39333333333333337</c:v>
                </c:pt>
                <c:pt idx="290">
                  <c:v>0.39333333333333337</c:v>
                </c:pt>
                <c:pt idx="291">
                  <c:v>0.39333333333333337</c:v>
                </c:pt>
                <c:pt idx="292">
                  <c:v>0.39333333333333337</c:v>
                </c:pt>
                <c:pt idx="293">
                  <c:v>0.39333333333333337</c:v>
                </c:pt>
                <c:pt idx="294">
                  <c:v>0.39333333333333337</c:v>
                </c:pt>
                <c:pt idx="295">
                  <c:v>0.39333333333333337</c:v>
                </c:pt>
                <c:pt idx="296">
                  <c:v>0.39333333333333337</c:v>
                </c:pt>
                <c:pt idx="297">
                  <c:v>0.39333333333333337</c:v>
                </c:pt>
                <c:pt idx="298">
                  <c:v>0.39333333333333337</c:v>
                </c:pt>
                <c:pt idx="299">
                  <c:v>0.39333333333333337</c:v>
                </c:pt>
                <c:pt idx="300">
                  <c:v>0.39333333333333337</c:v>
                </c:pt>
                <c:pt idx="301">
                  <c:v>0.39333333333333337</c:v>
                </c:pt>
                <c:pt idx="302">
                  <c:v>0.39333333333333337</c:v>
                </c:pt>
                <c:pt idx="303">
                  <c:v>0.39333333333333337</c:v>
                </c:pt>
                <c:pt idx="304">
                  <c:v>0.39333333333333337</c:v>
                </c:pt>
                <c:pt idx="305">
                  <c:v>0.39333333333333337</c:v>
                </c:pt>
                <c:pt idx="306">
                  <c:v>0.39333333333333337</c:v>
                </c:pt>
                <c:pt idx="307">
                  <c:v>0.39333333333333337</c:v>
                </c:pt>
                <c:pt idx="308">
                  <c:v>0.39333333333333337</c:v>
                </c:pt>
                <c:pt idx="309">
                  <c:v>0.39333333333333337</c:v>
                </c:pt>
                <c:pt idx="310">
                  <c:v>0.39333333333333337</c:v>
                </c:pt>
                <c:pt idx="311">
                  <c:v>0.39333333333333337</c:v>
                </c:pt>
                <c:pt idx="312">
                  <c:v>0.39333333333333337</c:v>
                </c:pt>
                <c:pt idx="313">
                  <c:v>0.39333333333333337</c:v>
                </c:pt>
                <c:pt idx="314">
                  <c:v>0.39333333333333337</c:v>
                </c:pt>
                <c:pt idx="315">
                  <c:v>0.48666666666666664</c:v>
                </c:pt>
                <c:pt idx="316">
                  <c:v>0.48666666666666664</c:v>
                </c:pt>
                <c:pt idx="317">
                  <c:v>0.48666666666666664</c:v>
                </c:pt>
                <c:pt idx="318">
                  <c:v>0.48666666666666664</c:v>
                </c:pt>
                <c:pt idx="319">
                  <c:v>0.48666666666666664</c:v>
                </c:pt>
                <c:pt idx="320">
                  <c:v>0.48666666666666664</c:v>
                </c:pt>
                <c:pt idx="321">
                  <c:v>0.48666666666666664</c:v>
                </c:pt>
                <c:pt idx="322">
                  <c:v>0.48666666666666664</c:v>
                </c:pt>
                <c:pt idx="323">
                  <c:v>0.48666666666666664</c:v>
                </c:pt>
                <c:pt idx="324">
                  <c:v>0.48666666666666664</c:v>
                </c:pt>
                <c:pt idx="325">
                  <c:v>0.48666666666666664</c:v>
                </c:pt>
                <c:pt idx="326">
                  <c:v>0.48666666666666664</c:v>
                </c:pt>
                <c:pt idx="327">
                  <c:v>0.48666666666666664</c:v>
                </c:pt>
                <c:pt idx="328">
                  <c:v>0.48666666666666664</c:v>
                </c:pt>
                <c:pt idx="329">
                  <c:v>0.48666666666666664</c:v>
                </c:pt>
                <c:pt idx="330">
                  <c:v>0.48666666666666664</c:v>
                </c:pt>
                <c:pt idx="331">
                  <c:v>0.48666666666666664</c:v>
                </c:pt>
                <c:pt idx="332">
                  <c:v>0.48666666666666664</c:v>
                </c:pt>
                <c:pt idx="333">
                  <c:v>0.48666666666666664</c:v>
                </c:pt>
                <c:pt idx="334">
                  <c:v>0.48666666666666664</c:v>
                </c:pt>
                <c:pt idx="335">
                  <c:v>0.48666666666666664</c:v>
                </c:pt>
                <c:pt idx="336">
                  <c:v>0.48666666666666664</c:v>
                </c:pt>
                <c:pt idx="337">
                  <c:v>0.48666666666666664</c:v>
                </c:pt>
                <c:pt idx="338">
                  <c:v>0.48666666666666664</c:v>
                </c:pt>
                <c:pt idx="339">
                  <c:v>0.48666666666666664</c:v>
                </c:pt>
                <c:pt idx="340">
                  <c:v>0.48666666666666664</c:v>
                </c:pt>
                <c:pt idx="341">
                  <c:v>0.48666666666666664</c:v>
                </c:pt>
                <c:pt idx="342">
                  <c:v>0.48666666666666664</c:v>
                </c:pt>
                <c:pt idx="343">
                  <c:v>0.5</c:v>
                </c:pt>
                <c:pt idx="344">
                  <c:v>0.5</c:v>
                </c:pt>
                <c:pt idx="345">
                  <c:v>0.5</c:v>
                </c:pt>
                <c:pt idx="346">
                  <c:v>0.5</c:v>
                </c:pt>
                <c:pt idx="347">
                  <c:v>0.5</c:v>
                </c:pt>
                <c:pt idx="348">
                  <c:v>0.5</c:v>
                </c:pt>
                <c:pt idx="349">
                  <c:v>0.5</c:v>
                </c:pt>
                <c:pt idx="350">
                  <c:v>0.5</c:v>
                </c:pt>
                <c:pt idx="351">
                  <c:v>0.5</c:v>
                </c:pt>
                <c:pt idx="352">
                  <c:v>0.5</c:v>
                </c:pt>
                <c:pt idx="353">
                  <c:v>0.5</c:v>
                </c:pt>
                <c:pt idx="354">
                  <c:v>0.5</c:v>
                </c:pt>
                <c:pt idx="355">
                  <c:v>0.5</c:v>
                </c:pt>
                <c:pt idx="356">
                  <c:v>0.5</c:v>
                </c:pt>
                <c:pt idx="357">
                  <c:v>0.5</c:v>
                </c:pt>
                <c:pt idx="358">
                  <c:v>0.5</c:v>
                </c:pt>
                <c:pt idx="359">
                  <c:v>0.5</c:v>
                </c:pt>
                <c:pt idx="360">
                  <c:v>0.5</c:v>
                </c:pt>
                <c:pt idx="361">
                  <c:v>0.5</c:v>
                </c:pt>
                <c:pt idx="362">
                  <c:v>0.5</c:v>
                </c:pt>
                <c:pt idx="363">
                  <c:v>0.5</c:v>
                </c:pt>
                <c:pt idx="364">
                  <c:v>0.5</c:v>
                </c:pt>
                <c:pt idx="365">
                  <c:v>0.5</c:v>
                </c:pt>
              </c:numCache>
            </c:numRef>
          </c:val>
          <c:smooth val="0"/>
          <c:extLst>
            <c:ext xmlns:c16="http://schemas.microsoft.com/office/drawing/2014/chart" uri="{C3380CC4-5D6E-409C-BE32-E72D297353CC}">
              <c16:uniqueId val="{00000002-D711-480A-A078-CE5611A64EB8}"/>
            </c:ext>
          </c:extLst>
        </c:ser>
        <c:ser>
          <c:idx val="3"/>
          <c:order val="3"/>
          <c:tx>
            <c:strRef>
              <c:f>主流省份电价!$BG$5</c:f>
              <c:strCache>
                <c:ptCount val="1"/>
                <c:pt idx="0">
                  <c:v>2023</c:v>
                </c:pt>
              </c:strCache>
            </c:strRef>
          </c:tx>
          <c:spPr>
            <a:ln w="19050" cap="rnd">
              <a:solidFill>
                <a:srgbClr val="55A5AB">
                  <a:alpha val="60000"/>
                </a:srgbClr>
              </a:solidFill>
              <a:round/>
            </a:ln>
            <a:effectLst/>
          </c:spPr>
          <c:marker>
            <c:symbol val="none"/>
          </c:marker>
          <c:cat>
            <c:strRef>
              <c:f>主流省份电价!$BA$6:$BA$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BG$6:$BG$371</c:f>
              <c:numCache>
                <c:formatCode>#,##0.00_);[Red]\(#,##0.00\)</c:formatCode>
                <c:ptCount val="366"/>
                <c:pt idx="0">
                  <c:v>0.49666666666666665</c:v>
                </c:pt>
                <c:pt idx="1">
                  <c:v>0.49666666666666665</c:v>
                </c:pt>
                <c:pt idx="2">
                  <c:v>0.49666666666666665</c:v>
                </c:pt>
                <c:pt idx="3">
                  <c:v>0.49666666666666665</c:v>
                </c:pt>
                <c:pt idx="4">
                  <c:v>0.49666666666666665</c:v>
                </c:pt>
                <c:pt idx="5">
                  <c:v>0.49666666666666665</c:v>
                </c:pt>
                <c:pt idx="6">
                  <c:v>0.49666666666666665</c:v>
                </c:pt>
                <c:pt idx="7">
                  <c:v>0.49666666666666665</c:v>
                </c:pt>
                <c:pt idx="8">
                  <c:v>0.49666666666666665</c:v>
                </c:pt>
                <c:pt idx="9">
                  <c:v>0.49666666666666665</c:v>
                </c:pt>
                <c:pt idx="10">
                  <c:v>0.49666666666666665</c:v>
                </c:pt>
                <c:pt idx="11">
                  <c:v>0.49666666666666665</c:v>
                </c:pt>
                <c:pt idx="12">
                  <c:v>0.49666666666666665</c:v>
                </c:pt>
                <c:pt idx="13">
                  <c:v>0.49666666666666665</c:v>
                </c:pt>
                <c:pt idx="14">
                  <c:v>0.49666666666666665</c:v>
                </c:pt>
                <c:pt idx="15">
                  <c:v>0.49666666666666665</c:v>
                </c:pt>
                <c:pt idx="16">
                  <c:v>0.49666666666666665</c:v>
                </c:pt>
                <c:pt idx="17">
                  <c:v>0.49666666666666665</c:v>
                </c:pt>
                <c:pt idx="18">
                  <c:v>0.49666666666666665</c:v>
                </c:pt>
                <c:pt idx="19">
                  <c:v>0.49666666666666665</c:v>
                </c:pt>
                <c:pt idx="20">
                  <c:v>0.49666666666666665</c:v>
                </c:pt>
                <c:pt idx="21">
                  <c:v>0.49666666666666665</c:v>
                </c:pt>
                <c:pt idx="22">
                  <c:v>0.49666666666666665</c:v>
                </c:pt>
                <c:pt idx="23">
                  <c:v>0.49666666666666665</c:v>
                </c:pt>
                <c:pt idx="24">
                  <c:v>0.49666666666666665</c:v>
                </c:pt>
                <c:pt idx="25">
                  <c:v>0.49666666666666665</c:v>
                </c:pt>
                <c:pt idx="26">
                  <c:v>0.49666666666666665</c:v>
                </c:pt>
                <c:pt idx="27">
                  <c:v>0.49666666666666665</c:v>
                </c:pt>
                <c:pt idx="28">
                  <c:v>0.49666666666666665</c:v>
                </c:pt>
                <c:pt idx="29">
                  <c:v>0.49666666666666665</c:v>
                </c:pt>
                <c:pt idx="30">
                  <c:v>0.49666666666666665</c:v>
                </c:pt>
                <c:pt idx="31">
                  <c:v>0.49666666666666665</c:v>
                </c:pt>
                <c:pt idx="32">
                  <c:v>0.49666666666666665</c:v>
                </c:pt>
                <c:pt idx="33">
                  <c:v>0.49666666666666665</c:v>
                </c:pt>
                <c:pt idx="34">
                  <c:v>0.49666666666666665</c:v>
                </c:pt>
                <c:pt idx="35">
                  <c:v>0.49666666666666665</c:v>
                </c:pt>
                <c:pt idx="36">
                  <c:v>0.49666666666666665</c:v>
                </c:pt>
                <c:pt idx="37">
                  <c:v>0.49666666666666665</c:v>
                </c:pt>
                <c:pt idx="38">
                  <c:v>0.49666666666666665</c:v>
                </c:pt>
                <c:pt idx="39">
                  <c:v>0.49666666666666665</c:v>
                </c:pt>
                <c:pt idx="40">
                  <c:v>0.49666666666666665</c:v>
                </c:pt>
                <c:pt idx="41">
                  <c:v>0.49666666666666665</c:v>
                </c:pt>
                <c:pt idx="42">
                  <c:v>0.49666666666666665</c:v>
                </c:pt>
                <c:pt idx="43">
                  <c:v>0.49666666666666665</c:v>
                </c:pt>
                <c:pt idx="44">
                  <c:v>0.49666666666666665</c:v>
                </c:pt>
                <c:pt idx="45">
                  <c:v>0.49666666666666665</c:v>
                </c:pt>
                <c:pt idx="46">
                  <c:v>0.49666666666666665</c:v>
                </c:pt>
                <c:pt idx="47">
                  <c:v>0.49666666666666665</c:v>
                </c:pt>
                <c:pt idx="48">
                  <c:v>0.49666666666666665</c:v>
                </c:pt>
                <c:pt idx="49">
                  <c:v>0.49666666666666665</c:v>
                </c:pt>
                <c:pt idx="50">
                  <c:v>0.49666666666666665</c:v>
                </c:pt>
                <c:pt idx="51">
                  <c:v>0.49666666666666665</c:v>
                </c:pt>
                <c:pt idx="52">
                  <c:v>0.49666666666666665</c:v>
                </c:pt>
                <c:pt idx="53">
                  <c:v>0.49666666666666665</c:v>
                </c:pt>
                <c:pt idx="54">
                  <c:v>0.49666666666666665</c:v>
                </c:pt>
                <c:pt idx="55">
                  <c:v>0.49666666666666665</c:v>
                </c:pt>
                <c:pt idx="56">
                  <c:v>0.49666666666666665</c:v>
                </c:pt>
                <c:pt idx="57">
                  <c:v>0.49666666666666665</c:v>
                </c:pt>
                <c:pt idx="58">
                  <c:v>0.49666666666666665</c:v>
                </c:pt>
                <c:pt idx="60">
                  <c:v>0.49666666666666665</c:v>
                </c:pt>
                <c:pt idx="61">
                  <c:v>0.49666666666666665</c:v>
                </c:pt>
                <c:pt idx="62">
                  <c:v>0.49666666666666665</c:v>
                </c:pt>
                <c:pt idx="63">
                  <c:v>0.49666666666666665</c:v>
                </c:pt>
                <c:pt idx="64">
                  <c:v>0.49666666666666665</c:v>
                </c:pt>
                <c:pt idx="65">
                  <c:v>0.49666666666666665</c:v>
                </c:pt>
                <c:pt idx="66">
                  <c:v>0.49666666666666665</c:v>
                </c:pt>
                <c:pt idx="67">
                  <c:v>0.49666666666666665</c:v>
                </c:pt>
                <c:pt idx="68">
                  <c:v>0.49666666666666665</c:v>
                </c:pt>
                <c:pt idx="69">
                  <c:v>0.49666666666666665</c:v>
                </c:pt>
                <c:pt idx="70">
                  <c:v>0.49666666666666665</c:v>
                </c:pt>
                <c:pt idx="71">
                  <c:v>0.49666666666666665</c:v>
                </c:pt>
                <c:pt idx="72">
                  <c:v>0.49666666666666665</c:v>
                </c:pt>
                <c:pt idx="73">
                  <c:v>0.49666666666666665</c:v>
                </c:pt>
                <c:pt idx="74">
                  <c:v>0.49666666666666665</c:v>
                </c:pt>
                <c:pt idx="75">
                  <c:v>0.49666666666666665</c:v>
                </c:pt>
                <c:pt idx="76">
                  <c:v>0.49666666666666665</c:v>
                </c:pt>
                <c:pt idx="77">
                  <c:v>0.49666666666666665</c:v>
                </c:pt>
                <c:pt idx="78">
                  <c:v>0.49666666666666665</c:v>
                </c:pt>
                <c:pt idx="79">
                  <c:v>0.49666666666666665</c:v>
                </c:pt>
                <c:pt idx="80">
                  <c:v>0.49666666666666665</c:v>
                </c:pt>
                <c:pt idx="81">
                  <c:v>0.49666666666666665</c:v>
                </c:pt>
                <c:pt idx="82">
                  <c:v>0.49666666666666665</c:v>
                </c:pt>
                <c:pt idx="83">
                  <c:v>0.49666666666666665</c:v>
                </c:pt>
                <c:pt idx="84">
                  <c:v>0.49666666666666665</c:v>
                </c:pt>
                <c:pt idx="85">
                  <c:v>0.49666666666666665</c:v>
                </c:pt>
                <c:pt idx="86">
                  <c:v>0.49666666666666665</c:v>
                </c:pt>
                <c:pt idx="87">
                  <c:v>0.49666666666666665</c:v>
                </c:pt>
                <c:pt idx="88">
                  <c:v>0.49666666666666665</c:v>
                </c:pt>
                <c:pt idx="89">
                  <c:v>0.49666666666666665</c:v>
                </c:pt>
                <c:pt idx="90">
                  <c:v>0.49666666666666665</c:v>
                </c:pt>
                <c:pt idx="91">
                  <c:v>0.49666666666666665</c:v>
                </c:pt>
                <c:pt idx="92">
                  <c:v>0.49666666666666665</c:v>
                </c:pt>
                <c:pt idx="93">
                  <c:v>0.49666666666666665</c:v>
                </c:pt>
                <c:pt idx="94">
                  <c:v>0.49666666666666665</c:v>
                </c:pt>
                <c:pt idx="95">
                  <c:v>0.49666666666666665</c:v>
                </c:pt>
                <c:pt idx="96">
                  <c:v>0.49666666666666665</c:v>
                </c:pt>
                <c:pt idx="97">
                  <c:v>0.49666666666666665</c:v>
                </c:pt>
                <c:pt idx="98">
                  <c:v>0.49666666666666665</c:v>
                </c:pt>
                <c:pt idx="99">
                  <c:v>0.49666666666666665</c:v>
                </c:pt>
                <c:pt idx="100">
                  <c:v>0.49666666666666665</c:v>
                </c:pt>
                <c:pt idx="101">
                  <c:v>0.49666666666666665</c:v>
                </c:pt>
                <c:pt idx="102">
                  <c:v>0.49666666666666665</c:v>
                </c:pt>
                <c:pt idx="103">
                  <c:v>0.49666666666666665</c:v>
                </c:pt>
                <c:pt idx="104">
                  <c:v>0.49666666666666665</c:v>
                </c:pt>
                <c:pt idx="105">
                  <c:v>0.49666666666666665</c:v>
                </c:pt>
                <c:pt idx="106">
                  <c:v>0.49666666666666665</c:v>
                </c:pt>
                <c:pt idx="107">
                  <c:v>0.49666666666666665</c:v>
                </c:pt>
                <c:pt idx="108">
                  <c:v>0.49666666666666665</c:v>
                </c:pt>
                <c:pt idx="109">
                  <c:v>0.49666666666666665</c:v>
                </c:pt>
                <c:pt idx="110">
                  <c:v>0.49666666666666665</c:v>
                </c:pt>
                <c:pt idx="111">
                  <c:v>0.49333333333333335</c:v>
                </c:pt>
                <c:pt idx="112">
                  <c:v>0.49333333333333335</c:v>
                </c:pt>
                <c:pt idx="113">
                  <c:v>0.49333333333333335</c:v>
                </c:pt>
                <c:pt idx="114">
                  <c:v>0.49333333333333335</c:v>
                </c:pt>
                <c:pt idx="115">
                  <c:v>0.49333333333333335</c:v>
                </c:pt>
                <c:pt idx="116">
                  <c:v>0.49333333333333335</c:v>
                </c:pt>
                <c:pt idx="117">
                  <c:v>0.49333333333333335</c:v>
                </c:pt>
                <c:pt idx="118">
                  <c:v>0.49333333333333335</c:v>
                </c:pt>
                <c:pt idx="119">
                  <c:v>0.49333333333333335</c:v>
                </c:pt>
                <c:pt idx="120">
                  <c:v>0.49333333333333335</c:v>
                </c:pt>
                <c:pt idx="121">
                  <c:v>0.49333333333333335</c:v>
                </c:pt>
                <c:pt idx="122">
                  <c:v>0.49333333333333335</c:v>
                </c:pt>
                <c:pt idx="123">
                  <c:v>0.49333333333333335</c:v>
                </c:pt>
                <c:pt idx="124">
                  <c:v>0.49333333333333335</c:v>
                </c:pt>
                <c:pt idx="125">
                  <c:v>0.49333333333333335</c:v>
                </c:pt>
                <c:pt idx="126">
                  <c:v>0.49333333333333335</c:v>
                </c:pt>
                <c:pt idx="127">
                  <c:v>0.49333333333333335</c:v>
                </c:pt>
                <c:pt idx="128">
                  <c:v>0.49333333333333335</c:v>
                </c:pt>
                <c:pt idx="129">
                  <c:v>0.49333333333333335</c:v>
                </c:pt>
                <c:pt idx="130">
                  <c:v>0.49333333333333335</c:v>
                </c:pt>
                <c:pt idx="131">
                  <c:v>0.49333333333333335</c:v>
                </c:pt>
                <c:pt idx="132">
                  <c:v>0.49333333333333335</c:v>
                </c:pt>
                <c:pt idx="133">
                  <c:v>0.49333333333333335</c:v>
                </c:pt>
                <c:pt idx="134">
                  <c:v>0.49333333333333335</c:v>
                </c:pt>
                <c:pt idx="135">
                  <c:v>0.49333333333333335</c:v>
                </c:pt>
                <c:pt idx="136">
                  <c:v>0.49333333333333335</c:v>
                </c:pt>
                <c:pt idx="137">
                  <c:v>0.49333333333333335</c:v>
                </c:pt>
                <c:pt idx="138">
                  <c:v>0.49333333333333335</c:v>
                </c:pt>
                <c:pt idx="139">
                  <c:v>0.49333333333333335</c:v>
                </c:pt>
                <c:pt idx="140">
                  <c:v>0.49333333333333335</c:v>
                </c:pt>
                <c:pt idx="141">
                  <c:v>0.49333333333333335</c:v>
                </c:pt>
                <c:pt idx="142">
                  <c:v>0.49333333333333335</c:v>
                </c:pt>
                <c:pt idx="143">
                  <c:v>0.49333333333333335</c:v>
                </c:pt>
                <c:pt idx="144">
                  <c:v>0.49333333333333335</c:v>
                </c:pt>
                <c:pt idx="145">
                  <c:v>0.49333333333333335</c:v>
                </c:pt>
                <c:pt idx="146">
                  <c:v>0.49333333333333335</c:v>
                </c:pt>
                <c:pt idx="147">
                  <c:v>0.49333333333333335</c:v>
                </c:pt>
                <c:pt idx="148">
                  <c:v>0.49333333333333335</c:v>
                </c:pt>
                <c:pt idx="149">
                  <c:v>0.49333333333333335</c:v>
                </c:pt>
                <c:pt idx="150">
                  <c:v>0.49333333333333335</c:v>
                </c:pt>
                <c:pt idx="151">
                  <c:v>0.49333333333333335</c:v>
                </c:pt>
                <c:pt idx="152">
                  <c:v>0.49333333333333335</c:v>
                </c:pt>
                <c:pt idx="153">
                  <c:v>0.49333333333333335</c:v>
                </c:pt>
                <c:pt idx="154">
                  <c:v>0.49333333333333335</c:v>
                </c:pt>
                <c:pt idx="155">
                  <c:v>0.49333333333333335</c:v>
                </c:pt>
                <c:pt idx="156">
                  <c:v>0.45333333333333331</c:v>
                </c:pt>
                <c:pt idx="157">
                  <c:v>0.45333333333333331</c:v>
                </c:pt>
                <c:pt idx="158">
                  <c:v>0.45333333333333331</c:v>
                </c:pt>
                <c:pt idx="159">
                  <c:v>0.45333333333333331</c:v>
                </c:pt>
                <c:pt idx="160">
                  <c:v>0.45333333333333331</c:v>
                </c:pt>
                <c:pt idx="161">
                  <c:v>0.45333333333333331</c:v>
                </c:pt>
                <c:pt idx="162">
                  <c:v>0.45333333333333331</c:v>
                </c:pt>
                <c:pt idx="163">
                  <c:v>0.45333333333333331</c:v>
                </c:pt>
                <c:pt idx="164">
                  <c:v>0.45333333333333331</c:v>
                </c:pt>
                <c:pt idx="165">
                  <c:v>0.41333333333333333</c:v>
                </c:pt>
                <c:pt idx="166">
                  <c:v>0.41333333333333333</c:v>
                </c:pt>
                <c:pt idx="167">
                  <c:v>0.41333333333333333</c:v>
                </c:pt>
                <c:pt idx="168">
                  <c:v>0.41333333333333333</c:v>
                </c:pt>
                <c:pt idx="169">
                  <c:v>0.41333333333333333</c:v>
                </c:pt>
                <c:pt idx="170">
                  <c:v>0.41333333333333333</c:v>
                </c:pt>
                <c:pt idx="171">
                  <c:v>0.41333333333333333</c:v>
                </c:pt>
                <c:pt idx="172">
                  <c:v>0.41333333333333333</c:v>
                </c:pt>
                <c:pt idx="173">
                  <c:v>0.41333333333333333</c:v>
                </c:pt>
                <c:pt idx="174">
                  <c:v>0.41333333333333333</c:v>
                </c:pt>
                <c:pt idx="175">
                  <c:v>0.41333333333333333</c:v>
                </c:pt>
                <c:pt idx="176">
                  <c:v>0.41333333333333333</c:v>
                </c:pt>
                <c:pt idx="177">
                  <c:v>0.41333333333333333</c:v>
                </c:pt>
                <c:pt idx="178">
                  <c:v>0.41333333333333333</c:v>
                </c:pt>
                <c:pt idx="179">
                  <c:v>0.41333333333333333</c:v>
                </c:pt>
                <c:pt idx="180">
                  <c:v>0.41333333333333333</c:v>
                </c:pt>
                <c:pt idx="181">
                  <c:v>0.41333333333333333</c:v>
                </c:pt>
                <c:pt idx="182">
                  <c:v>0.41333333333333333</c:v>
                </c:pt>
                <c:pt idx="183">
                  <c:v>0.41333333333333333</c:v>
                </c:pt>
                <c:pt idx="184">
                  <c:v>0.41333333333333333</c:v>
                </c:pt>
                <c:pt idx="185">
                  <c:v>0.41333333333333333</c:v>
                </c:pt>
                <c:pt idx="186">
                  <c:v>0.41333333333333333</c:v>
                </c:pt>
                <c:pt idx="187">
                  <c:v>0.41333333333333333</c:v>
                </c:pt>
                <c:pt idx="188">
                  <c:v>0.38000000000000006</c:v>
                </c:pt>
                <c:pt idx="189">
                  <c:v>0.38000000000000006</c:v>
                </c:pt>
                <c:pt idx="190">
                  <c:v>0.38000000000000006</c:v>
                </c:pt>
                <c:pt idx="191">
                  <c:v>0.38000000000000006</c:v>
                </c:pt>
                <c:pt idx="192">
                  <c:v>0.38000000000000006</c:v>
                </c:pt>
                <c:pt idx="193">
                  <c:v>0.38000000000000006</c:v>
                </c:pt>
                <c:pt idx="194">
                  <c:v>0.38000000000000006</c:v>
                </c:pt>
                <c:pt idx="195">
                  <c:v>0.38000000000000006</c:v>
                </c:pt>
                <c:pt idx="196">
                  <c:v>0.38000000000000006</c:v>
                </c:pt>
                <c:pt idx="197">
                  <c:v>0.38000000000000006</c:v>
                </c:pt>
                <c:pt idx="198">
                  <c:v>0.38000000000000006</c:v>
                </c:pt>
                <c:pt idx="199">
                  <c:v>0.38000000000000006</c:v>
                </c:pt>
                <c:pt idx="200">
                  <c:v>0.38000000000000006</c:v>
                </c:pt>
                <c:pt idx="201">
                  <c:v>0.38000000000000006</c:v>
                </c:pt>
                <c:pt idx="202">
                  <c:v>0.38000000000000006</c:v>
                </c:pt>
                <c:pt idx="203">
                  <c:v>0.38000000000000006</c:v>
                </c:pt>
                <c:pt idx="204">
                  <c:v>0.38000000000000006</c:v>
                </c:pt>
                <c:pt idx="205">
                  <c:v>0.38000000000000006</c:v>
                </c:pt>
                <c:pt idx="206">
                  <c:v>0.38000000000000006</c:v>
                </c:pt>
                <c:pt idx="207">
                  <c:v>0.38000000000000006</c:v>
                </c:pt>
                <c:pt idx="208">
                  <c:v>0.38000000000000006</c:v>
                </c:pt>
                <c:pt idx="209">
                  <c:v>0.38000000000000006</c:v>
                </c:pt>
                <c:pt idx="210">
                  <c:v>0.38000000000000006</c:v>
                </c:pt>
                <c:pt idx="211">
                  <c:v>0.38000000000000006</c:v>
                </c:pt>
                <c:pt idx="212">
                  <c:v>0.38000000000000006</c:v>
                </c:pt>
                <c:pt idx="213">
                  <c:v>0.38000000000000006</c:v>
                </c:pt>
                <c:pt idx="214">
                  <c:v>0.38000000000000006</c:v>
                </c:pt>
                <c:pt idx="215">
                  <c:v>0.38000000000000006</c:v>
                </c:pt>
                <c:pt idx="216">
                  <c:v>0.38000000000000006</c:v>
                </c:pt>
                <c:pt idx="217">
                  <c:v>0.38000000000000006</c:v>
                </c:pt>
                <c:pt idx="218">
                  <c:v>0.38000000000000006</c:v>
                </c:pt>
                <c:pt idx="219">
                  <c:v>0.38000000000000006</c:v>
                </c:pt>
                <c:pt idx="220">
                  <c:v>0.38000000000000006</c:v>
                </c:pt>
                <c:pt idx="221">
                  <c:v>0.38000000000000006</c:v>
                </c:pt>
                <c:pt idx="222">
                  <c:v>0.38000000000000006</c:v>
                </c:pt>
                <c:pt idx="223">
                  <c:v>0.38000000000000006</c:v>
                </c:pt>
                <c:pt idx="224">
                  <c:v>0.38000000000000006</c:v>
                </c:pt>
                <c:pt idx="225">
                  <c:v>0.38000000000000006</c:v>
                </c:pt>
                <c:pt idx="226">
                  <c:v>0.38000000000000006</c:v>
                </c:pt>
                <c:pt idx="227">
                  <c:v>0.38000000000000006</c:v>
                </c:pt>
                <c:pt idx="228">
                  <c:v>0.38000000000000006</c:v>
                </c:pt>
                <c:pt idx="229">
                  <c:v>#N/A</c:v>
                </c:pt>
                <c:pt idx="230">
                  <c:v>#N/A</c:v>
                </c:pt>
                <c:pt idx="231">
                  <c:v>#N/A</c:v>
                </c:pt>
                <c:pt idx="232">
                  <c:v>#N/A</c:v>
                </c:pt>
                <c:pt idx="233">
                  <c:v>0.38000000000000006</c:v>
                </c:pt>
                <c:pt idx="234">
                  <c:v>0.38000000000000006</c:v>
                </c:pt>
                <c:pt idx="235">
                  <c:v>0.38000000000000006</c:v>
                </c:pt>
                <c:pt idx="236">
                  <c:v>0.38000000000000006</c:v>
                </c:pt>
                <c:pt idx="237">
                  <c:v>0.38000000000000006</c:v>
                </c:pt>
                <c:pt idx="238">
                  <c:v>0.38000000000000006</c:v>
                </c:pt>
                <c:pt idx="239">
                  <c:v>0.38000000000000006</c:v>
                </c:pt>
                <c:pt idx="240">
                  <c:v>0.38000000000000006</c:v>
                </c:pt>
                <c:pt idx="241">
                  <c:v>0.38000000000000006</c:v>
                </c:pt>
                <c:pt idx="242">
                  <c:v>0.38000000000000006</c:v>
                </c:pt>
                <c:pt idx="243">
                  <c:v>0.38000000000000006</c:v>
                </c:pt>
                <c:pt idx="244">
                  <c:v>0.38000000000000006</c:v>
                </c:pt>
                <c:pt idx="245">
                  <c:v>0.38000000000000006</c:v>
                </c:pt>
                <c:pt idx="246">
                  <c:v>0.38000000000000006</c:v>
                </c:pt>
                <c:pt idx="247">
                  <c:v>0.38000000000000006</c:v>
                </c:pt>
                <c:pt idx="248">
                  <c:v>0.38000000000000006</c:v>
                </c:pt>
                <c:pt idx="249">
                  <c:v>0.38000000000000006</c:v>
                </c:pt>
                <c:pt idx="250">
                  <c:v>0.38000000000000006</c:v>
                </c:pt>
                <c:pt idx="251">
                  <c:v>0.38000000000000006</c:v>
                </c:pt>
                <c:pt idx="252">
                  <c:v>0.38000000000000006</c:v>
                </c:pt>
                <c:pt idx="253">
                  <c:v>0.38000000000000006</c:v>
                </c:pt>
                <c:pt idx="254">
                  <c:v>0.38000000000000006</c:v>
                </c:pt>
                <c:pt idx="255">
                  <c:v>0.38000000000000006</c:v>
                </c:pt>
                <c:pt idx="256">
                  <c:v>0.38000000000000006</c:v>
                </c:pt>
                <c:pt idx="257">
                  <c:v>0.38000000000000006</c:v>
                </c:pt>
                <c:pt idx="258">
                  <c:v>0.38000000000000006</c:v>
                </c:pt>
                <c:pt idx="259">
                  <c:v>0.38000000000000006</c:v>
                </c:pt>
                <c:pt idx="260">
                  <c:v>0.38000000000000006</c:v>
                </c:pt>
                <c:pt idx="261">
                  <c:v>0.38000000000000006</c:v>
                </c:pt>
                <c:pt idx="262">
                  <c:v>0.38000000000000006</c:v>
                </c:pt>
                <c:pt idx="263">
                  <c:v>0.38000000000000006</c:v>
                </c:pt>
                <c:pt idx="264">
                  <c:v>0.38000000000000006</c:v>
                </c:pt>
                <c:pt idx="265">
                  <c:v>0.38000000000000006</c:v>
                </c:pt>
                <c:pt idx="266">
                  <c:v>0.38000000000000006</c:v>
                </c:pt>
                <c:pt idx="267">
                  <c:v>0.38000000000000006</c:v>
                </c:pt>
                <c:pt idx="268">
                  <c:v>0.38000000000000006</c:v>
                </c:pt>
                <c:pt idx="269">
                  <c:v>0.38000000000000006</c:v>
                </c:pt>
                <c:pt idx="270">
                  <c:v>0.38000000000000006</c:v>
                </c:pt>
                <c:pt idx="271">
                  <c:v>0.38000000000000006</c:v>
                </c:pt>
                <c:pt idx="272">
                  <c:v>0.38000000000000006</c:v>
                </c:pt>
                <c:pt idx="273">
                  <c:v>0.38000000000000006</c:v>
                </c:pt>
                <c:pt idx="274">
                  <c:v>0.38000000000000006</c:v>
                </c:pt>
                <c:pt idx="275">
                  <c:v>0.38000000000000006</c:v>
                </c:pt>
                <c:pt idx="276">
                  <c:v>0.38000000000000006</c:v>
                </c:pt>
                <c:pt idx="277">
                  <c:v>0.38000000000000006</c:v>
                </c:pt>
                <c:pt idx="278">
                  <c:v>0.38000000000000006</c:v>
                </c:pt>
                <c:pt idx="279">
                  <c:v>0.38000000000000006</c:v>
                </c:pt>
                <c:pt idx="280">
                  <c:v>0.38000000000000006</c:v>
                </c:pt>
                <c:pt idx="281">
                  <c:v>0.38000000000000006</c:v>
                </c:pt>
                <c:pt idx="282">
                  <c:v>0.38000000000000006</c:v>
                </c:pt>
                <c:pt idx="283">
                  <c:v>0.38000000000000006</c:v>
                </c:pt>
                <c:pt idx="284">
                  <c:v>0.38000000000000006</c:v>
                </c:pt>
                <c:pt idx="285">
                  <c:v>0.38000000000000006</c:v>
                </c:pt>
                <c:pt idx="286">
                  <c:v>0.40000000000000008</c:v>
                </c:pt>
                <c:pt idx="287">
                  <c:v>0.40000000000000008</c:v>
                </c:pt>
                <c:pt idx="288">
                  <c:v>0.40000000000000008</c:v>
                </c:pt>
                <c:pt idx="289">
                  <c:v>0.40000000000000008</c:v>
                </c:pt>
                <c:pt idx="290">
                  <c:v>0.40000000000000008</c:v>
                </c:pt>
                <c:pt idx="291">
                  <c:v>0.40000000000000008</c:v>
                </c:pt>
                <c:pt idx="292">
                  <c:v>0.40000000000000008</c:v>
                </c:pt>
                <c:pt idx="293">
                  <c:v>0.40000000000000008</c:v>
                </c:pt>
                <c:pt idx="294">
                  <c:v>0.40000000000000008</c:v>
                </c:pt>
                <c:pt idx="295">
                  <c:v>0.40000000000000008</c:v>
                </c:pt>
                <c:pt idx="296">
                  <c:v>0.40000000000000008</c:v>
                </c:pt>
                <c:pt idx="297">
                  <c:v>0.40000000000000008</c:v>
                </c:pt>
                <c:pt idx="298">
                  <c:v>0.40000000000000008</c:v>
                </c:pt>
                <c:pt idx="299">
                  <c:v>0.40000000000000008</c:v>
                </c:pt>
                <c:pt idx="300">
                  <c:v>0.40000000000000008</c:v>
                </c:pt>
                <c:pt idx="301">
                  <c:v>0.40000000000000008</c:v>
                </c:pt>
                <c:pt idx="302">
                  <c:v>0.40000000000000008</c:v>
                </c:pt>
                <c:pt idx="303">
                  <c:v>0.40000000000000008</c:v>
                </c:pt>
                <c:pt idx="304">
                  <c:v>0.40000000000000008</c:v>
                </c:pt>
                <c:pt idx="305">
                  <c:v>0.40000000000000008</c:v>
                </c:pt>
                <c:pt idx="306">
                  <c:v>0.40000000000000008</c:v>
                </c:pt>
                <c:pt idx="307">
                  <c:v>0.49666666666666665</c:v>
                </c:pt>
                <c:pt idx="308">
                  <c:v>0.49666666666666665</c:v>
                </c:pt>
                <c:pt idx="309">
                  <c:v>0.49666666666666665</c:v>
                </c:pt>
                <c:pt idx="310">
                  <c:v>0.49666666666666665</c:v>
                </c:pt>
                <c:pt idx="311">
                  <c:v>0.49666666666666665</c:v>
                </c:pt>
                <c:pt idx="312">
                  <c:v>0.49666666666666665</c:v>
                </c:pt>
                <c:pt idx="313">
                  <c:v>0.49666666666666665</c:v>
                </c:pt>
                <c:pt idx="314">
                  <c:v>0.49666666666666665</c:v>
                </c:pt>
                <c:pt idx="315">
                  <c:v>0.49666666666666665</c:v>
                </c:pt>
                <c:pt idx="316">
                  <c:v>0.49666666666666665</c:v>
                </c:pt>
                <c:pt idx="317">
                  <c:v>0.49666666666666665</c:v>
                </c:pt>
                <c:pt idx="318">
                  <c:v>0.49666666666666665</c:v>
                </c:pt>
                <c:pt idx="319">
                  <c:v>0.49666666666666665</c:v>
                </c:pt>
                <c:pt idx="320">
                  <c:v>0.49666666666666665</c:v>
                </c:pt>
                <c:pt idx="321">
                  <c:v>0.49666666666666665</c:v>
                </c:pt>
                <c:pt idx="322">
                  <c:v>0.49666666666666665</c:v>
                </c:pt>
                <c:pt idx="323">
                  <c:v>0.49666666666666665</c:v>
                </c:pt>
                <c:pt idx="324">
                  <c:v>0.49666666666666665</c:v>
                </c:pt>
                <c:pt idx="325">
                  <c:v>0.49666666666666665</c:v>
                </c:pt>
                <c:pt idx="326">
                  <c:v>0.49666666666666665</c:v>
                </c:pt>
                <c:pt idx="327">
                  <c:v>0.49666666666666665</c:v>
                </c:pt>
                <c:pt idx="328">
                  <c:v>0.49666666666666665</c:v>
                </c:pt>
                <c:pt idx="329">
                  <c:v>0.49666666666666665</c:v>
                </c:pt>
                <c:pt idx="330">
                  <c:v>0.49666666666666665</c:v>
                </c:pt>
                <c:pt idx="331">
                  <c:v>0.49666666666666665</c:v>
                </c:pt>
                <c:pt idx="332">
                  <c:v>0.49666666666666665</c:v>
                </c:pt>
                <c:pt idx="333">
                  <c:v>0.49666666666666665</c:v>
                </c:pt>
                <c:pt idx="334">
                  <c:v>0.49666666666666665</c:v>
                </c:pt>
                <c:pt idx="335">
                  <c:v>0.49666666666666665</c:v>
                </c:pt>
                <c:pt idx="336">
                  <c:v>0.49666666666666665</c:v>
                </c:pt>
                <c:pt idx="337">
                  <c:v>0.49666666666666665</c:v>
                </c:pt>
                <c:pt idx="338">
                  <c:v>0.49666666666666665</c:v>
                </c:pt>
                <c:pt idx="339">
                  <c:v>0.49666666666666665</c:v>
                </c:pt>
                <c:pt idx="340">
                  <c:v>0.49666666666666665</c:v>
                </c:pt>
                <c:pt idx="341">
                  <c:v>0.49666666666666665</c:v>
                </c:pt>
                <c:pt idx="342">
                  <c:v>0.49666666666666665</c:v>
                </c:pt>
                <c:pt idx="343">
                  <c:v>0.49666666666666665</c:v>
                </c:pt>
                <c:pt idx="344">
                  <c:v>0.49666666666666665</c:v>
                </c:pt>
                <c:pt idx="345">
                  <c:v>0.52</c:v>
                </c:pt>
                <c:pt idx="346">
                  <c:v>0.52</c:v>
                </c:pt>
                <c:pt idx="347">
                  <c:v>0.52</c:v>
                </c:pt>
                <c:pt idx="348">
                  <c:v>0.52</c:v>
                </c:pt>
                <c:pt idx="349">
                  <c:v>0.52</c:v>
                </c:pt>
                <c:pt idx="350">
                  <c:v>0.52</c:v>
                </c:pt>
                <c:pt idx="351">
                  <c:v>0.52</c:v>
                </c:pt>
                <c:pt idx="352">
                  <c:v>0.52</c:v>
                </c:pt>
                <c:pt idx="353">
                  <c:v>0.52</c:v>
                </c:pt>
                <c:pt idx="354">
                  <c:v>0.52</c:v>
                </c:pt>
                <c:pt idx="355">
                  <c:v>0.52</c:v>
                </c:pt>
                <c:pt idx="356">
                  <c:v>0.52</c:v>
                </c:pt>
                <c:pt idx="357">
                  <c:v>0.52</c:v>
                </c:pt>
                <c:pt idx="358">
                  <c:v>0.52</c:v>
                </c:pt>
                <c:pt idx="359">
                  <c:v>0.52</c:v>
                </c:pt>
                <c:pt idx="360">
                  <c:v>0.52</c:v>
                </c:pt>
                <c:pt idx="361">
                  <c:v>0.52</c:v>
                </c:pt>
                <c:pt idx="362">
                  <c:v>0.52</c:v>
                </c:pt>
                <c:pt idx="363">
                  <c:v>0.52</c:v>
                </c:pt>
                <c:pt idx="364">
                  <c:v>0.52</c:v>
                </c:pt>
                <c:pt idx="365">
                  <c:v>0.52</c:v>
                </c:pt>
              </c:numCache>
            </c:numRef>
          </c:val>
          <c:smooth val="0"/>
          <c:extLst>
            <c:ext xmlns:c16="http://schemas.microsoft.com/office/drawing/2014/chart" uri="{C3380CC4-5D6E-409C-BE32-E72D297353CC}">
              <c16:uniqueId val="{00000003-D711-480A-A078-CE5611A64EB8}"/>
            </c:ext>
          </c:extLst>
        </c:ser>
        <c:ser>
          <c:idx val="4"/>
          <c:order val="4"/>
          <c:tx>
            <c:strRef>
              <c:f>主流省份电价!$BH$5</c:f>
              <c:strCache>
                <c:ptCount val="1"/>
                <c:pt idx="0">
                  <c:v>2024</c:v>
                </c:pt>
              </c:strCache>
            </c:strRef>
          </c:tx>
          <c:spPr>
            <a:ln w="28575" cap="rnd">
              <a:solidFill>
                <a:schemeClr val="tx1"/>
              </a:solidFill>
              <a:round/>
            </a:ln>
            <a:effectLst/>
          </c:spPr>
          <c:marker>
            <c:symbol val="none"/>
          </c:marker>
          <c:cat>
            <c:strRef>
              <c:f>主流省份电价!$BA$6:$BA$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BH$6:$BH$371</c:f>
              <c:numCache>
                <c:formatCode>#,##0.00_);[Red]\(#,##0.00\)</c:formatCode>
                <c:ptCount val="366"/>
                <c:pt idx="0">
                  <c:v>0.52</c:v>
                </c:pt>
                <c:pt idx="1">
                  <c:v>0.52</c:v>
                </c:pt>
                <c:pt idx="2">
                  <c:v>0.52</c:v>
                </c:pt>
                <c:pt idx="3">
                  <c:v>0.52</c:v>
                </c:pt>
                <c:pt idx="4">
                  <c:v>0.52</c:v>
                </c:pt>
                <c:pt idx="5">
                  <c:v>0.52</c:v>
                </c:pt>
                <c:pt idx="6">
                  <c:v>0.52</c:v>
                </c:pt>
                <c:pt idx="7">
                  <c:v>0.52</c:v>
                </c:pt>
                <c:pt idx="8">
                  <c:v>0.52</c:v>
                </c:pt>
                <c:pt idx="9">
                  <c:v>0.52</c:v>
                </c:pt>
                <c:pt idx="10">
                  <c:v>0.52</c:v>
                </c:pt>
                <c:pt idx="11">
                  <c:v>0.53333333333333333</c:v>
                </c:pt>
                <c:pt idx="12">
                  <c:v>0.53333333333333333</c:v>
                </c:pt>
                <c:pt idx="13">
                  <c:v>0.53333333333333333</c:v>
                </c:pt>
                <c:pt idx="14">
                  <c:v>0.53333333333333333</c:v>
                </c:pt>
                <c:pt idx="15">
                  <c:v>0.53333333333333333</c:v>
                </c:pt>
                <c:pt idx="16">
                  <c:v>0.53333333333333333</c:v>
                </c:pt>
                <c:pt idx="17">
                  <c:v>0.53333333333333333</c:v>
                </c:pt>
                <c:pt idx="18">
                  <c:v>0.53333333333333333</c:v>
                </c:pt>
                <c:pt idx="19">
                  <c:v>0.53333333333333333</c:v>
                </c:pt>
                <c:pt idx="20">
                  <c:v>0.53333333333333333</c:v>
                </c:pt>
                <c:pt idx="21">
                  <c:v>0.53333333333333333</c:v>
                </c:pt>
                <c:pt idx="22">
                  <c:v>0.53333333333333333</c:v>
                </c:pt>
                <c:pt idx="23">
                  <c:v>0.53333333333333333</c:v>
                </c:pt>
                <c:pt idx="24">
                  <c:v>0.53333333333333333</c:v>
                </c:pt>
                <c:pt idx="25">
                  <c:v>0.53333333333333333</c:v>
                </c:pt>
                <c:pt idx="26">
                  <c:v>0.53333333333333333</c:v>
                </c:pt>
                <c:pt idx="27">
                  <c:v>0.53333333333333333</c:v>
                </c:pt>
                <c:pt idx="28">
                  <c:v>0.53333333333333333</c:v>
                </c:pt>
                <c:pt idx="29">
                  <c:v>0.53333333333333333</c:v>
                </c:pt>
                <c:pt idx="30">
                  <c:v>0.53333333333333333</c:v>
                </c:pt>
                <c:pt idx="31">
                  <c:v>0.53333333333333333</c:v>
                </c:pt>
                <c:pt idx="32">
                  <c:v>0.53333333333333333</c:v>
                </c:pt>
                <c:pt idx="33">
                  <c:v>0.53333333333333333</c:v>
                </c:pt>
                <c:pt idx="34">
                  <c:v>0.53333333333333333</c:v>
                </c:pt>
                <c:pt idx="35">
                  <c:v>0.53333333333333333</c:v>
                </c:pt>
                <c:pt idx="36">
                  <c:v>0.53333333333333333</c:v>
                </c:pt>
                <c:pt idx="37">
                  <c:v>0.53333333333333333</c:v>
                </c:pt>
                <c:pt idx="38">
                  <c:v>0.53333333333333333</c:v>
                </c:pt>
                <c:pt idx="39">
                  <c:v>0.53333333333333333</c:v>
                </c:pt>
                <c:pt idx="40">
                  <c:v>0.53333333333333333</c:v>
                </c:pt>
                <c:pt idx="41">
                  <c:v>0.53333333333333333</c:v>
                </c:pt>
                <c:pt idx="42">
                  <c:v>0.53333333333333333</c:v>
                </c:pt>
                <c:pt idx="43">
                  <c:v>0.53333333333333333</c:v>
                </c:pt>
                <c:pt idx="44">
                  <c:v>0.53333333333333333</c:v>
                </c:pt>
                <c:pt idx="45">
                  <c:v>0.53333333333333333</c:v>
                </c:pt>
                <c:pt idx="46">
                  <c:v>0.53333333333333333</c:v>
                </c:pt>
                <c:pt idx="47">
                  <c:v>0.53333333333333333</c:v>
                </c:pt>
                <c:pt idx="48">
                  <c:v>0.53333333333333333</c:v>
                </c:pt>
                <c:pt idx="49">
                  <c:v>0.53333333333333333</c:v>
                </c:pt>
                <c:pt idx="50">
                  <c:v>0.53333333333333333</c:v>
                </c:pt>
                <c:pt idx="51">
                  <c:v>0.53333333333333333</c:v>
                </c:pt>
                <c:pt idx="52">
                  <c:v>0.53333333333333333</c:v>
                </c:pt>
                <c:pt idx="53">
                  <c:v>0.53333333333333333</c:v>
                </c:pt>
                <c:pt idx="54">
                  <c:v>0.53333333333333333</c:v>
                </c:pt>
                <c:pt idx="55">
                  <c:v>0.53333333333333333</c:v>
                </c:pt>
                <c:pt idx="56">
                  <c:v>0.53333333333333333</c:v>
                </c:pt>
                <c:pt idx="57">
                  <c:v>0.53333333333333333</c:v>
                </c:pt>
                <c:pt idx="58">
                  <c:v>0.53333333333333333</c:v>
                </c:pt>
                <c:pt idx="59">
                  <c:v>0.53333333333333333</c:v>
                </c:pt>
                <c:pt idx="60">
                  <c:v>0.53333333333333333</c:v>
                </c:pt>
                <c:pt idx="61">
                  <c:v>0.53333333333333333</c:v>
                </c:pt>
                <c:pt idx="62">
                  <c:v>0.53333333333333333</c:v>
                </c:pt>
                <c:pt idx="63">
                  <c:v>0.53333333333333333</c:v>
                </c:pt>
                <c:pt idx="64">
                  <c:v>0.53333333333333333</c:v>
                </c:pt>
                <c:pt idx="65">
                  <c:v>0.53333333333333333</c:v>
                </c:pt>
                <c:pt idx="66">
                  <c:v>0.53333333333333333</c:v>
                </c:pt>
                <c:pt idx="67">
                  <c:v>0.53333333333333333</c:v>
                </c:pt>
                <c:pt idx="68">
                  <c:v>0.53333333333333333</c:v>
                </c:pt>
                <c:pt idx="69">
                  <c:v>0.53333333333333333</c:v>
                </c:pt>
                <c:pt idx="70">
                  <c:v>0.53333333333333333</c:v>
                </c:pt>
                <c:pt idx="71">
                  <c:v>0.53333333333333333</c:v>
                </c:pt>
                <c:pt idx="72">
                  <c:v>0.53333333333333333</c:v>
                </c:pt>
                <c:pt idx="73">
                  <c:v>0.53333333333333333</c:v>
                </c:pt>
                <c:pt idx="74">
                  <c:v>0.53333333333333333</c:v>
                </c:pt>
                <c:pt idx="75">
                  <c:v>0.53333333333333333</c:v>
                </c:pt>
                <c:pt idx="76">
                  <c:v>0.53333333333333333</c:v>
                </c:pt>
                <c:pt idx="77">
                  <c:v>0.53333333333333333</c:v>
                </c:pt>
                <c:pt idx="78">
                  <c:v>0.53333333333333333</c:v>
                </c:pt>
                <c:pt idx="79">
                  <c:v>0.53333333333333333</c:v>
                </c:pt>
                <c:pt idx="80">
                  <c:v>0.53333333333333333</c:v>
                </c:pt>
                <c:pt idx="81">
                  <c:v>0.53333333333333333</c:v>
                </c:pt>
                <c:pt idx="82">
                  <c:v>0.53333333333333333</c:v>
                </c:pt>
                <c:pt idx="83">
                  <c:v>0.53333333333333333</c:v>
                </c:pt>
                <c:pt idx="84">
                  <c:v>0.53333333333333333</c:v>
                </c:pt>
                <c:pt idx="85">
                  <c:v>0.53333333333333333</c:v>
                </c:pt>
                <c:pt idx="86">
                  <c:v>0.53333333333333333</c:v>
                </c:pt>
                <c:pt idx="87">
                  <c:v>0.53333333333333333</c:v>
                </c:pt>
                <c:pt idx="88">
                  <c:v>0.53333333333333333</c:v>
                </c:pt>
                <c:pt idx="89">
                  <c:v>0.53333333333333333</c:v>
                </c:pt>
                <c:pt idx="90">
                  <c:v>0.53333333333333333</c:v>
                </c:pt>
                <c:pt idx="91">
                  <c:v>0.53333333333333333</c:v>
                </c:pt>
                <c:pt idx="92">
                  <c:v>0.53333333333333333</c:v>
                </c:pt>
                <c:pt idx="93">
                  <c:v>0.53333333333333333</c:v>
                </c:pt>
                <c:pt idx="94">
                  <c:v>0.53333333333333333</c:v>
                </c:pt>
                <c:pt idx="95">
                  <c:v>0.53333333333333333</c:v>
                </c:pt>
                <c:pt idx="96">
                  <c:v>0.53333333333333333</c:v>
                </c:pt>
                <c:pt idx="97">
                  <c:v>0.53333333333333333</c:v>
                </c:pt>
                <c:pt idx="98">
                  <c:v>0.53333333333333333</c:v>
                </c:pt>
                <c:pt idx="99">
                  <c:v>0.53333333333333333</c:v>
                </c:pt>
                <c:pt idx="100">
                  <c:v>0.53333333333333333</c:v>
                </c:pt>
                <c:pt idx="101">
                  <c:v>0.53333333333333333</c:v>
                </c:pt>
                <c:pt idx="102">
                  <c:v>0.53333333333333333</c:v>
                </c:pt>
                <c:pt idx="103">
                  <c:v>0.53333333333333333</c:v>
                </c:pt>
                <c:pt idx="104">
                  <c:v>0.53333333333333333</c:v>
                </c:pt>
                <c:pt idx="105">
                  <c:v>0.53333333333333333</c:v>
                </c:pt>
                <c:pt idx="106">
                  <c:v>0.52666666666666673</c:v>
                </c:pt>
                <c:pt idx="107">
                  <c:v>0.52666666666666673</c:v>
                </c:pt>
                <c:pt idx="108">
                  <c:v>0.52666666666666673</c:v>
                </c:pt>
                <c:pt idx="109">
                  <c:v>0.52666666666666673</c:v>
                </c:pt>
                <c:pt idx="110">
                  <c:v>0.52666666666666673</c:v>
                </c:pt>
                <c:pt idx="111">
                  <c:v>0.52666666666666673</c:v>
                </c:pt>
                <c:pt idx="112">
                  <c:v>0.52666666666666673</c:v>
                </c:pt>
                <c:pt idx="113">
                  <c:v>0.52666666666666673</c:v>
                </c:pt>
                <c:pt idx="114">
                  <c:v>0.52666666666666673</c:v>
                </c:pt>
                <c:pt idx="115">
                  <c:v>0.52666666666666673</c:v>
                </c:pt>
                <c:pt idx="116">
                  <c:v>0.52666666666666673</c:v>
                </c:pt>
                <c:pt idx="117">
                  <c:v>0.52666666666666673</c:v>
                </c:pt>
                <c:pt idx="118">
                  <c:v>0.52666666666666673</c:v>
                </c:pt>
                <c:pt idx="119">
                  <c:v>0.52666666666666673</c:v>
                </c:pt>
                <c:pt idx="120">
                  <c:v>0.52666666666666673</c:v>
                </c:pt>
                <c:pt idx="121">
                  <c:v>0.52666666666666673</c:v>
                </c:pt>
                <c:pt idx="122">
                  <c:v>0.52666666666666673</c:v>
                </c:pt>
                <c:pt idx="123">
                  <c:v>0.52666666666666673</c:v>
                </c:pt>
                <c:pt idx="124">
                  <c:v>0.52666666666666673</c:v>
                </c:pt>
                <c:pt idx="125">
                  <c:v>0.52666666666666673</c:v>
                </c:pt>
                <c:pt idx="126">
                  <c:v>0.52666666666666673</c:v>
                </c:pt>
                <c:pt idx="127">
                  <c:v>0.52666666666666673</c:v>
                </c:pt>
                <c:pt idx="128">
                  <c:v>0.52666666666666673</c:v>
                </c:pt>
                <c:pt idx="129">
                  <c:v>0.52666666666666673</c:v>
                </c:pt>
                <c:pt idx="130">
                  <c:v>0.52666666666666673</c:v>
                </c:pt>
                <c:pt idx="131">
                  <c:v>0.52666666666666673</c:v>
                </c:pt>
                <c:pt idx="132">
                  <c:v>0.52666666666666673</c:v>
                </c:pt>
                <c:pt idx="133">
                  <c:v>0.52666666666666673</c:v>
                </c:pt>
                <c:pt idx="134">
                  <c:v>0.52333333333333332</c:v>
                </c:pt>
                <c:pt idx="135">
                  <c:v>0.52333333333333332</c:v>
                </c:pt>
                <c:pt idx="136">
                  <c:v>0.52333333333333332</c:v>
                </c:pt>
                <c:pt idx="137">
                  <c:v>0.52333333333333332</c:v>
                </c:pt>
                <c:pt idx="138">
                  <c:v>0.52333333333333332</c:v>
                </c:pt>
                <c:pt idx="139">
                  <c:v>0.52333333333333332</c:v>
                </c:pt>
                <c:pt idx="140">
                  <c:v>0.52333333333333332</c:v>
                </c:pt>
                <c:pt idx="141">
                  <c:v>0.52333333333333332</c:v>
                </c:pt>
                <c:pt idx="142">
                  <c:v>0.52333333333333332</c:v>
                </c:pt>
                <c:pt idx="143">
                  <c:v>0.52333333333333332</c:v>
                </c:pt>
                <c:pt idx="144">
                  <c:v>0.52333333333333332</c:v>
                </c:pt>
                <c:pt idx="145">
                  <c:v>0.52333333333333332</c:v>
                </c:pt>
                <c:pt idx="146">
                  <c:v>0.52333333333333332</c:v>
                </c:pt>
                <c:pt idx="147">
                  <c:v>0.52333333333333332</c:v>
                </c:pt>
                <c:pt idx="148">
                  <c:v>0.52333333333333332</c:v>
                </c:pt>
                <c:pt idx="149">
                  <c:v>0.52333333333333332</c:v>
                </c:pt>
                <c:pt idx="150">
                  <c:v>0.52333333333333332</c:v>
                </c:pt>
                <c:pt idx="151">
                  <c:v>0.52333333333333332</c:v>
                </c:pt>
                <c:pt idx="152">
                  <c:v>0.52333333333333332</c:v>
                </c:pt>
                <c:pt idx="153">
                  <c:v>0.52333333333333332</c:v>
                </c:pt>
                <c:pt idx="154">
                  <c:v>0.52333333333333332</c:v>
                </c:pt>
                <c:pt idx="155">
                  <c:v>0.52333333333333332</c:v>
                </c:pt>
                <c:pt idx="156">
                  <c:v>0.52333333333333332</c:v>
                </c:pt>
                <c:pt idx="157">
                  <c:v>0.52333333333333332</c:v>
                </c:pt>
                <c:pt idx="158">
                  <c:v>0.52333333333333332</c:v>
                </c:pt>
                <c:pt idx="159">
                  <c:v>0.52333333333333332</c:v>
                </c:pt>
                <c:pt idx="160">
                  <c:v>0.52333333333333332</c:v>
                </c:pt>
                <c:pt idx="161">
                  <c:v>0.52333333333333332</c:v>
                </c:pt>
                <c:pt idx="162">
                  <c:v>0.52333333333333332</c:v>
                </c:pt>
                <c:pt idx="163">
                  <c:v>0.52333333333333332</c:v>
                </c:pt>
                <c:pt idx="164">
                  <c:v>0.46666666666666662</c:v>
                </c:pt>
                <c:pt idx="165">
                  <c:v>0.46666666666666662</c:v>
                </c:pt>
                <c:pt idx="166">
                  <c:v>0.46666666666666662</c:v>
                </c:pt>
                <c:pt idx="167">
                  <c:v>0.46666666666666662</c:v>
                </c:pt>
                <c:pt idx="168">
                  <c:v>0.46666666666666662</c:v>
                </c:pt>
                <c:pt idx="169">
                  <c:v>0.46666666666666662</c:v>
                </c:pt>
                <c:pt idx="170">
                  <c:v>0.46666666666666662</c:v>
                </c:pt>
                <c:pt idx="171">
                  <c:v>0.46666666666666662</c:v>
                </c:pt>
                <c:pt idx="172">
                  <c:v>0.46666666666666662</c:v>
                </c:pt>
                <c:pt idx="173">
                  <c:v>0.46666666666666662</c:v>
                </c:pt>
                <c:pt idx="174">
                  <c:v>0.46666666666666662</c:v>
                </c:pt>
                <c:pt idx="175">
                  <c:v>0.46666666666666662</c:v>
                </c:pt>
                <c:pt idx="176">
                  <c:v>0.46666666666666662</c:v>
                </c:pt>
                <c:pt idx="177">
                  <c:v>0.46666666666666662</c:v>
                </c:pt>
                <c:pt idx="178">
                  <c:v>0.46666666666666662</c:v>
                </c:pt>
                <c:pt idx="179">
                  <c:v>0.46666666666666662</c:v>
                </c:pt>
                <c:pt idx="180">
                  <c:v>0.46666666666666662</c:v>
                </c:pt>
                <c:pt idx="181">
                  <c:v>0.46666666666666662</c:v>
                </c:pt>
                <c:pt idx="182">
                  <c:v>0.46666666666666662</c:v>
                </c:pt>
                <c:pt idx="183">
                  <c:v>0.46666666666666662</c:v>
                </c:pt>
                <c:pt idx="184">
                  <c:v>0.46666666666666662</c:v>
                </c:pt>
                <c:pt idx="185">
                  <c:v>0.46666666666666662</c:v>
                </c:pt>
                <c:pt idx="186">
                  <c:v>0.46666666666666662</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4-D711-480A-A078-CE5611A64EB8}"/>
            </c:ext>
          </c:extLst>
        </c:ser>
        <c:dLbls>
          <c:showLegendKey val="0"/>
          <c:showVal val="0"/>
          <c:showCatName val="0"/>
          <c:showSerName val="0"/>
          <c:showPercent val="0"/>
          <c:showBubbleSize val="0"/>
        </c:dLbls>
        <c:smooth val="0"/>
        <c:axId val="590791567"/>
        <c:axId val="590791983"/>
      </c:lineChart>
      <c:catAx>
        <c:axId val="5907915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590791983"/>
        <c:crosses val="autoZero"/>
        <c:auto val="1"/>
        <c:lblAlgn val="ctr"/>
        <c:lblOffset val="100"/>
        <c:noMultiLvlLbl val="0"/>
      </c:catAx>
      <c:valAx>
        <c:axId val="590791983"/>
        <c:scaling>
          <c:orientation val="minMax"/>
          <c:min val="0.2"/>
        </c:scaling>
        <c:delete val="0"/>
        <c:axPos val="l"/>
        <c:majorGridlines>
          <c:spPr>
            <a:ln w="9525" cap="flat" cmpd="sng" algn="ctr">
              <a:solidFill>
                <a:schemeClr val="tx1">
                  <a:lumMod val="15000"/>
                  <a:lumOff val="85000"/>
                </a:schemeClr>
              </a:solidFill>
              <a:round/>
            </a:ln>
            <a:effectLst/>
          </c:spPr>
        </c:majorGridlines>
        <c:numFmt formatCode="#,##0.00_);[Red]\(#,##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5907915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zh-CN"/>
              <a:t>四川平均电价</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主流省份电价!$T$5</c:f>
              <c:strCache>
                <c:ptCount val="1"/>
                <c:pt idx="0">
                  <c:v>2020</c:v>
                </c:pt>
              </c:strCache>
            </c:strRef>
          </c:tx>
          <c:spPr>
            <a:ln w="19050" cap="rnd">
              <a:solidFill>
                <a:srgbClr val="7030A0">
                  <a:alpha val="60000"/>
                </a:srgbClr>
              </a:solidFill>
              <a:round/>
            </a:ln>
            <a:effectLst/>
          </c:spPr>
          <c:marker>
            <c:symbol val="none"/>
          </c:marker>
          <c:cat>
            <c:strRef>
              <c:f>主流省份电价!$Q$6:$Q$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T$6:$T$371</c:f>
              <c:numCache>
                <c:formatCode>#,##0.00_);[Red]\(#,##0.00\)</c:formatCode>
                <c:ptCount val="366"/>
                <c:pt idx="0">
                  <c:v>0.33666666666666661</c:v>
                </c:pt>
                <c:pt idx="1">
                  <c:v>0.33666666666666661</c:v>
                </c:pt>
                <c:pt idx="2">
                  <c:v>0.33666666666666661</c:v>
                </c:pt>
                <c:pt idx="3">
                  <c:v>0.33666666666666661</c:v>
                </c:pt>
                <c:pt idx="4">
                  <c:v>0.33666666666666661</c:v>
                </c:pt>
                <c:pt idx="5">
                  <c:v>0.33666666666666661</c:v>
                </c:pt>
                <c:pt idx="6">
                  <c:v>0.33666666666666661</c:v>
                </c:pt>
                <c:pt idx="7">
                  <c:v>0.33666666666666661</c:v>
                </c:pt>
                <c:pt idx="8">
                  <c:v>0.33666666666666661</c:v>
                </c:pt>
                <c:pt idx="9">
                  <c:v>0.33666666666666661</c:v>
                </c:pt>
                <c:pt idx="10">
                  <c:v>0.33666666666666661</c:v>
                </c:pt>
                <c:pt idx="11">
                  <c:v>0.33666666666666661</c:v>
                </c:pt>
                <c:pt idx="12">
                  <c:v>0.33666666666666661</c:v>
                </c:pt>
                <c:pt idx="13">
                  <c:v>0.33666666666666661</c:v>
                </c:pt>
                <c:pt idx="14">
                  <c:v>0.33666666666666661</c:v>
                </c:pt>
                <c:pt idx="15">
                  <c:v>0.33666666666666661</c:v>
                </c:pt>
                <c:pt idx="16">
                  <c:v>0.33666666666666661</c:v>
                </c:pt>
                <c:pt idx="17">
                  <c:v>0.33666666666666661</c:v>
                </c:pt>
                <c:pt idx="18">
                  <c:v>0.33666666666666661</c:v>
                </c:pt>
                <c:pt idx="19">
                  <c:v>0.33666666666666661</c:v>
                </c:pt>
                <c:pt idx="20">
                  <c:v>0.33666666666666661</c:v>
                </c:pt>
                <c:pt idx="21">
                  <c:v>0.33666666666666661</c:v>
                </c:pt>
                <c:pt idx="22">
                  <c:v>0.33666666666666661</c:v>
                </c:pt>
                <c:pt idx="23">
                  <c:v>0.33666666666666661</c:v>
                </c:pt>
                <c:pt idx="24">
                  <c:v>0.33666666666666661</c:v>
                </c:pt>
                <c:pt idx="25">
                  <c:v>0.33666666666666661</c:v>
                </c:pt>
                <c:pt idx="26">
                  <c:v>0.33666666666666661</c:v>
                </c:pt>
                <c:pt idx="27">
                  <c:v>0.33666666666666661</c:v>
                </c:pt>
                <c:pt idx="28">
                  <c:v>0.33666666666666661</c:v>
                </c:pt>
                <c:pt idx="29">
                  <c:v>0.33666666666666661</c:v>
                </c:pt>
                <c:pt idx="30">
                  <c:v>0.33666666666666661</c:v>
                </c:pt>
                <c:pt idx="31">
                  <c:v>0.33666666666666661</c:v>
                </c:pt>
                <c:pt idx="32">
                  <c:v>0.33666666666666661</c:v>
                </c:pt>
                <c:pt idx="33">
                  <c:v>0.33666666666666661</c:v>
                </c:pt>
                <c:pt idx="34">
                  <c:v>0.33666666666666661</c:v>
                </c:pt>
                <c:pt idx="35">
                  <c:v>0.33666666666666661</c:v>
                </c:pt>
                <c:pt idx="36">
                  <c:v>0.33666666666666661</c:v>
                </c:pt>
                <c:pt idx="37">
                  <c:v>0.33666666666666661</c:v>
                </c:pt>
                <c:pt idx="38">
                  <c:v>0.33666666666666661</c:v>
                </c:pt>
                <c:pt idx="39">
                  <c:v>0.33666666666666661</c:v>
                </c:pt>
                <c:pt idx="40">
                  <c:v>0.33666666666666661</c:v>
                </c:pt>
                <c:pt idx="41">
                  <c:v>0.33666666666666661</c:v>
                </c:pt>
                <c:pt idx="42">
                  <c:v>0.33666666666666661</c:v>
                </c:pt>
                <c:pt idx="43">
                  <c:v>0.33666666666666661</c:v>
                </c:pt>
                <c:pt idx="44">
                  <c:v>0.33666666666666661</c:v>
                </c:pt>
                <c:pt idx="45">
                  <c:v>0.33666666666666661</c:v>
                </c:pt>
                <c:pt idx="46">
                  <c:v>0.33666666666666661</c:v>
                </c:pt>
                <c:pt idx="47">
                  <c:v>0.33666666666666661</c:v>
                </c:pt>
                <c:pt idx="48">
                  <c:v>0.33666666666666661</c:v>
                </c:pt>
                <c:pt idx="49">
                  <c:v>0.33666666666666661</c:v>
                </c:pt>
                <c:pt idx="50">
                  <c:v>0.33666666666666661</c:v>
                </c:pt>
                <c:pt idx="51">
                  <c:v>0.33666666666666661</c:v>
                </c:pt>
                <c:pt idx="52">
                  <c:v>0.33666666666666661</c:v>
                </c:pt>
                <c:pt idx="53">
                  <c:v>0.33666666666666661</c:v>
                </c:pt>
                <c:pt idx="54">
                  <c:v>0.33666666666666661</c:v>
                </c:pt>
                <c:pt idx="55">
                  <c:v>0.33666666666666661</c:v>
                </c:pt>
                <c:pt idx="56">
                  <c:v>0.33666666666666661</c:v>
                </c:pt>
                <c:pt idx="57">
                  <c:v>0.33666666666666661</c:v>
                </c:pt>
                <c:pt idx="58">
                  <c:v>0.33666666666666661</c:v>
                </c:pt>
                <c:pt idx="59">
                  <c:v>0.33666666666666661</c:v>
                </c:pt>
                <c:pt idx="60">
                  <c:v>0.33666666666666661</c:v>
                </c:pt>
                <c:pt idx="61">
                  <c:v>0.33666666666666661</c:v>
                </c:pt>
                <c:pt idx="62">
                  <c:v>0.33666666666666661</c:v>
                </c:pt>
                <c:pt idx="63">
                  <c:v>0.33666666666666661</c:v>
                </c:pt>
                <c:pt idx="64">
                  <c:v>0.33666666666666661</c:v>
                </c:pt>
                <c:pt idx="65">
                  <c:v>0.33666666666666661</c:v>
                </c:pt>
                <c:pt idx="66">
                  <c:v>0.33666666666666661</c:v>
                </c:pt>
                <c:pt idx="67">
                  <c:v>0.33666666666666661</c:v>
                </c:pt>
                <c:pt idx="68">
                  <c:v>0.33666666666666661</c:v>
                </c:pt>
                <c:pt idx="69">
                  <c:v>0.33666666666666661</c:v>
                </c:pt>
                <c:pt idx="70">
                  <c:v>0.33666666666666661</c:v>
                </c:pt>
                <c:pt idx="71">
                  <c:v>0.33666666666666661</c:v>
                </c:pt>
                <c:pt idx="72">
                  <c:v>0.33666666666666661</c:v>
                </c:pt>
                <c:pt idx="73">
                  <c:v>0.33666666666666661</c:v>
                </c:pt>
                <c:pt idx="74">
                  <c:v>0.33666666666666661</c:v>
                </c:pt>
                <c:pt idx="75">
                  <c:v>0.33666666666666661</c:v>
                </c:pt>
                <c:pt idx="76">
                  <c:v>0.33666666666666661</c:v>
                </c:pt>
                <c:pt idx="77">
                  <c:v>0.33666666666666661</c:v>
                </c:pt>
                <c:pt idx="78">
                  <c:v>0.33666666666666661</c:v>
                </c:pt>
                <c:pt idx="79">
                  <c:v>0.33666666666666661</c:v>
                </c:pt>
                <c:pt idx="80">
                  <c:v>0.33666666666666661</c:v>
                </c:pt>
                <c:pt idx="81">
                  <c:v>0.33666666666666661</c:v>
                </c:pt>
                <c:pt idx="82">
                  <c:v>0.33666666666666661</c:v>
                </c:pt>
                <c:pt idx="83">
                  <c:v>0.33666666666666661</c:v>
                </c:pt>
                <c:pt idx="84">
                  <c:v>0.33666666666666661</c:v>
                </c:pt>
                <c:pt idx="85">
                  <c:v>0.33666666666666661</c:v>
                </c:pt>
                <c:pt idx="86">
                  <c:v>0.33666666666666661</c:v>
                </c:pt>
                <c:pt idx="87">
                  <c:v>0.33666666666666661</c:v>
                </c:pt>
                <c:pt idx="88">
                  <c:v>0.33666666666666661</c:v>
                </c:pt>
                <c:pt idx="89">
                  <c:v>0.33666666666666661</c:v>
                </c:pt>
                <c:pt idx="90">
                  <c:v>0.33666666666666661</c:v>
                </c:pt>
                <c:pt idx="91">
                  <c:v>0.33666666666666661</c:v>
                </c:pt>
                <c:pt idx="92">
                  <c:v>0.33666666666666661</c:v>
                </c:pt>
                <c:pt idx="93">
                  <c:v>0.33666666666666661</c:v>
                </c:pt>
                <c:pt idx="94">
                  <c:v>0.33666666666666661</c:v>
                </c:pt>
                <c:pt idx="95">
                  <c:v>0.33666666666666661</c:v>
                </c:pt>
                <c:pt idx="96">
                  <c:v>0.33666666666666661</c:v>
                </c:pt>
                <c:pt idx="97">
                  <c:v>0.33666666666666661</c:v>
                </c:pt>
                <c:pt idx="98">
                  <c:v>0.33666666666666661</c:v>
                </c:pt>
                <c:pt idx="99">
                  <c:v>0.33666666666666661</c:v>
                </c:pt>
                <c:pt idx="100">
                  <c:v>0.33666666666666661</c:v>
                </c:pt>
                <c:pt idx="101">
                  <c:v>0.33666666666666661</c:v>
                </c:pt>
                <c:pt idx="102">
                  <c:v>0.33666666666666661</c:v>
                </c:pt>
                <c:pt idx="103">
                  <c:v>0.33666666666666661</c:v>
                </c:pt>
                <c:pt idx="104">
                  <c:v>0.33666666666666661</c:v>
                </c:pt>
                <c:pt idx="105">
                  <c:v>0.33666666666666661</c:v>
                </c:pt>
                <c:pt idx="106">
                  <c:v>0.33666666666666661</c:v>
                </c:pt>
                <c:pt idx="107">
                  <c:v>0.33666666666666661</c:v>
                </c:pt>
                <c:pt idx="108">
                  <c:v>0.33666666666666661</c:v>
                </c:pt>
                <c:pt idx="109">
                  <c:v>0.33666666666666661</c:v>
                </c:pt>
                <c:pt idx="110">
                  <c:v>0.33666666666666661</c:v>
                </c:pt>
                <c:pt idx="111">
                  <c:v>0.33666666666666661</c:v>
                </c:pt>
                <c:pt idx="112">
                  <c:v>0.33666666666666661</c:v>
                </c:pt>
                <c:pt idx="113">
                  <c:v>0.33666666666666661</c:v>
                </c:pt>
                <c:pt idx="114">
                  <c:v>0.33666666666666661</c:v>
                </c:pt>
                <c:pt idx="115">
                  <c:v>0.33666666666666661</c:v>
                </c:pt>
                <c:pt idx="116">
                  <c:v>0.33666666666666661</c:v>
                </c:pt>
                <c:pt idx="117">
                  <c:v>0.33666666666666661</c:v>
                </c:pt>
                <c:pt idx="118">
                  <c:v>0.33666666666666661</c:v>
                </c:pt>
                <c:pt idx="119">
                  <c:v>0.33666666666666661</c:v>
                </c:pt>
                <c:pt idx="120">
                  <c:v>0.33666666666666661</c:v>
                </c:pt>
                <c:pt idx="121">
                  <c:v>0.33333333333333331</c:v>
                </c:pt>
                <c:pt idx="122">
                  <c:v>0.33333333333333331</c:v>
                </c:pt>
                <c:pt idx="123">
                  <c:v>0.33333333333333331</c:v>
                </c:pt>
                <c:pt idx="124">
                  <c:v>0.33333333333333331</c:v>
                </c:pt>
                <c:pt idx="125">
                  <c:v>0.33333333333333331</c:v>
                </c:pt>
                <c:pt idx="126">
                  <c:v>0.33333333333333331</c:v>
                </c:pt>
                <c:pt idx="127">
                  <c:v>0.33333333333333331</c:v>
                </c:pt>
                <c:pt idx="128">
                  <c:v>0.33333333333333331</c:v>
                </c:pt>
                <c:pt idx="129">
                  <c:v>0.33333333333333331</c:v>
                </c:pt>
                <c:pt idx="130">
                  <c:v>0.33333333333333331</c:v>
                </c:pt>
                <c:pt idx="131">
                  <c:v>0.33333333333333331</c:v>
                </c:pt>
                <c:pt idx="132">
                  <c:v>0.33333333333333331</c:v>
                </c:pt>
                <c:pt idx="133">
                  <c:v>0.33333333333333331</c:v>
                </c:pt>
                <c:pt idx="134">
                  <c:v>0.33333333333333331</c:v>
                </c:pt>
                <c:pt idx="135">
                  <c:v>0.33333333333333331</c:v>
                </c:pt>
                <c:pt idx="136">
                  <c:v>0.33333333333333331</c:v>
                </c:pt>
                <c:pt idx="137">
                  <c:v>0.33333333333333331</c:v>
                </c:pt>
                <c:pt idx="138">
                  <c:v>0.33333333333333331</c:v>
                </c:pt>
                <c:pt idx="139">
                  <c:v>0.33333333333333331</c:v>
                </c:pt>
                <c:pt idx="140">
                  <c:v>0.33333333333333331</c:v>
                </c:pt>
                <c:pt idx="141">
                  <c:v>0.33333333333333331</c:v>
                </c:pt>
                <c:pt idx="142">
                  <c:v>0.33333333333333331</c:v>
                </c:pt>
                <c:pt idx="143">
                  <c:v>0.33333333333333331</c:v>
                </c:pt>
                <c:pt idx="144">
                  <c:v>0.33333333333333331</c:v>
                </c:pt>
                <c:pt idx="145">
                  <c:v>0.33333333333333331</c:v>
                </c:pt>
                <c:pt idx="146">
                  <c:v>0.33333333333333331</c:v>
                </c:pt>
                <c:pt idx="147">
                  <c:v>0.33333333333333331</c:v>
                </c:pt>
                <c:pt idx="148">
                  <c:v>0.33333333333333331</c:v>
                </c:pt>
                <c:pt idx="149">
                  <c:v>0.33333333333333331</c:v>
                </c:pt>
                <c:pt idx="150">
                  <c:v>0.33333333333333331</c:v>
                </c:pt>
                <c:pt idx="151">
                  <c:v>0.33333333333333331</c:v>
                </c:pt>
                <c:pt idx="152">
                  <c:v>0.30333333333333334</c:v>
                </c:pt>
                <c:pt idx="153">
                  <c:v>0.30333333333333334</c:v>
                </c:pt>
                <c:pt idx="154">
                  <c:v>0.30333333333333334</c:v>
                </c:pt>
                <c:pt idx="155">
                  <c:v>0.30333333333333334</c:v>
                </c:pt>
                <c:pt idx="156">
                  <c:v>0.30333333333333334</c:v>
                </c:pt>
                <c:pt idx="157">
                  <c:v>0.30333333333333334</c:v>
                </c:pt>
                <c:pt idx="158">
                  <c:v>0.30333333333333334</c:v>
                </c:pt>
                <c:pt idx="159">
                  <c:v>0.30333333333333334</c:v>
                </c:pt>
                <c:pt idx="160">
                  <c:v>0.30333333333333334</c:v>
                </c:pt>
                <c:pt idx="161">
                  <c:v>0.30333333333333334</c:v>
                </c:pt>
                <c:pt idx="162">
                  <c:v>0.30333333333333334</c:v>
                </c:pt>
                <c:pt idx="163">
                  <c:v>0.30333333333333334</c:v>
                </c:pt>
                <c:pt idx="164">
                  <c:v>0.30333333333333334</c:v>
                </c:pt>
                <c:pt idx="165">
                  <c:v>0.30333333333333334</c:v>
                </c:pt>
                <c:pt idx="166">
                  <c:v>0.30333333333333334</c:v>
                </c:pt>
                <c:pt idx="167">
                  <c:v>0.30333333333333334</c:v>
                </c:pt>
                <c:pt idx="168">
                  <c:v>0.30333333333333334</c:v>
                </c:pt>
                <c:pt idx="169">
                  <c:v>0.30333333333333334</c:v>
                </c:pt>
                <c:pt idx="170">
                  <c:v>0.30333333333333334</c:v>
                </c:pt>
                <c:pt idx="171">
                  <c:v>0.30333333333333334</c:v>
                </c:pt>
                <c:pt idx="172">
                  <c:v>0.30333333333333334</c:v>
                </c:pt>
                <c:pt idx="173">
                  <c:v>0.30333333333333334</c:v>
                </c:pt>
                <c:pt idx="174">
                  <c:v>0.30333333333333334</c:v>
                </c:pt>
                <c:pt idx="175">
                  <c:v>0.30333333333333334</c:v>
                </c:pt>
                <c:pt idx="176">
                  <c:v>0.30333333333333334</c:v>
                </c:pt>
                <c:pt idx="177">
                  <c:v>0.30333333333333334</c:v>
                </c:pt>
                <c:pt idx="178">
                  <c:v>0.30333333333333334</c:v>
                </c:pt>
                <c:pt idx="179">
                  <c:v>0.30333333333333334</c:v>
                </c:pt>
                <c:pt idx="180">
                  <c:v>0.30333333333333334</c:v>
                </c:pt>
                <c:pt idx="181">
                  <c:v>0.30333333333333334</c:v>
                </c:pt>
                <c:pt idx="182">
                  <c:v>0.30333333333333334</c:v>
                </c:pt>
                <c:pt idx="183">
                  <c:v>0.30333333333333334</c:v>
                </c:pt>
                <c:pt idx="184">
                  <c:v>0.30333333333333334</c:v>
                </c:pt>
                <c:pt idx="185">
                  <c:v>0.30333333333333334</c:v>
                </c:pt>
                <c:pt idx="186">
                  <c:v>0.30333333333333334</c:v>
                </c:pt>
                <c:pt idx="187">
                  <c:v>0.30333333333333334</c:v>
                </c:pt>
                <c:pt idx="188">
                  <c:v>0.30333333333333334</c:v>
                </c:pt>
                <c:pt idx="189">
                  <c:v>0.30333333333333334</c:v>
                </c:pt>
                <c:pt idx="190">
                  <c:v>0.30333333333333334</c:v>
                </c:pt>
                <c:pt idx="191">
                  <c:v>0.30333333333333334</c:v>
                </c:pt>
                <c:pt idx="192">
                  <c:v>0.30333333333333334</c:v>
                </c:pt>
                <c:pt idx="193">
                  <c:v>0.30333333333333334</c:v>
                </c:pt>
                <c:pt idx="194">
                  <c:v>0.30333333333333334</c:v>
                </c:pt>
                <c:pt idx="195">
                  <c:v>0.30333333333333334</c:v>
                </c:pt>
                <c:pt idx="196">
                  <c:v>0.30333333333333334</c:v>
                </c:pt>
                <c:pt idx="197">
                  <c:v>0.30333333333333334</c:v>
                </c:pt>
                <c:pt idx="198">
                  <c:v>0.30333333333333334</c:v>
                </c:pt>
                <c:pt idx="199">
                  <c:v>0.30333333333333334</c:v>
                </c:pt>
                <c:pt idx="200">
                  <c:v>0.30333333333333334</c:v>
                </c:pt>
                <c:pt idx="201">
                  <c:v>0.30333333333333334</c:v>
                </c:pt>
                <c:pt idx="202">
                  <c:v>0.30333333333333334</c:v>
                </c:pt>
                <c:pt idx="203">
                  <c:v>0.30333333333333334</c:v>
                </c:pt>
                <c:pt idx="204">
                  <c:v>0.30333333333333334</c:v>
                </c:pt>
                <c:pt idx="205">
                  <c:v>0.30333333333333334</c:v>
                </c:pt>
                <c:pt idx="206">
                  <c:v>0.30333333333333334</c:v>
                </c:pt>
                <c:pt idx="207">
                  <c:v>0.30333333333333334</c:v>
                </c:pt>
                <c:pt idx="208">
                  <c:v>0.30333333333333334</c:v>
                </c:pt>
                <c:pt idx="209">
                  <c:v>0.30333333333333334</c:v>
                </c:pt>
                <c:pt idx="210">
                  <c:v>0.30333333333333334</c:v>
                </c:pt>
                <c:pt idx="211">
                  <c:v>0.30333333333333334</c:v>
                </c:pt>
                <c:pt idx="212">
                  <c:v>0.30333333333333334</c:v>
                </c:pt>
                <c:pt idx="213">
                  <c:v>0.30333333333333334</c:v>
                </c:pt>
                <c:pt idx="214">
                  <c:v>0.30333333333333334</c:v>
                </c:pt>
                <c:pt idx="215">
                  <c:v>0.30333333333333334</c:v>
                </c:pt>
                <c:pt idx="216">
                  <c:v>0.30333333333333334</c:v>
                </c:pt>
                <c:pt idx="217">
                  <c:v>0.30333333333333334</c:v>
                </c:pt>
                <c:pt idx="218">
                  <c:v>0.30333333333333334</c:v>
                </c:pt>
                <c:pt idx="219">
                  <c:v>0.30333333333333334</c:v>
                </c:pt>
                <c:pt idx="220">
                  <c:v>0.30333333333333334</c:v>
                </c:pt>
                <c:pt idx="221">
                  <c:v>0.30333333333333334</c:v>
                </c:pt>
                <c:pt idx="222">
                  <c:v>0.30333333333333334</c:v>
                </c:pt>
                <c:pt idx="223">
                  <c:v>0.30333333333333334</c:v>
                </c:pt>
                <c:pt idx="224">
                  <c:v>0.30333333333333334</c:v>
                </c:pt>
                <c:pt idx="225">
                  <c:v>0.30333333333333334</c:v>
                </c:pt>
                <c:pt idx="226">
                  <c:v>0.30333333333333334</c:v>
                </c:pt>
                <c:pt idx="227">
                  <c:v>0.30333333333333334</c:v>
                </c:pt>
                <c:pt idx="228">
                  <c:v>0.30333333333333334</c:v>
                </c:pt>
                <c:pt idx="229">
                  <c:v>0.30333333333333334</c:v>
                </c:pt>
                <c:pt idx="230">
                  <c:v>0.30333333333333334</c:v>
                </c:pt>
                <c:pt idx="231">
                  <c:v>0.30333333333333334</c:v>
                </c:pt>
                <c:pt idx="232">
                  <c:v>0.30333333333333334</c:v>
                </c:pt>
                <c:pt idx="233">
                  <c:v>0.30333333333333334</c:v>
                </c:pt>
                <c:pt idx="234">
                  <c:v>0.30333333333333334</c:v>
                </c:pt>
                <c:pt idx="235">
                  <c:v>0.30333333333333334</c:v>
                </c:pt>
                <c:pt idx="236">
                  <c:v>0.30333333333333334</c:v>
                </c:pt>
                <c:pt idx="237">
                  <c:v>0.30333333333333334</c:v>
                </c:pt>
                <c:pt idx="238">
                  <c:v>0.30333333333333334</c:v>
                </c:pt>
                <c:pt idx="239">
                  <c:v>0.30333333333333334</c:v>
                </c:pt>
                <c:pt idx="240">
                  <c:v>0.30333333333333334</c:v>
                </c:pt>
                <c:pt idx="241">
                  <c:v>0.30333333333333334</c:v>
                </c:pt>
                <c:pt idx="242">
                  <c:v>0.30333333333333334</c:v>
                </c:pt>
                <c:pt idx="243">
                  <c:v>0.30333333333333334</c:v>
                </c:pt>
                <c:pt idx="244">
                  <c:v>0.30333333333333334</c:v>
                </c:pt>
                <c:pt idx="245">
                  <c:v>0.30333333333333334</c:v>
                </c:pt>
                <c:pt idx="246">
                  <c:v>0.30333333333333334</c:v>
                </c:pt>
                <c:pt idx="247">
                  <c:v>0.30333333333333334</c:v>
                </c:pt>
                <c:pt idx="248">
                  <c:v>0.30333333333333334</c:v>
                </c:pt>
                <c:pt idx="249">
                  <c:v>0.30333333333333334</c:v>
                </c:pt>
                <c:pt idx="250">
                  <c:v>0.30333333333333334</c:v>
                </c:pt>
                <c:pt idx="251">
                  <c:v>0.30333333333333334</c:v>
                </c:pt>
                <c:pt idx="252">
                  <c:v>0.30333333333333334</c:v>
                </c:pt>
                <c:pt idx="253">
                  <c:v>0.30333333333333334</c:v>
                </c:pt>
                <c:pt idx="254">
                  <c:v>0.30333333333333334</c:v>
                </c:pt>
                <c:pt idx="255">
                  <c:v>0.30333333333333334</c:v>
                </c:pt>
                <c:pt idx="256">
                  <c:v>0.30333333333333334</c:v>
                </c:pt>
                <c:pt idx="257">
                  <c:v>0.30333333333333334</c:v>
                </c:pt>
                <c:pt idx="258">
                  <c:v>0.30333333333333334</c:v>
                </c:pt>
                <c:pt idx="259">
                  <c:v>0.30333333333333334</c:v>
                </c:pt>
                <c:pt idx="260">
                  <c:v>0.30333333333333334</c:v>
                </c:pt>
                <c:pt idx="261">
                  <c:v>0.30333333333333334</c:v>
                </c:pt>
                <c:pt idx="262">
                  <c:v>0.30333333333333334</c:v>
                </c:pt>
                <c:pt idx="263">
                  <c:v>0.30333333333333334</c:v>
                </c:pt>
                <c:pt idx="264">
                  <c:v>0.30333333333333334</c:v>
                </c:pt>
                <c:pt idx="265">
                  <c:v>0.30333333333333334</c:v>
                </c:pt>
                <c:pt idx="266">
                  <c:v>0.30333333333333334</c:v>
                </c:pt>
                <c:pt idx="267">
                  <c:v>0.30333333333333334</c:v>
                </c:pt>
                <c:pt idx="268">
                  <c:v>0.30333333333333334</c:v>
                </c:pt>
                <c:pt idx="269">
                  <c:v>0.30333333333333334</c:v>
                </c:pt>
                <c:pt idx="270">
                  <c:v>0.30333333333333334</c:v>
                </c:pt>
                <c:pt idx="271">
                  <c:v>0.30333333333333334</c:v>
                </c:pt>
                <c:pt idx="272">
                  <c:v>0.30333333333333334</c:v>
                </c:pt>
                <c:pt idx="273">
                  <c:v>0.30333333333333334</c:v>
                </c:pt>
                <c:pt idx="274">
                  <c:v>0.30333333333333334</c:v>
                </c:pt>
                <c:pt idx="275">
                  <c:v>0.30333333333333334</c:v>
                </c:pt>
                <c:pt idx="276">
                  <c:v>0.30333333333333334</c:v>
                </c:pt>
                <c:pt idx="277">
                  <c:v>0.30333333333333334</c:v>
                </c:pt>
                <c:pt idx="278">
                  <c:v>0.30333333333333334</c:v>
                </c:pt>
                <c:pt idx="279">
                  <c:v>0.30333333333333334</c:v>
                </c:pt>
                <c:pt idx="280">
                  <c:v>0.30333333333333334</c:v>
                </c:pt>
                <c:pt idx="281">
                  <c:v>0.30333333333333334</c:v>
                </c:pt>
                <c:pt idx="282">
                  <c:v>0.30333333333333334</c:v>
                </c:pt>
                <c:pt idx="283">
                  <c:v>0.30333333333333334</c:v>
                </c:pt>
                <c:pt idx="284">
                  <c:v>0.30333333333333334</c:v>
                </c:pt>
                <c:pt idx="285">
                  <c:v>0.30333333333333334</c:v>
                </c:pt>
                <c:pt idx="286">
                  <c:v>0.30333333333333334</c:v>
                </c:pt>
                <c:pt idx="287">
                  <c:v>0.30333333333333334</c:v>
                </c:pt>
                <c:pt idx="288">
                  <c:v>0.30333333333333334</c:v>
                </c:pt>
                <c:pt idx="289">
                  <c:v>0.30333333333333334</c:v>
                </c:pt>
                <c:pt idx="290">
                  <c:v>0.30333333333333334</c:v>
                </c:pt>
                <c:pt idx="291">
                  <c:v>0.30333333333333334</c:v>
                </c:pt>
                <c:pt idx="292">
                  <c:v>0.30333333333333334</c:v>
                </c:pt>
                <c:pt idx="293">
                  <c:v>0.30333333333333334</c:v>
                </c:pt>
                <c:pt idx="294">
                  <c:v>0.30333333333333334</c:v>
                </c:pt>
                <c:pt idx="295">
                  <c:v>0.30333333333333334</c:v>
                </c:pt>
                <c:pt idx="296">
                  <c:v>0.30333333333333334</c:v>
                </c:pt>
                <c:pt idx="297">
                  <c:v>0.30333333333333334</c:v>
                </c:pt>
                <c:pt idx="298">
                  <c:v>0.30333333333333334</c:v>
                </c:pt>
                <c:pt idx="299">
                  <c:v>0.30333333333333334</c:v>
                </c:pt>
                <c:pt idx="300">
                  <c:v>0.30333333333333334</c:v>
                </c:pt>
                <c:pt idx="301">
                  <c:v>0.30333333333333334</c:v>
                </c:pt>
                <c:pt idx="302">
                  <c:v>0.30333333333333334</c:v>
                </c:pt>
                <c:pt idx="303">
                  <c:v>0.30333333333333334</c:v>
                </c:pt>
                <c:pt idx="304">
                  <c:v>0.30333333333333334</c:v>
                </c:pt>
                <c:pt idx="305">
                  <c:v>0.3666666666666667</c:v>
                </c:pt>
                <c:pt idx="306">
                  <c:v>0.3666666666666667</c:v>
                </c:pt>
                <c:pt idx="307">
                  <c:v>0.3666666666666667</c:v>
                </c:pt>
                <c:pt idx="308">
                  <c:v>0.3666666666666667</c:v>
                </c:pt>
                <c:pt idx="309">
                  <c:v>0.3666666666666667</c:v>
                </c:pt>
                <c:pt idx="310">
                  <c:v>0.3666666666666667</c:v>
                </c:pt>
                <c:pt idx="311">
                  <c:v>0.3666666666666667</c:v>
                </c:pt>
                <c:pt idx="312">
                  <c:v>0.3666666666666667</c:v>
                </c:pt>
                <c:pt idx="313">
                  <c:v>0.3666666666666667</c:v>
                </c:pt>
                <c:pt idx="314">
                  <c:v>0.3666666666666667</c:v>
                </c:pt>
                <c:pt idx="315">
                  <c:v>0.3666666666666667</c:v>
                </c:pt>
                <c:pt idx="316">
                  <c:v>0.3666666666666667</c:v>
                </c:pt>
                <c:pt idx="317">
                  <c:v>0.3666666666666667</c:v>
                </c:pt>
                <c:pt idx="318">
                  <c:v>0.3666666666666667</c:v>
                </c:pt>
                <c:pt idx="319">
                  <c:v>0.3666666666666667</c:v>
                </c:pt>
                <c:pt idx="320">
                  <c:v>0.3666666666666667</c:v>
                </c:pt>
                <c:pt idx="321">
                  <c:v>0.3666666666666667</c:v>
                </c:pt>
                <c:pt idx="322">
                  <c:v>0.3666666666666667</c:v>
                </c:pt>
                <c:pt idx="323">
                  <c:v>0.3666666666666667</c:v>
                </c:pt>
                <c:pt idx="324">
                  <c:v>0.3666666666666667</c:v>
                </c:pt>
                <c:pt idx="325">
                  <c:v>0.3666666666666667</c:v>
                </c:pt>
                <c:pt idx="326">
                  <c:v>0.3666666666666667</c:v>
                </c:pt>
                <c:pt idx="327">
                  <c:v>0.3666666666666667</c:v>
                </c:pt>
                <c:pt idx="328">
                  <c:v>0.3666666666666667</c:v>
                </c:pt>
                <c:pt idx="329">
                  <c:v>0.3666666666666667</c:v>
                </c:pt>
                <c:pt idx="330">
                  <c:v>0.3666666666666667</c:v>
                </c:pt>
                <c:pt idx="331">
                  <c:v>0.3666666666666667</c:v>
                </c:pt>
                <c:pt idx="332">
                  <c:v>0.3666666666666667</c:v>
                </c:pt>
                <c:pt idx="333">
                  <c:v>0.3666666666666667</c:v>
                </c:pt>
                <c:pt idx="334">
                  <c:v>0.3666666666666667</c:v>
                </c:pt>
                <c:pt idx="335">
                  <c:v>0.38666666666666671</c:v>
                </c:pt>
                <c:pt idx="336">
                  <c:v>0.38666666666666671</c:v>
                </c:pt>
                <c:pt idx="337">
                  <c:v>0.38666666666666671</c:v>
                </c:pt>
                <c:pt idx="338">
                  <c:v>0.38666666666666671</c:v>
                </c:pt>
                <c:pt idx="339">
                  <c:v>0.38666666666666671</c:v>
                </c:pt>
                <c:pt idx="340">
                  <c:v>0.38666666666666671</c:v>
                </c:pt>
                <c:pt idx="341">
                  <c:v>0.38666666666666671</c:v>
                </c:pt>
                <c:pt idx="342">
                  <c:v>0.38666666666666671</c:v>
                </c:pt>
                <c:pt idx="343">
                  <c:v>0.38666666666666671</c:v>
                </c:pt>
                <c:pt idx="344">
                  <c:v>0.38666666666666671</c:v>
                </c:pt>
                <c:pt idx="345">
                  <c:v>0.38666666666666671</c:v>
                </c:pt>
                <c:pt idx="346">
                  <c:v>0.38666666666666671</c:v>
                </c:pt>
                <c:pt idx="347">
                  <c:v>0.38666666666666671</c:v>
                </c:pt>
                <c:pt idx="348">
                  <c:v>0.38666666666666671</c:v>
                </c:pt>
                <c:pt idx="349">
                  <c:v>0.38666666666666671</c:v>
                </c:pt>
                <c:pt idx="350">
                  <c:v>0.38666666666666671</c:v>
                </c:pt>
                <c:pt idx="351">
                  <c:v>0.38666666666666671</c:v>
                </c:pt>
                <c:pt idx="352">
                  <c:v>0.38666666666666671</c:v>
                </c:pt>
                <c:pt idx="353">
                  <c:v>0.38666666666666671</c:v>
                </c:pt>
                <c:pt idx="354">
                  <c:v>0.38666666666666671</c:v>
                </c:pt>
                <c:pt idx="355">
                  <c:v>0.38666666666666671</c:v>
                </c:pt>
                <c:pt idx="356">
                  <c:v>0.38666666666666671</c:v>
                </c:pt>
                <c:pt idx="357">
                  <c:v>0.38666666666666671</c:v>
                </c:pt>
                <c:pt idx="358">
                  <c:v>0.38666666666666671</c:v>
                </c:pt>
                <c:pt idx="359">
                  <c:v>0.38666666666666671</c:v>
                </c:pt>
                <c:pt idx="360">
                  <c:v>0.38666666666666671</c:v>
                </c:pt>
                <c:pt idx="361">
                  <c:v>0.38666666666666671</c:v>
                </c:pt>
                <c:pt idx="362">
                  <c:v>0.38666666666666671</c:v>
                </c:pt>
                <c:pt idx="363">
                  <c:v>0.38666666666666671</c:v>
                </c:pt>
                <c:pt idx="364">
                  <c:v>0.38666666666666671</c:v>
                </c:pt>
                <c:pt idx="365">
                  <c:v>0.38666666666666671</c:v>
                </c:pt>
              </c:numCache>
            </c:numRef>
          </c:val>
          <c:smooth val="0"/>
          <c:extLst>
            <c:ext xmlns:c16="http://schemas.microsoft.com/office/drawing/2014/chart" uri="{C3380CC4-5D6E-409C-BE32-E72D297353CC}">
              <c16:uniqueId val="{00000000-66EA-4545-A8A2-2FBD4018A1DB}"/>
            </c:ext>
          </c:extLst>
        </c:ser>
        <c:ser>
          <c:idx val="1"/>
          <c:order val="1"/>
          <c:tx>
            <c:strRef>
              <c:f>主流省份电价!$U$5</c:f>
              <c:strCache>
                <c:ptCount val="1"/>
                <c:pt idx="0">
                  <c:v>2021</c:v>
                </c:pt>
              </c:strCache>
            </c:strRef>
          </c:tx>
          <c:spPr>
            <a:ln w="19050" cap="rnd">
              <a:solidFill>
                <a:srgbClr val="B57222">
                  <a:alpha val="60000"/>
                </a:srgbClr>
              </a:solidFill>
              <a:round/>
            </a:ln>
            <a:effectLst/>
          </c:spPr>
          <c:marker>
            <c:symbol val="none"/>
          </c:marker>
          <c:cat>
            <c:strRef>
              <c:f>主流省份电价!$Q$6:$Q$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U$6:$U$371</c:f>
              <c:numCache>
                <c:formatCode>#,##0.00_);[Red]\(#,##0.00\)</c:formatCode>
                <c:ptCount val="366"/>
                <c:pt idx="0">
                  <c:v>0.40333333333333332</c:v>
                </c:pt>
                <c:pt idx="1">
                  <c:v>0.40333333333333332</c:v>
                </c:pt>
                <c:pt idx="2">
                  <c:v>0.40333333333333332</c:v>
                </c:pt>
                <c:pt idx="3">
                  <c:v>0.40333333333333332</c:v>
                </c:pt>
                <c:pt idx="4">
                  <c:v>0.40333333333333332</c:v>
                </c:pt>
                <c:pt idx="5">
                  <c:v>0.40333333333333332</c:v>
                </c:pt>
                <c:pt idx="6">
                  <c:v>0.40333333333333332</c:v>
                </c:pt>
                <c:pt idx="7">
                  <c:v>0.40333333333333332</c:v>
                </c:pt>
                <c:pt idx="8">
                  <c:v>0.40333333333333332</c:v>
                </c:pt>
                <c:pt idx="9">
                  <c:v>0.40333333333333332</c:v>
                </c:pt>
                <c:pt idx="10">
                  <c:v>0.40333333333333332</c:v>
                </c:pt>
                <c:pt idx="11">
                  <c:v>0.40333333333333332</c:v>
                </c:pt>
                <c:pt idx="12">
                  <c:v>0.40333333333333332</c:v>
                </c:pt>
                <c:pt idx="13">
                  <c:v>0.40333333333333332</c:v>
                </c:pt>
                <c:pt idx="14">
                  <c:v>0.40333333333333332</c:v>
                </c:pt>
                <c:pt idx="15">
                  <c:v>0.40333333333333332</c:v>
                </c:pt>
                <c:pt idx="16">
                  <c:v>0.40333333333333332</c:v>
                </c:pt>
                <c:pt idx="17">
                  <c:v>0.40333333333333332</c:v>
                </c:pt>
                <c:pt idx="18">
                  <c:v>0.40333333333333332</c:v>
                </c:pt>
                <c:pt idx="19">
                  <c:v>0.40333333333333332</c:v>
                </c:pt>
                <c:pt idx="20">
                  <c:v>0.40333333333333332</c:v>
                </c:pt>
                <c:pt idx="21">
                  <c:v>0.40333333333333332</c:v>
                </c:pt>
                <c:pt idx="22">
                  <c:v>0.40333333333333332</c:v>
                </c:pt>
                <c:pt idx="23">
                  <c:v>0.40333333333333332</c:v>
                </c:pt>
                <c:pt idx="24">
                  <c:v>0.40333333333333332</c:v>
                </c:pt>
                <c:pt idx="25">
                  <c:v>0.40333333333333332</c:v>
                </c:pt>
                <c:pt idx="26">
                  <c:v>0.40333333333333332</c:v>
                </c:pt>
                <c:pt idx="27">
                  <c:v>0.40333333333333332</c:v>
                </c:pt>
                <c:pt idx="28">
                  <c:v>0.40333333333333332</c:v>
                </c:pt>
                <c:pt idx="29">
                  <c:v>0.40333333333333332</c:v>
                </c:pt>
                <c:pt idx="30">
                  <c:v>0.40333333333333332</c:v>
                </c:pt>
                <c:pt idx="31">
                  <c:v>0.40333333333333332</c:v>
                </c:pt>
                <c:pt idx="32">
                  <c:v>0.40333333333333332</c:v>
                </c:pt>
                <c:pt idx="33">
                  <c:v>0.40333333333333332</c:v>
                </c:pt>
                <c:pt idx="34">
                  <c:v>0.40333333333333332</c:v>
                </c:pt>
                <c:pt idx="35">
                  <c:v>0.40333333333333332</c:v>
                </c:pt>
                <c:pt idx="36">
                  <c:v>0.40333333333333332</c:v>
                </c:pt>
                <c:pt idx="37">
                  <c:v>0.40333333333333332</c:v>
                </c:pt>
                <c:pt idx="38">
                  <c:v>0.40333333333333332</c:v>
                </c:pt>
                <c:pt idx="39">
                  <c:v>0.40333333333333332</c:v>
                </c:pt>
                <c:pt idx="40">
                  <c:v>0.40333333333333332</c:v>
                </c:pt>
                <c:pt idx="41">
                  <c:v>0.40333333333333332</c:v>
                </c:pt>
                <c:pt idx="42">
                  <c:v>0.40333333333333332</c:v>
                </c:pt>
                <c:pt idx="43">
                  <c:v>0.40333333333333332</c:v>
                </c:pt>
                <c:pt idx="44">
                  <c:v>0.40333333333333332</c:v>
                </c:pt>
                <c:pt idx="45">
                  <c:v>0.40333333333333332</c:v>
                </c:pt>
                <c:pt idx="46">
                  <c:v>0.40333333333333332</c:v>
                </c:pt>
                <c:pt idx="47">
                  <c:v>0.40333333333333332</c:v>
                </c:pt>
                <c:pt idx="48">
                  <c:v>0.40333333333333332</c:v>
                </c:pt>
                <c:pt idx="49">
                  <c:v>0.40333333333333332</c:v>
                </c:pt>
                <c:pt idx="50">
                  <c:v>0.40333333333333332</c:v>
                </c:pt>
                <c:pt idx="51">
                  <c:v>0.40333333333333332</c:v>
                </c:pt>
                <c:pt idx="52">
                  <c:v>0.40333333333333332</c:v>
                </c:pt>
                <c:pt idx="53">
                  <c:v>0.40333333333333332</c:v>
                </c:pt>
                <c:pt idx="54">
                  <c:v>0.40333333333333332</c:v>
                </c:pt>
                <c:pt idx="55">
                  <c:v>0.40333333333333332</c:v>
                </c:pt>
                <c:pt idx="56">
                  <c:v>0.40333333333333332</c:v>
                </c:pt>
                <c:pt idx="57">
                  <c:v>0.40333333333333332</c:v>
                </c:pt>
                <c:pt idx="58">
                  <c:v>0.40333333333333332</c:v>
                </c:pt>
                <c:pt idx="60">
                  <c:v>0.40333333333333332</c:v>
                </c:pt>
                <c:pt idx="61">
                  <c:v>0.40333333333333332</c:v>
                </c:pt>
                <c:pt idx="62">
                  <c:v>0.40333333333333332</c:v>
                </c:pt>
                <c:pt idx="63">
                  <c:v>0.40333333333333332</c:v>
                </c:pt>
                <c:pt idx="64">
                  <c:v>0.40333333333333332</c:v>
                </c:pt>
                <c:pt idx="65">
                  <c:v>0.40333333333333332</c:v>
                </c:pt>
                <c:pt idx="66">
                  <c:v>0.40333333333333332</c:v>
                </c:pt>
                <c:pt idx="67">
                  <c:v>0.40333333333333332</c:v>
                </c:pt>
                <c:pt idx="68">
                  <c:v>0.40333333333333332</c:v>
                </c:pt>
                <c:pt idx="69">
                  <c:v>0.40333333333333332</c:v>
                </c:pt>
                <c:pt idx="70">
                  <c:v>0.40333333333333332</c:v>
                </c:pt>
                <c:pt idx="71">
                  <c:v>0.40333333333333332</c:v>
                </c:pt>
                <c:pt idx="72">
                  <c:v>0.40333333333333332</c:v>
                </c:pt>
                <c:pt idx="73">
                  <c:v>0.40333333333333332</c:v>
                </c:pt>
                <c:pt idx="74">
                  <c:v>0.40333333333333332</c:v>
                </c:pt>
                <c:pt idx="75">
                  <c:v>0.40333333333333332</c:v>
                </c:pt>
                <c:pt idx="76">
                  <c:v>0.40333333333333332</c:v>
                </c:pt>
                <c:pt idx="77">
                  <c:v>0.40333333333333332</c:v>
                </c:pt>
                <c:pt idx="78">
                  <c:v>0.40333333333333332</c:v>
                </c:pt>
                <c:pt idx="79">
                  <c:v>0.40333333333333332</c:v>
                </c:pt>
                <c:pt idx="80">
                  <c:v>0.40333333333333332</c:v>
                </c:pt>
                <c:pt idx="81">
                  <c:v>0.40333333333333332</c:v>
                </c:pt>
                <c:pt idx="82">
                  <c:v>0.40333333333333332</c:v>
                </c:pt>
                <c:pt idx="83">
                  <c:v>0.40333333333333332</c:v>
                </c:pt>
                <c:pt idx="84">
                  <c:v>0.40333333333333332</c:v>
                </c:pt>
                <c:pt idx="85">
                  <c:v>0.40333333333333332</c:v>
                </c:pt>
                <c:pt idx="86">
                  <c:v>0.40333333333333332</c:v>
                </c:pt>
                <c:pt idx="87">
                  <c:v>0.40333333333333332</c:v>
                </c:pt>
                <c:pt idx="88">
                  <c:v>0.40333333333333332</c:v>
                </c:pt>
                <c:pt idx="89">
                  <c:v>0.40333333333333332</c:v>
                </c:pt>
                <c:pt idx="90">
                  <c:v>0.40333333333333332</c:v>
                </c:pt>
                <c:pt idx="91">
                  <c:v>0.40333333333333332</c:v>
                </c:pt>
                <c:pt idx="92">
                  <c:v>0.40333333333333332</c:v>
                </c:pt>
                <c:pt idx="93">
                  <c:v>0.40333333333333332</c:v>
                </c:pt>
                <c:pt idx="94">
                  <c:v>0.40333333333333332</c:v>
                </c:pt>
                <c:pt idx="95">
                  <c:v>0.40333333333333332</c:v>
                </c:pt>
                <c:pt idx="96">
                  <c:v>0.40333333333333332</c:v>
                </c:pt>
                <c:pt idx="97">
                  <c:v>0.40333333333333332</c:v>
                </c:pt>
                <c:pt idx="98">
                  <c:v>0.40333333333333332</c:v>
                </c:pt>
                <c:pt idx="99">
                  <c:v>0.40333333333333332</c:v>
                </c:pt>
                <c:pt idx="100">
                  <c:v>0.40333333333333332</c:v>
                </c:pt>
                <c:pt idx="101">
                  <c:v>0.40333333333333332</c:v>
                </c:pt>
                <c:pt idx="102">
                  <c:v>0.40333333333333332</c:v>
                </c:pt>
                <c:pt idx="103">
                  <c:v>0.40333333333333332</c:v>
                </c:pt>
                <c:pt idx="104">
                  <c:v>0.40333333333333332</c:v>
                </c:pt>
                <c:pt idx="105">
                  <c:v>0.40333333333333332</c:v>
                </c:pt>
                <c:pt idx="106">
                  <c:v>0.40333333333333332</c:v>
                </c:pt>
                <c:pt idx="107">
                  <c:v>0.40333333333333332</c:v>
                </c:pt>
                <c:pt idx="108">
                  <c:v>0.40333333333333332</c:v>
                </c:pt>
                <c:pt idx="109">
                  <c:v>0.40333333333333332</c:v>
                </c:pt>
                <c:pt idx="110">
                  <c:v>0.40333333333333332</c:v>
                </c:pt>
                <c:pt idx="111">
                  <c:v>0.40333333333333332</c:v>
                </c:pt>
                <c:pt idx="112">
                  <c:v>0.40333333333333332</c:v>
                </c:pt>
                <c:pt idx="113">
                  <c:v>0.40333333333333332</c:v>
                </c:pt>
                <c:pt idx="114">
                  <c:v>0.40333333333333332</c:v>
                </c:pt>
                <c:pt idx="115">
                  <c:v>0.40333333333333332</c:v>
                </c:pt>
                <c:pt idx="116">
                  <c:v>0.40333333333333332</c:v>
                </c:pt>
                <c:pt idx="117">
                  <c:v>0.40333333333333332</c:v>
                </c:pt>
                <c:pt idx="118">
                  <c:v>0.40333333333333332</c:v>
                </c:pt>
                <c:pt idx="119">
                  <c:v>0.40333333333333332</c:v>
                </c:pt>
                <c:pt idx="120">
                  <c:v>0.40333333333333332</c:v>
                </c:pt>
                <c:pt idx="121">
                  <c:v>0.37666666666666665</c:v>
                </c:pt>
                <c:pt idx="122">
                  <c:v>0.37666666666666665</c:v>
                </c:pt>
                <c:pt idx="123">
                  <c:v>0.37666666666666665</c:v>
                </c:pt>
                <c:pt idx="124">
                  <c:v>0.37666666666666665</c:v>
                </c:pt>
                <c:pt idx="125">
                  <c:v>0.37666666666666665</c:v>
                </c:pt>
                <c:pt idx="126">
                  <c:v>0.37666666666666665</c:v>
                </c:pt>
                <c:pt idx="127">
                  <c:v>0.37666666666666665</c:v>
                </c:pt>
                <c:pt idx="128">
                  <c:v>0.37666666666666665</c:v>
                </c:pt>
                <c:pt idx="129">
                  <c:v>0.37666666666666665</c:v>
                </c:pt>
                <c:pt idx="130">
                  <c:v>0.37666666666666665</c:v>
                </c:pt>
                <c:pt idx="131">
                  <c:v>0.37666666666666665</c:v>
                </c:pt>
                <c:pt idx="132">
                  <c:v>0.37666666666666665</c:v>
                </c:pt>
                <c:pt idx="133">
                  <c:v>0.37666666666666665</c:v>
                </c:pt>
                <c:pt idx="134">
                  <c:v>0.37666666666666665</c:v>
                </c:pt>
                <c:pt idx="135">
                  <c:v>0.37666666666666665</c:v>
                </c:pt>
                <c:pt idx="136">
                  <c:v>0.37666666666666665</c:v>
                </c:pt>
                <c:pt idx="137">
                  <c:v>0.37666666666666665</c:v>
                </c:pt>
                <c:pt idx="138">
                  <c:v>0.37666666666666665</c:v>
                </c:pt>
                <c:pt idx="139">
                  <c:v>0.37666666666666665</c:v>
                </c:pt>
                <c:pt idx="140">
                  <c:v>0.37666666666666665</c:v>
                </c:pt>
                <c:pt idx="141">
                  <c:v>0.37666666666666665</c:v>
                </c:pt>
                <c:pt idx="142">
                  <c:v>0.37666666666666665</c:v>
                </c:pt>
                <c:pt idx="143">
                  <c:v>0.37666666666666665</c:v>
                </c:pt>
                <c:pt idx="144">
                  <c:v>0.37666666666666665</c:v>
                </c:pt>
                <c:pt idx="145">
                  <c:v>0.37666666666666665</c:v>
                </c:pt>
                <c:pt idx="146">
                  <c:v>0.37666666666666665</c:v>
                </c:pt>
                <c:pt idx="147">
                  <c:v>0.37666666666666665</c:v>
                </c:pt>
                <c:pt idx="148">
                  <c:v>0.37666666666666665</c:v>
                </c:pt>
                <c:pt idx="149">
                  <c:v>0.37666666666666665</c:v>
                </c:pt>
                <c:pt idx="150">
                  <c:v>0.37666666666666665</c:v>
                </c:pt>
                <c:pt idx="151">
                  <c:v>0.37666666666666665</c:v>
                </c:pt>
                <c:pt idx="152">
                  <c:v>0.35666666666666669</c:v>
                </c:pt>
                <c:pt idx="153">
                  <c:v>0.35666666666666669</c:v>
                </c:pt>
                <c:pt idx="154">
                  <c:v>0.35666666666666669</c:v>
                </c:pt>
                <c:pt idx="155">
                  <c:v>0.35666666666666669</c:v>
                </c:pt>
                <c:pt idx="156">
                  <c:v>0.35666666666666669</c:v>
                </c:pt>
                <c:pt idx="157">
                  <c:v>0.35666666666666669</c:v>
                </c:pt>
                <c:pt idx="158">
                  <c:v>0.35666666666666669</c:v>
                </c:pt>
                <c:pt idx="159">
                  <c:v>0.35666666666666669</c:v>
                </c:pt>
                <c:pt idx="160">
                  <c:v>0.35666666666666669</c:v>
                </c:pt>
                <c:pt idx="161">
                  <c:v>0.35666666666666669</c:v>
                </c:pt>
                <c:pt idx="162">
                  <c:v>0.35666666666666669</c:v>
                </c:pt>
                <c:pt idx="163">
                  <c:v>0.35666666666666669</c:v>
                </c:pt>
                <c:pt idx="164">
                  <c:v>0.35666666666666669</c:v>
                </c:pt>
                <c:pt idx="165">
                  <c:v>0.35666666666666669</c:v>
                </c:pt>
                <c:pt idx="166">
                  <c:v>0.35666666666666669</c:v>
                </c:pt>
                <c:pt idx="167">
                  <c:v>0.35666666666666669</c:v>
                </c:pt>
                <c:pt idx="168">
                  <c:v>0.35666666666666669</c:v>
                </c:pt>
                <c:pt idx="169">
                  <c:v>0.35666666666666669</c:v>
                </c:pt>
                <c:pt idx="170">
                  <c:v>0.35666666666666669</c:v>
                </c:pt>
                <c:pt idx="171">
                  <c:v>0.35666666666666669</c:v>
                </c:pt>
                <c:pt idx="172">
                  <c:v>0.35666666666666669</c:v>
                </c:pt>
                <c:pt idx="173">
                  <c:v>0.35666666666666669</c:v>
                </c:pt>
                <c:pt idx="174">
                  <c:v>0.35666666666666669</c:v>
                </c:pt>
                <c:pt idx="175">
                  <c:v>0.35666666666666669</c:v>
                </c:pt>
                <c:pt idx="176">
                  <c:v>0.35666666666666669</c:v>
                </c:pt>
                <c:pt idx="177">
                  <c:v>0.35666666666666669</c:v>
                </c:pt>
                <c:pt idx="178">
                  <c:v>0.35666666666666669</c:v>
                </c:pt>
                <c:pt idx="179">
                  <c:v>0.35666666666666669</c:v>
                </c:pt>
                <c:pt idx="180">
                  <c:v>0.35666666666666669</c:v>
                </c:pt>
                <c:pt idx="181">
                  <c:v>0.35666666666666669</c:v>
                </c:pt>
                <c:pt idx="182">
                  <c:v>0.30666666666666664</c:v>
                </c:pt>
                <c:pt idx="183">
                  <c:v>0.30666666666666664</c:v>
                </c:pt>
                <c:pt idx="184">
                  <c:v>0.30666666666666664</c:v>
                </c:pt>
                <c:pt idx="185">
                  <c:v>0.30666666666666664</c:v>
                </c:pt>
                <c:pt idx="186">
                  <c:v>0.30666666666666664</c:v>
                </c:pt>
                <c:pt idx="187">
                  <c:v>0.30666666666666664</c:v>
                </c:pt>
                <c:pt idx="188">
                  <c:v>0.30666666666666664</c:v>
                </c:pt>
                <c:pt idx="189">
                  <c:v>0.30666666666666664</c:v>
                </c:pt>
                <c:pt idx="190">
                  <c:v>0.30666666666666664</c:v>
                </c:pt>
                <c:pt idx="191">
                  <c:v>0.30666666666666664</c:v>
                </c:pt>
                <c:pt idx="192">
                  <c:v>0.30666666666666664</c:v>
                </c:pt>
                <c:pt idx="193">
                  <c:v>0.30666666666666664</c:v>
                </c:pt>
                <c:pt idx="194">
                  <c:v>0.30666666666666664</c:v>
                </c:pt>
                <c:pt idx="195">
                  <c:v>0.30666666666666664</c:v>
                </c:pt>
                <c:pt idx="196">
                  <c:v>0.30666666666666664</c:v>
                </c:pt>
                <c:pt idx="197">
                  <c:v>0.30666666666666664</c:v>
                </c:pt>
                <c:pt idx="198">
                  <c:v>0.30666666666666664</c:v>
                </c:pt>
                <c:pt idx="199">
                  <c:v>0.30666666666666664</c:v>
                </c:pt>
                <c:pt idx="200">
                  <c:v>0.30666666666666664</c:v>
                </c:pt>
                <c:pt idx="201">
                  <c:v>0.30666666666666664</c:v>
                </c:pt>
                <c:pt idx="202">
                  <c:v>0.30666666666666664</c:v>
                </c:pt>
                <c:pt idx="203">
                  <c:v>0.30666666666666664</c:v>
                </c:pt>
                <c:pt idx="204">
                  <c:v>0.30666666666666664</c:v>
                </c:pt>
                <c:pt idx="205">
                  <c:v>0.30666666666666664</c:v>
                </c:pt>
                <c:pt idx="206">
                  <c:v>0.30666666666666664</c:v>
                </c:pt>
                <c:pt idx="207">
                  <c:v>0.30666666666666664</c:v>
                </c:pt>
                <c:pt idx="208">
                  <c:v>0.30666666666666664</c:v>
                </c:pt>
                <c:pt idx="209">
                  <c:v>0.30666666666666664</c:v>
                </c:pt>
                <c:pt idx="210">
                  <c:v>0.30666666666666664</c:v>
                </c:pt>
                <c:pt idx="211">
                  <c:v>0.30666666666666664</c:v>
                </c:pt>
                <c:pt idx="212">
                  <c:v>0.30666666666666664</c:v>
                </c:pt>
                <c:pt idx="213">
                  <c:v>0.30666666666666664</c:v>
                </c:pt>
                <c:pt idx="214">
                  <c:v>0.30666666666666664</c:v>
                </c:pt>
                <c:pt idx="215">
                  <c:v>0.30666666666666664</c:v>
                </c:pt>
                <c:pt idx="216">
                  <c:v>0.30666666666666664</c:v>
                </c:pt>
                <c:pt idx="217">
                  <c:v>0.30666666666666664</c:v>
                </c:pt>
                <c:pt idx="218">
                  <c:v>0.30666666666666664</c:v>
                </c:pt>
                <c:pt idx="219">
                  <c:v>0.30666666666666664</c:v>
                </c:pt>
                <c:pt idx="220">
                  <c:v>0.30666666666666664</c:v>
                </c:pt>
                <c:pt idx="221">
                  <c:v>0.30666666666666664</c:v>
                </c:pt>
                <c:pt idx="222">
                  <c:v>0.30666666666666664</c:v>
                </c:pt>
                <c:pt idx="223">
                  <c:v>0.30666666666666664</c:v>
                </c:pt>
                <c:pt idx="224">
                  <c:v>0.30666666666666664</c:v>
                </c:pt>
                <c:pt idx="225">
                  <c:v>0.30666666666666664</c:v>
                </c:pt>
                <c:pt idx="226">
                  <c:v>0.30666666666666664</c:v>
                </c:pt>
                <c:pt idx="227">
                  <c:v>0.30666666666666664</c:v>
                </c:pt>
                <c:pt idx="228">
                  <c:v>0.30666666666666664</c:v>
                </c:pt>
                <c:pt idx="229">
                  <c:v>0.30666666666666664</c:v>
                </c:pt>
                <c:pt idx="230">
                  <c:v>0.30666666666666664</c:v>
                </c:pt>
                <c:pt idx="231">
                  <c:v>0.30666666666666664</c:v>
                </c:pt>
                <c:pt idx="232">
                  <c:v>0.30666666666666664</c:v>
                </c:pt>
                <c:pt idx="233">
                  <c:v>0.30666666666666664</c:v>
                </c:pt>
                <c:pt idx="234">
                  <c:v>0.30666666666666664</c:v>
                </c:pt>
                <c:pt idx="235">
                  <c:v>0.30666666666666664</c:v>
                </c:pt>
                <c:pt idx="236">
                  <c:v>0.30666666666666664</c:v>
                </c:pt>
                <c:pt idx="237">
                  <c:v>0.30666666666666664</c:v>
                </c:pt>
                <c:pt idx="238">
                  <c:v>0.30666666666666664</c:v>
                </c:pt>
                <c:pt idx="239">
                  <c:v>0.30666666666666664</c:v>
                </c:pt>
                <c:pt idx="240">
                  <c:v>0.30666666666666664</c:v>
                </c:pt>
                <c:pt idx="241">
                  <c:v>0.30666666666666664</c:v>
                </c:pt>
                <c:pt idx="242">
                  <c:v>0.30666666666666664</c:v>
                </c:pt>
                <c:pt idx="243">
                  <c:v>0.30666666666666664</c:v>
                </c:pt>
                <c:pt idx="244">
                  <c:v>0.30666666666666664</c:v>
                </c:pt>
                <c:pt idx="245">
                  <c:v>0.30666666666666664</c:v>
                </c:pt>
                <c:pt idx="246">
                  <c:v>0.30666666666666664</c:v>
                </c:pt>
                <c:pt idx="247">
                  <c:v>0.30666666666666664</c:v>
                </c:pt>
                <c:pt idx="248">
                  <c:v>0.30666666666666664</c:v>
                </c:pt>
                <c:pt idx="249">
                  <c:v>0.30666666666666664</c:v>
                </c:pt>
                <c:pt idx="250">
                  <c:v>0.30666666666666664</c:v>
                </c:pt>
                <c:pt idx="251">
                  <c:v>0.30666666666666664</c:v>
                </c:pt>
                <c:pt idx="252">
                  <c:v>0.30666666666666664</c:v>
                </c:pt>
                <c:pt idx="253">
                  <c:v>0.30666666666666664</c:v>
                </c:pt>
                <c:pt idx="254">
                  <c:v>0.30666666666666664</c:v>
                </c:pt>
                <c:pt idx="255">
                  <c:v>0.30666666666666664</c:v>
                </c:pt>
                <c:pt idx="256">
                  <c:v>0.30666666666666664</c:v>
                </c:pt>
                <c:pt idx="257">
                  <c:v>0.30666666666666664</c:v>
                </c:pt>
                <c:pt idx="258">
                  <c:v>0.30666666666666664</c:v>
                </c:pt>
                <c:pt idx="259">
                  <c:v>0.30666666666666664</c:v>
                </c:pt>
                <c:pt idx="260">
                  <c:v>0.30666666666666664</c:v>
                </c:pt>
                <c:pt idx="261">
                  <c:v>0.30666666666666664</c:v>
                </c:pt>
                <c:pt idx="262">
                  <c:v>0.30666666666666664</c:v>
                </c:pt>
                <c:pt idx="263">
                  <c:v>0.30666666666666664</c:v>
                </c:pt>
                <c:pt idx="264">
                  <c:v>0.30666666666666664</c:v>
                </c:pt>
                <c:pt idx="265">
                  <c:v>0.30666666666666664</c:v>
                </c:pt>
                <c:pt idx="266">
                  <c:v>0.30666666666666664</c:v>
                </c:pt>
                <c:pt idx="267">
                  <c:v>0.30666666666666664</c:v>
                </c:pt>
                <c:pt idx="268">
                  <c:v>0.30666666666666664</c:v>
                </c:pt>
                <c:pt idx="269">
                  <c:v>0.30666666666666664</c:v>
                </c:pt>
                <c:pt idx="270">
                  <c:v>0.30666666666666664</c:v>
                </c:pt>
                <c:pt idx="271">
                  <c:v>0.30666666666666664</c:v>
                </c:pt>
                <c:pt idx="272">
                  <c:v>0.30666666666666664</c:v>
                </c:pt>
                <c:pt idx="273">
                  <c:v>0.30666666666666664</c:v>
                </c:pt>
                <c:pt idx="274">
                  <c:v>0.30666666666666664</c:v>
                </c:pt>
                <c:pt idx="275">
                  <c:v>0.30666666666666664</c:v>
                </c:pt>
                <c:pt idx="276">
                  <c:v>0.30666666666666664</c:v>
                </c:pt>
                <c:pt idx="277">
                  <c:v>0.30666666666666664</c:v>
                </c:pt>
                <c:pt idx="278">
                  <c:v>0.30666666666666664</c:v>
                </c:pt>
                <c:pt idx="279">
                  <c:v>0.30666666666666664</c:v>
                </c:pt>
                <c:pt idx="280">
                  <c:v>0.30666666666666664</c:v>
                </c:pt>
                <c:pt idx="281">
                  <c:v>0.30666666666666664</c:v>
                </c:pt>
                <c:pt idx="282">
                  <c:v>0.30666666666666664</c:v>
                </c:pt>
                <c:pt idx="283">
                  <c:v>0.30666666666666664</c:v>
                </c:pt>
                <c:pt idx="284">
                  <c:v>0.30666666666666664</c:v>
                </c:pt>
                <c:pt idx="285">
                  <c:v>0.30666666666666664</c:v>
                </c:pt>
                <c:pt idx="286">
                  <c:v>0.30666666666666664</c:v>
                </c:pt>
                <c:pt idx="287">
                  <c:v>0.30666666666666664</c:v>
                </c:pt>
                <c:pt idx="288">
                  <c:v>0.30666666666666664</c:v>
                </c:pt>
                <c:pt idx="289">
                  <c:v>0.30666666666666664</c:v>
                </c:pt>
                <c:pt idx="290">
                  <c:v>0.30666666666666664</c:v>
                </c:pt>
                <c:pt idx="291">
                  <c:v>0.30666666666666664</c:v>
                </c:pt>
                <c:pt idx="292">
                  <c:v>0.30666666666666664</c:v>
                </c:pt>
                <c:pt idx="293">
                  <c:v>0.30666666666666664</c:v>
                </c:pt>
                <c:pt idx="294">
                  <c:v>0.30666666666666664</c:v>
                </c:pt>
                <c:pt idx="295">
                  <c:v>0.30666666666666664</c:v>
                </c:pt>
                <c:pt idx="296">
                  <c:v>0.30666666666666664</c:v>
                </c:pt>
                <c:pt idx="297">
                  <c:v>0.30666666666666664</c:v>
                </c:pt>
                <c:pt idx="298">
                  <c:v>0.30666666666666664</c:v>
                </c:pt>
                <c:pt idx="299">
                  <c:v>0.30666666666666664</c:v>
                </c:pt>
                <c:pt idx="300">
                  <c:v>0.30666666666666664</c:v>
                </c:pt>
                <c:pt idx="301">
                  <c:v>0.30666666666666664</c:v>
                </c:pt>
                <c:pt idx="302">
                  <c:v>0.30666666666666664</c:v>
                </c:pt>
                <c:pt idx="303">
                  <c:v>0.30666666666666664</c:v>
                </c:pt>
                <c:pt idx="304">
                  <c:v>0.30666666666666664</c:v>
                </c:pt>
                <c:pt idx="305">
                  <c:v>0.44333333333333336</c:v>
                </c:pt>
                <c:pt idx="306">
                  <c:v>0.44333333333333336</c:v>
                </c:pt>
                <c:pt idx="307">
                  <c:v>0.44333333333333336</c:v>
                </c:pt>
                <c:pt idx="308">
                  <c:v>0.44333333333333336</c:v>
                </c:pt>
                <c:pt idx="309">
                  <c:v>0.44333333333333336</c:v>
                </c:pt>
                <c:pt idx="310">
                  <c:v>0.44333333333333336</c:v>
                </c:pt>
                <c:pt idx="311">
                  <c:v>0.44333333333333336</c:v>
                </c:pt>
                <c:pt idx="312">
                  <c:v>0.44333333333333336</c:v>
                </c:pt>
                <c:pt idx="313">
                  <c:v>0.44333333333333336</c:v>
                </c:pt>
                <c:pt idx="314">
                  <c:v>0.44333333333333336</c:v>
                </c:pt>
                <c:pt idx="315">
                  <c:v>0.44333333333333336</c:v>
                </c:pt>
                <c:pt idx="316">
                  <c:v>0.44333333333333336</c:v>
                </c:pt>
                <c:pt idx="317">
                  <c:v>0.44333333333333336</c:v>
                </c:pt>
                <c:pt idx="318">
                  <c:v>0.44333333333333336</c:v>
                </c:pt>
                <c:pt idx="319">
                  <c:v>0.44333333333333336</c:v>
                </c:pt>
                <c:pt idx="320">
                  <c:v>0.44333333333333336</c:v>
                </c:pt>
                <c:pt idx="321">
                  <c:v>0.44333333333333336</c:v>
                </c:pt>
                <c:pt idx="322">
                  <c:v>0.44333333333333336</c:v>
                </c:pt>
                <c:pt idx="323">
                  <c:v>0.44333333333333336</c:v>
                </c:pt>
                <c:pt idx="324">
                  <c:v>0.44333333333333336</c:v>
                </c:pt>
                <c:pt idx="325">
                  <c:v>0.44333333333333336</c:v>
                </c:pt>
                <c:pt idx="326">
                  <c:v>0.44333333333333336</c:v>
                </c:pt>
                <c:pt idx="327">
                  <c:v>0.44333333333333336</c:v>
                </c:pt>
                <c:pt idx="328">
                  <c:v>0.44333333333333336</c:v>
                </c:pt>
                <c:pt idx="329">
                  <c:v>0.44333333333333336</c:v>
                </c:pt>
                <c:pt idx="330">
                  <c:v>0.44333333333333336</c:v>
                </c:pt>
                <c:pt idx="331">
                  <c:v>0.44333333333333336</c:v>
                </c:pt>
                <c:pt idx="332">
                  <c:v>0.44333333333333336</c:v>
                </c:pt>
                <c:pt idx="333">
                  <c:v>0.44333333333333336</c:v>
                </c:pt>
                <c:pt idx="334">
                  <c:v>0.44333333333333336</c:v>
                </c:pt>
                <c:pt idx="335">
                  <c:v>0.52</c:v>
                </c:pt>
                <c:pt idx="336">
                  <c:v>0.52</c:v>
                </c:pt>
                <c:pt idx="337">
                  <c:v>0.52</c:v>
                </c:pt>
                <c:pt idx="338">
                  <c:v>0.52</c:v>
                </c:pt>
                <c:pt idx="339">
                  <c:v>0.52</c:v>
                </c:pt>
                <c:pt idx="340">
                  <c:v>0.52</c:v>
                </c:pt>
                <c:pt idx="341">
                  <c:v>0.52</c:v>
                </c:pt>
                <c:pt idx="342">
                  <c:v>0.52</c:v>
                </c:pt>
                <c:pt idx="343">
                  <c:v>0.52</c:v>
                </c:pt>
                <c:pt idx="344">
                  <c:v>0.52</c:v>
                </c:pt>
                <c:pt idx="345">
                  <c:v>0.52</c:v>
                </c:pt>
                <c:pt idx="346">
                  <c:v>0.52</c:v>
                </c:pt>
                <c:pt idx="347">
                  <c:v>0.52</c:v>
                </c:pt>
                <c:pt idx="348">
                  <c:v>0.52</c:v>
                </c:pt>
                <c:pt idx="349">
                  <c:v>0.52</c:v>
                </c:pt>
                <c:pt idx="350">
                  <c:v>0.52</c:v>
                </c:pt>
                <c:pt idx="351">
                  <c:v>0.52</c:v>
                </c:pt>
                <c:pt idx="352">
                  <c:v>0.52</c:v>
                </c:pt>
                <c:pt idx="353">
                  <c:v>0.52</c:v>
                </c:pt>
                <c:pt idx="354">
                  <c:v>0.52</c:v>
                </c:pt>
                <c:pt idx="355">
                  <c:v>0.52</c:v>
                </c:pt>
                <c:pt idx="356">
                  <c:v>0.52</c:v>
                </c:pt>
                <c:pt idx="357">
                  <c:v>0.52</c:v>
                </c:pt>
                <c:pt idx="358">
                  <c:v>0.52</c:v>
                </c:pt>
                <c:pt idx="359">
                  <c:v>0.52</c:v>
                </c:pt>
                <c:pt idx="360">
                  <c:v>0.52</c:v>
                </c:pt>
                <c:pt idx="361">
                  <c:v>0.52</c:v>
                </c:pt>
                <c:pt idx="362">
                  <c:v>0.52</c:v>
                </c:pt>
                <c:pt idx="363">
                  <c:v>0.52</c:v>
                </c:pt>
                <c:pt idx="364">
                  <c:v>0.52</c:v>
                </c:pt>
                <c:pt idx="365">
                  <c:v>0.52</c:v>
                </c:pt>
              </c:numCache>
            </c:numRef>
          </c:val>
          <c:smooth val="0"/>
          <c:extLst>
            <c:ext xmlns:c16="http://schemas.microsoft.com/office/drawing/2014/chart" uri="{C3380CC4-5D6E-409C-BE32-E72D297353CC}">
              <c16:uniqueId val="{00000001-66EA-4545-A8A2-2FBD4018A1DB}"/>
            </c:ext>
          </c:extLst>
        </c:ser>
        <c:ser>
          <c:idx val="2"/>
          <c:order val="2"/>
          <c:tx>
            <c:strRef>
              <c:f>主流省份电价!$V$5</c:f>
              <c:strCache>
                <c:ptCount val="1"/>
                <c:pt idx="0">
                  <c:v>2022</c:v>
                </c:pt>
              </c:strCache>
            </c:strRef>
          </c:tx>
          <c:spPr>
            <a:ln w="19050" cap="rnd">
              <a:solidFill>
                <a:srgbClr val="A6A6A6">
                  <a:alpha val="60000"/>
                </a:srgbClr>
              </a:solidFill>
              <a:round/>
            </a:ln>
            <a:effectLst/>
          </c:spPr>
          <c:marker>
            <c:symbol val="none"/>
          </c:marker>
          <c:cat>
            <c:strRef>
              <c:f>主流省份电价!$Q$6:$Q$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V$6:$V$371</c:f>
              <c:numCache>
                <c:formatCode>#,##0.00_);[Red]\(#,##0.00\)</c:formatCode>
                <c:ptCount val="366"/>
                <c:pt idx="0">
                  <c:v>0.55333333333333334</c:v>
                </c:pt>
                <c:pt idx="1">
                  <c:v>0.55333333333333334</c:v>
                </c:pt>
                <c:pt idx="2">
                  <c:v>0.55333333333333334</c:v>
                </c:pt>
                <c:pt idx="3">
                  <c:v>0.55333333333333334</c:v>
                </c:pt>
                <c:pt idx="4">
                  <c:v>0.55333333333333334</c:v>
                </c:pt>
                <c:pt idx="5">
                  <c:v>0.55333333333333334</c:v>
                </c:pt>
                <c:pt idx="6">
                  <c:v>0.55333333333333334</c:v>
                </c:pt>
                <c:pt idx="7">
                  <c:v>0.55333333333333334</c:v>
                </c:pt>
                <c:pt idx="8">
                  <c:v>0.55333333333333334</c:v>
                </c:pt>
                <c:pt idx="9">
                  <c:v>0.55333333333333334</c:v>
                </c:pt>
                <c:pt idx="10">
                  <c:v>0.55333333333333334</c:v>
                </c:pt>
                <c:pt idx="11">
                  <c:v>0.55333333333333334</c:v>
                </c:pt>
                <c:pt idx="12">
                  <c:v>0.55333333333333334</c:v>
                </c:pt>
                <c:pt idx="13">
                  <c:v>0.55333333333333334</c:v>
                </c:pt>
                <c:pt idx="14">
                  <c:v>0.55333333333333334</c:v>
                </c:pt>
                <c:pt idx="15">
                  <c:v>0.55333333333333334</c:v>
                </c:pt>
                <c:pt idx="16">
                  <c:v>0.55333333333333334</c:v>
                </c:pt>
                <c:pt idx="17">
                  <c:v>0.55333333333333334</c:v>
                </c:pt>
                <c:pt idx="18">
                  <c:v>0.55333333333333334</c:v>
                </c:pt>
                <c:pt idx="19">
                  <c:v>0.55333333333333334</c:v>
                </c:pt>
                <c:pt idx="20">
                  <c:v>0.55333333333333334</c:v>
                </c:pt>
                <c:pt idx="21">
                  <c:v>0.55333333333333334</c:v>
                </c:pt>
                <c:pt idx="22">
                  <c:v>0.55333333333333334</c:v>
                </c:pt>
                <c:pt idx="23">
                  <c:v>0.55333333333333334</c:v>
                </c:pt>
                <c:pt idx="24">
                  <c:v>0.55333333333333334</c:v>
                </c:pt>
                <c:pt idx="25">
                  <c:v>0.55333333333333334</c:v>
                </c:pt>
                <c:pt idx="26">
                  <c:v>0.55333333333333334</c:v>
                </c:pt>
                <c:pt idx="27">
                  <c:v>0.55333333333333334</c:v>
                </c:pt>
                <c:pt idx="28">
                  <c:v>0.55333333333333334</c:v>
                </c:pt>
                <c:pt idx="29">
                  <c:v>0.55333333333333334</c:v>
                </c:pt>
                <c:pt idx="30">
                  <c:v>0.55333333333333334</c:v>
                </c:pt>
                <c:pt idx="31">
                  <c:v>0.55333333333333334</c:v>
                </c:pt>
                <c:pt idx="32">
                  <c:v>0.55333333333333334</c:v>
                </c:pt>
                <c:pt idx="33">
                  <c:v>0.55333333333333334</c:v>
                </c:pt>
                <c:pt idx="34">
                  <c:v>0.55333333333333334</c:v>
                </c:pt>
                <c:pt idx="35">
                  <c:v>0.55333333333333334</c:v>
                </c:pt>
                <c:pt idx="36">
                  <c:v>0.55333333333333334</c:v>
                </c:pt>
                <c:pt idx="37">
                  <c:v>0.55333333333333334</c:v>
                </c:pt>
                <c:pt idx="38">
                  <c:v>0.55333333333333334</c:v>
                </c:pt>
                <c:pt idx="39">
                  <c:v>0.55333333333333334</c:v>
                </c:pt>
                <c:pt idx="40">
                  <c:v>0.55333333333333334</c:v>
                </c:pt>
                <c:pt idx="41">
                  <c:v>0.55333333333333334</c:v>
                </c:pt>
                <c:pt idx="42">
                  <c:v>0.55333333333333334</c:v>
                </c:pt>
                <c:pt idx="43">
                  <c:v>0.55333333333333334</c:v>
                </c:pt>
                <c:pt idx="44">
                  <c:v>0.55333333333333334</c:v>
                </c:pt>
                <c:pt idx="45">
                  <c:v>0.55333333333333334</c:v>
                </c:pt>
                <c:pt idx="46">
                  <c:v>0.55333333333333334</c:v>
                </c:pt>
                <c:pt idx="47">
                  <c:v>0.55333333333333334</c:v>
                </c:pt>
                <c:pt idx="48">
                  <c:v>0.55333333333333334</c:v>
                </c:pt>
                <c:pt idx="49">
                  <c:v>0.55333333333333334</c:v>
                </c:pt>
                <c:pt idx="50">
                  <c:v>0.55333333333333334</c:v>
                </c:pt>
                <c:pt idx="51">
                  <c:v>0.55333333333333334</c:v>
                </c:pt>
                <c:pt idx="52">
                  <c:v>0.55333333333333334</c:v>
                </c:pt>
                <c:pt idx="53">
                  <c:v>0.55333333333333334</c:v>
                </c:pt>
                <c:pt idx="54">
                  <c:v>0.55333333333333334</c:v>
                </c:pt>
                <c:pt idx="55">
                  <c:v>0.55333333333333334</c:v>
                </c:pt>
                <c:pt idx="56">
                  <c:v>0.55333333333333334</c:v>
                </c:pt>
                <c:pt idx="57">
                  <c:v>0.55333333333333334</c:v>
                </c:pt>
                <c:pt idx="58">
                  <c:v>0.55333333333333334</c:v>
                </c:pt>
                <c:pt idx="60">
                  <c:v>0.59666666666666668</c:v>
                </c:pt>
                <c:pt idx="61">
                  <c:v>0.59666666666666668</c:v>
                </c:pt>
                <c:pt idx="62">
                  <c:v>0.59666666666666668</c:v>
                </c:pt>
                <c:pt idx="63">
                  <c:v>0.59666666666666668</c:v>
                </c:pt>
                <c:pt idx="64">
                  <c:v>0.59666666666666668</c:v>
                </c:pt>
                <c:pt idx="65">
                  <c:v>0.59666666666666668</c:v>
                </c:pt>
                <c:pt idx="66">
                  <c:v>0.59666666666666668</c:v>
                </c:pt>
                <c:pt idx="67">
                  <c:v>0.59666666666666668</c:v>
                </c:pt>
                <c:pt idx="68">
                  <c:v>0.59666666666666668</c:v>
                </c:pt>
                <c:pt idx="69">
                  <c:v>0.59666666666666668</c:v>
                </c:pt>
                <c:pt idx="70">
                  <c:v>0.59666666666666668</c:v>
                </c:pt>
                <c:pt idx="71">
                  <c:v>0.59666666666666668</c:v>
                </c:pt>
                <c:pt idx="72">
                  <c:v>0.59666666666666668</c:v>
                </c:pt>
                <c:pt idx="73">
                  <c:v>0.59666666666666668</c:v>
                </c:pt>
                <c:pt idx="74">
                  <c:v>0.59666666666666668</c:v>
                </c:pt>
                <c:pt idx="75">
                  <c:v>0.59666666666666668</c:v>
                </c:pt>
                <c:pt idx="76">
                  <c:v>0.59666666666666668</c:v>
                </c:pt>
                <c:pt idx="77">
                  <c:v>0.59666666666666668</c:v>
                </c:pt>
                <c:pt idx="78">
                  <c:v>0.59666666666666668</c:v>
                </c:pt>
                <c:pt idx="79">
                  <c:v>0.59666666666666668</c:v>
                </c:pt>
                <c:pt idx="80">
                  <c:v>0.59666666666666668</c:v>
                </c:pt>
                <c:pt idx="81">
                  <c:v>0.59666666666666668</c:v>
                </c:pt>
                <c:pt idx="82">
                  <c:v>0.59666666666666668</c:v>
                </c:pt>
                <c:pt idx="83">
                  <c:v>0.59666666666666668</c:v>
                </c:pt>
                <c:pt idx="84">
                  <c:v>0.59666666666666668</c:v>
                </c:pt>
                <c:pt idx="85">
                  <c:v>0.59666666666666668</c:v>
                </c:pt>
                <c:pt idx="86">
                  <c:v>0.59666666666666668</c:v>
                </c:pt>
                <c:pt idx="87">
                  <c:v>0.59666666666666668</c:v>
                </c:pt>
                <c:pt idx="88">
                  <c:v>0.59666666666666668</c:v>
                </c:pt>
                <c:pt idx="89">
                  <c:v>0.59666666666666668</c:v>
                </c:pt>
                <c:pt idx="90">
                  <c:v>0.59666666666666668</c:v>
                </c:pt>
                <c:pt idx="91">
                  <c:v>0.55000000000000004</c:v>
                </c:pt>
                <c:pt idx="92">
                  <c:v>0.55000000000000004</c:v>
                </c:pt>
                <c:pt idx="93">
                  <c:v>0.55000000000000004</c:v>
                </c:pt>
                <c:pt idx="94">
                  <c:v>0.55000000000000004</c:v>
                </c:pt>
                <c:pt idx="95">
                  <c:v>0.55000000000000004</c:v>
                </c:pt>
                <c:pt idx="96">
                  <c:v>0.55000000000000004</c:v>
                </c:pt>
                <c:pt idx="97">
                  <c:v>0.55000000000000004</c:v>
                </c:pt>
                <c:pt idx="98">
                  <c:v>0.55000000000000004</c:v>
                </c:pt>
                <c:pt idx="99">
                  <c:v>0.55000000000000004</c:v>
                </c:pt>
                <c:pt idx="100">
                  <c:v>0.55000000000000004</c:v>
                </c:pt>
                <c:pt idx="101">
                  <c:v>0.55000000000000004</c:v>
                </c:pt>
                <c:pt idx="102">
                  <c:v>0.55000000000000004</c:v>
                </c:pt>
                <c:pt idx="103">
                  <c:v>0.55000000000000004</c:v>
                </c:pt>
                <c:pt idx="104">
                  <c:v>0.55000000000000004</c:v>
                </c:pt>
                <c:pt idx="105">
                  <c:v>0.55000000000000004</c:v>
                </c:pt>
                <c:pt idx="106">
                  <c:v>0.55000000000000004</c:v>
                </c:pt>
                <c:pt idx="107">
                  <c:v>0.55000000000000004</c:v>
                </c:pt>
                <c:pt idx="108">
                  <c:v>0.55000000000000004</c:v>
                </c:pt>
                <c:pt idx="109">
                  <c:v>0.55000000000000004</c:v>
                </c:pt>
                <c:pt idx="110">
                  <c:v>0.55000000000000004</c:v>
                </c:pt>
                <c:pt idx="111">
                  <c:v>0.55000000000000004</c:v>
                </c:pt>
                <c:pt idx="112">
                  <c:v>0.55000000000000004</c:v>
                </c:pt>
                <c:pt idx="113">
                  <c:v>0.55000000000000004</c:v>
                </c:pt>
                <c:pt idx="114">
                  <c:v>0.55000000000000004</c:v>
                </c:pt>
                <c:pt idx="115">
                  <c:v>0.55000000000000004</c:v>
                </c:pt>
                <c:pt idx="116">
                  <c:v>0.55000000000000004</c:v>
                </c:pt>
                <c:pt idx="117">
                  <c:v>0.55000000000000004</c:v>
                </c:pt>
                <c:pt idx="118">
                  <c:v>0.55000000000000004</c:v>
                </c:pt>
                <c:pt idx="119">
                  <c:v>0.55000000000000004</c:v>
                </c:pt>
                <c:pt idx="120">
                  <c:v>0.55000000000000004</c:v>
                </c:pt>
                <c:pt idx="121">
                  <c:v>0.53333333333333333</c:v>
                </c:pt>
                <c:pt idx="122">
                  <c:v>0.53333333333333333</c:v>
                </c:pt>
                <c:pt idx="123">
                  <c:v>0.53333333333333333</c:v>
                </c:pt>
                <c:pt idx="124">
                  <c:v>0.53333333333333333</c:v>
                </c:pt>
                <c:pt idx="125">
                  <c:v>0.53333333333333333</c:v>
                </c:pt>
                <c:pt idx="126">
                  <c:v>0.53333333333333333</c:v>
                </c:pt>
                <c:pt idx="127">
                  <c:v>0.53333333333333333</c:v>
                </c:pt>
                <c:pt idx="128">
                  <c:v>0.53333333333333333</c:v>
                </c:pt>
                <c:pt idx="129">
                  <c:v>0.53333333333333333</c:v>
                </c:pt>
                <c:pt idx="130">
                  <c:v>0.53333333333333333</c:v>
                </c:pt>
                <c:pt idx="131">
                  <c:v>0.53333333333333333</c:v>
                </c:pt>
                <c:pt idx="132">
                  <c:v>0.53333333333333333</c:v>
                </c:pt>
                <c:pt idx="133">
                  <c:v>0.53333333333333333</c:v>
                </c:pt>
                <c:pt idx="134">
                  <c:v>0.53333333333333333</c:v>
                </c:pt>
                <c:pt idx="135">
                  <c:v>0.53333333333333333</c:v>
                </c:pt>
                <c:pt idx="136">
                  <c:v>0.53333333333333333</c:v>
                </c:pt>
                <c:pt idx="137">
                  <c:v>0.53333333333333333</c:v>
                </c:pt>
                <c:pt idx="138">
                  <c:v>0.53333333333333333</c:v>
                </c:pt>
                <c:pt idx="139">
                  <c:v>0.53333333333333333</c:v>
                </c:pt>
                <c:pt idx="140">
                  <c:v>0.53333333333333333</c:v>
                </c:pt>
                <c:pt idx="141">
                  <c:v>0.53333333333333333</c:v>
                </c:pt>
                <c:pt idx="142">
                  <c:v>0.53333333333333333</c:v>
                </c:pt>
                <c:pt idx="143">
                  <c:v>0.53333333333333333</c:v>
                </c:pt>
                <c:pt idx="144">
                  <c:v>0.53333333333333333</c:v>
                </c:pt>
                <c:pt idx="145">
                  <c:v>0.53333333333333333</c:v>
                </c:pt>
                <c:pt idx="146">
                  <c:v>0.53333333333333333</c:v>
                </c:pt>
                <c:pt idx="147">
                  <c:v>0.53333333333333333</c:v>
                </c:pt>
                <c:pt idx="148">
                  <c:v>0.53333333333333333</c:v>
                </c:pt>
                <c:pt idx="149">
                  <c:v>0.53333333333333333</c:v>
                </c:pt>
                <c:pt idx="150">
                  <c:v>0.53333333333333333</c:v>
                </c:pt>
                <c:pt idx="151">
                  <c:v>0.53333333333333333</c:v>
                </c:pt>
                <c:pt idx="152">
                  <c:v>0.40166666666666667</c:v>
                </c:pt>
                <c:pt idx="153">
                  <c:v>0.40166666666666667</c:v>
                </c:pt>
                <c:pt idx="154">
                  <c:v>0.40166666666666667</c:v>
                </c:pt>
                <c:pt idx="155">
                  <c:v>0.40166666666666667</c:v>
                </c:pt>
                <c:pt idx="156">
                  <c:v>0.40166666666666667</c:v>
                </c:pt>
                <c:pt idx="157">
                  <c:v>0.40166666666666667</c:v>
                </c:pt>
                <c:pt idx="158">
                  <c:v>0.40166666666666667</c:v>
                </c:pt>
                <c:pt idx="159">
                  <c:v>0.40166666666666667</c:v>
                </c:pt>
                <c:pt idx="160">
                  <c:v>0.40166666666666667</c:v>
                </c:pt>
                <c:pt idx="161">
                  <c:v>0.40166666666666667</c:v>
                </c:pt>
                <c:pt idx="162">
                  <c:v>0.40166666666666667</c:v>
                </c:pt>
                <c:pt idx="163">
                  <c:v>0.40166666666666667</c:v>
                </c:pt>
                <c:pt idx="164">
                  <c:v>0.40166666666666667</c:v>
                </c:pt>
                <c:pt idx="165">
                  <c:v>0.40166666666666667</c:v>
                </c:pt>
                <c:pt idx="166">
                  <c:v>0.40166666666666667</c:v>
                </c:pt>
                <c:pt idx="167">
                  <c:v>0.40166666666666667</c:v>
                </c:pt>
                <c:pt idx="168">
                  <c:v>0.40166666666666667</c:v>
                </c:pt>
                <c:pt idx="169">
                  <c:v>0.40166666666666667</c:v>
                </c:pt>
                <c:pt idx="170">
                  <c:v>0.40166666666666667</c:v>
                </c:pt>
                <c:pt idx="171">
                  <c:v>0.40166666666666667</c:v>
                </c:pt>
                <c:pt idx="172">
                  <c:v>0.40166666666666667</c:v>
                </c:pt>
                <c:pt idx="173">
                  <c:v>0.40166666666666667</c:v>
                </c:pt>
                <c:pt idx="174">
                  <c:v>0.40166666666666667</c:v>
                </c:pt>
                <c:pt idx="175">
                  <c:v>0.40166666666666667</c:v>
                </c:pt>
                <c:pt idx="176">
                  <c:v>0.40166666666666667</c:v>
                </c:pt>
                <c:pt idx="177">
                  <c:v>0.40166666666666667</c:v>
                </c:pt>
                <c:pt idx="178">
                  <c:v>0.40166666666666667</c:v>
                </c:pt>
                <c:pt idx="179">
                  <c:v>0.40166666666666667</c:v>
                </c:pt>
                <c:pt idx="180">
                  <c:v>0.40166666666666667</c:v>
                </c:pt>
                <c:pt idx="181">
                  <c:v>0.40166666666666667</c:v>
                </c:pt>
                <c:pt idx="182">
                  <c:v>0.38166666666666665</c:v>
                </c:pt>
                <c:pt idx="183">
                  <c:v>0.38166666666666665</c:v>
                </c:pt>
                <c:pt idx="184">
                  <c:v>0.38166666666666665</c:v>
                </c:pt>
                <c:pt idx="185">
                  <c:v>0.38166666666666665</c:v>
                </c:pt>
                <c:pt idx="186">
                  <c:v>0.38166666666666665</c:v>
                </c:pt>
                <c:pt idx="187">
                  <c:v>0.38166666666666665</c:v>
                </c:pt>
                <c:pt idx="188">
                  <c:v>0.38166666666666665</c:v>
                </c:pt>
                <c:pt idx="189">
                  <c:v>0.38166666666666665</c:v>
                </c:pt>
                <c:pt idx="190">
                  <c:v>0.38166666666666665</c:v>
                </c:pt>
                <c:pt idx="191">
                  <c:v>0.38166666666666665</c:v>
                </c:pt>
                <c:pt idx="192">
                  <c:v>0.38166666666666665</c:v>
                </c:pt>
                <c:pt idx="193">
                  <c:v>0.38166666666666665</c:v>
                </c:pt>
                <c:pt idx="194">
                  <c:v>0.38166666666666665</c:v>
                </c:pt>
                <c:pt idx="195">
                  <c:v>0.38166666666666665</c:v>
                </c:pt>
                <c:pt idx="196">
                  <c:v>0.38166666666666665</c:v>
                </c:pt>
                <c:pt idx="197">
                  <c:v>0.38166666666666665</c:v>
                </c:pt>
                <c:pt idx="198">
                  <c:v>0.38166666666666665</c:v>
                </c:pt>
                <c:pt idx="199">
                  <c:v>0.38166666666666665</c:v>
                </c:pt>
                <c:pt idx="200">
                  <c:v>0.38166666666666665</c:v>
                </c:pt>
                <c:pt idx="201">
                  <c:v>0.38166666666666665</c:v>
                </c:pt>
                <c:pt idx="202">
                  <c:v>0.38166666666666665</c:v>
                </c:pt>
                <c:pt idx="203">
                  <c:v>0.38166666666666665</c:v>
                </c:pt>
                <c:pt idx="204">
                  <c:v>0.38166666666666665</c:v>
                </c:pt>
                <c:pt idx="205">
                  <c:v>0.38166666666666665</c:v>
                </c:pt>
                <c:pt idx="206">
                  <c:v>0.38166666666666665</c:v>
                </c:pt>
                <c:pt idx="207">
                  <c:v>0.38166666666666665</c:v>
                </c:pt>
                <c:pt idx="208">
                  <c:v>0.38166666666666665</c:v>
                </c:pt>
                <c:pt idx="209">
                  <c:v>0.3666666666666667</c:v>
                </c:pt>
                <c:pt idx="210">
                  <c:v>0.3666666666666667</c:v>
                </c:pt>
                <c:pt idx="211">
                  <c:v>0.3666666666666667</c:v>
                </c:pt>
                <c:pt idx="212">
                  <c:v>0.3666666666666667</c:v>
                </c:pt>
                <c:pt idx="213">
                  <c:v>0.3666666666666667</c:v>
                </c:pt>
                <c:pt idx="214">
                  <c:v>0.3666666666666667</c:v>
                </c:pt>
                <c:pt idx="215">
                  <c:v>0.3666666666666667</c:v>
                </c:pt>
                <c:pt idx="216">
                  <c:v>0.3666666666666667</c:v>
                </c:pt>
                <c:pt idx="217">
                  <c:v>0.3666666666666667</c:v>
                </c:pt>
                <c:pt idx="218">
                  <c:v>0.3666666666666667</c:v>
                </c:pt>
                <c:pt idx="219">
                  <c:v>0.3666666666666667</c:v>
                </c:pt>
                <c:pt idx="220">
                  <c:v>0.3666666666666667</c:v>
                </c:pt>
                <c:pt idx="221">
                  <c:v>0.3666666666666667</c:v>
                </c:pt>
                <c:pt idx="222">
                  <c:v>0.3666666666666667</c:v>
                </c:pt>
                <c:pt idx="223">
                  <c:v>0.3666666666666667</c:v>
                </c:pt>
                <c:pt idx="224">
                  <c:v>0.3666666666666667</c:v>
                </c:pt>
                <c:pt idx="225">
                  <c:v>0.3666666666666667</c:v>
                </c:pt>
                <c:pt idx="226">
                  <c:v>0.3666666666666667</c:v>
                </c:pt>
                <c:pt idx="227">
                  <c:v>0.3666666666666667</c:v>
                </c:pt>
                <c:pt idx="228">
                  <c:v>0.3666666666666667</c:v>
                </c:pt>
                <c:pt idx="229">
                  <c:v>0.3666666666666667</c:v>
                </c:pt>
                <c:pt idx="230">
                  <c:v>0.3666666666666667</c:v>
                </c:pt>
                <c:pt idx="231">
                  <c:v>0.3666666666666667</c:v>
                </c:pt>
                <c:pt idx="232">
                  <c:v>0.3666666666666667</c:v>
                </c:pt>
                <c:pt idx="233">
                  <c:v>0.3666666666666667</c:v>
                </c:pt>
                <c:pt idx="234">
                  <c:v>0.3666666666666667</c:v>
                </c:pt>
                <c:pt idx="235">
                  <c:v>0.3666666666666667</c:v>
                </c:pt>
                <c:pt idx="236">
                  <c:v>0.3666666666666667</c:v>
                </c:pt>
                <c:pt idx="237">
                  <c:v>0.3666666666666667</c:v>
                </c:pt>
                <c:pt idx="238">
                  <c:v>0.3666666666666667</c:v>
                </c:pt>
                <c:pt idx="239">
                  <c:v>0.3666666666666667</c:v>
                </c:pt>
                <c:pt idx="240">
                  <c:v>0.3666666666666667</c:v>
                </c:pt>
                <c:pt idx="241">
                  <c:v>0.3666666666666667</c:v>
                </c:pt>
                <c:pt idx="242">
                  <c:v>0.3666666666666667</c:v>
                </c:pt>
                <c:pt idx="243">
                  <c:v>0.3666666666666667</c:v>
                </c:pt>
                <c:pt idx="244">
                  <c:v>0.3666666666666667</c:v>
                </c:pt>
                <c:pt idx="245">
                  <c:v>0.3666666666666667</c:v>
                </c:pt>
                <c:pt idx="246">
                  <c:v>0.3666666666666667</c:v>
                </c:pt>
                <c:pt idx="247">
                  <c:v>0.3666666666666667</c:v>
                </c:pt>
                <c:pt idx="248">
                  <c:v>0.3666666666666667</c:v>
                </c:pt>
                <c:pt idx="249">
                  <c:v>0.3666666666666667</c:v>
                </c:pt>
                <c:pt idx="250">
                  <c:v>0.3666666666666667</c:v>
                </c:pt>
                <c:pt idx="251">
                  <c:v>0.3666666666666667</c:v>
                </c:pt>
                <c:pt idx="252">
                  <c:v>0.3666666666666667</c:v>
                </c:pt>
                <c:pt idx="253">
                  <c:v>0.3666666666666667</c:v>
                </c:pt>
                <c:pt idx="254">
                  <c:v>0.3666666666666667</c:v>
                </c:pt>
                <c:pt idx="255">
                  <c:v>0.3666666666666667</c:v>
                </c:pt>
                <c:pt idx="256">
                  <c:v>0.3666666666666667</c:v>
                </c:pt>
                <c:pt idx="257">
                  <c:v>0.3666666666666667</c:v>
                </c:pt>
                <c:pt idx="258">
                  <c:v>0.3666666666666667</c:v>
                </c:pt>
                <c:pt idx="259">
                  <c:v>0.3666666666666667</c:v>
                </c:pt>
                <c:pt idx="260">
                  <c:v>0.3666666666666667</c:v>
                </c:pt>
                <c:pt idx="261">
                  <c:v>0.3666666666666667</c:v>
                </c:pt>
                <c:pt idx="262">
                  <c:v>0.3666666666666667</c:v>
                </c:pt>
                <c:pt idx="263">
                  <c:v>0.3666666666666667</c:v>
                </c:pt>
                <c:pt idx="264">
                  <c:v>0.3666666666666667</c:v>
                </c:pt>
                <c:pt idx="265">
                  <c:v>0.3666666666666667</c:v>
                </c:pt>
                <c:pt idx="266">
                  <c:v>0.3666666666666667</c:v>
                </c:pt>
                <c:pt idx="267">
                  <c:v>0.3666666666666667</c:v>
                </c:pt>
                <c:pt idx="268">
                  <c:v>0.3666666666666667</c:v>
                </c:pt>
                <c:pt idx="269">
                  <c:v>0.3666666666666667</c:v>
                </c:pt>
                <c:pt idx="270">
                  <c:v>0.3666666666666667</c:v>
                </c:pt>
                <c:pt idx="271">
                  <c:v>0.3666666666666667</c:v>
                </c:pt>
                <c:pt idx="272">
                  <c:v>0.3666666666666667</c:v>
                </c:pt>
                <c:pt idx="273">
                  <c:v>0.3666666666666667</c:v>
                </c:pt>
                <c:pt idx="274">
                  <c:v>0.3666666666666667</c:v>
                </c:pt>
                <c:pt idx="275">
                  <c:v>0.3666666666666667</c:v>
                </c:pt>
                <c:pt idx="276">
                  <c:v>0.3666666666666667</c:v>
                </c:pt>
                <c:pt idx="277">
                  <c:v>0.3666666666666667</c:v>
                </c:pt>
                <c:pt idx="278">
                  <c:v>0.3666666666666667</c:v>
                </c:pt>
                <c:pt idx="279">
                  <c:v>0.3666666666666667</c:v>
                </c:pt>
                <c:pt idx="280">
                  <c:v>0.3666666666666667</c:v>
                </c:pt>
                <c:pt idx="281">
                  <c:v>0.3666666666666667</c:v>
                </c:pt>
                <c:pt idx="282">
                  <c:v>0.3666666666666667</c:v>
                </c:pt>
                <c:pt idx="283">
                  <c:v>0.3666666666666667</c:v>
                </c:pt>
                <c:pt idx="284">
                  <c:v>0.41</c:v>
                </c:pt>
                <c:pt idx="285">
                  <c:v>0.41</c:v>
                </c:pt>
                <c:pt idx="286">
                  <c:v>0.41</c:v>
                </c:pt>
                <c:pt idx="287">
                  <c:v>0.41</c:v>
                </c:pt>
                <c:pt idx="288">
                  <c:v>0.41</c:v>
                </c:pt>
                <c:pt idx="289">
                  <c:v>0.41</c:v>
                </c:pt>
                <c:pt idx="290">
                  <c:v>0.41</c:v>
                </c:pt>
                <c:pt idx="291">
                  <c:v>0.41</c:v>
                </c:pt>
                <c:pt idx="292">
                  <c:v>0.41</c:v>
                </c:pt>
                <c:pt idx="293">
                  <c:v>0.41</c:v>
                </c:pt>
                <c:pt idx="294">
                  <c:v>0.41</c:v>
                </c:pt>
                <c:pt idx="295">
                  <c:v>0.41</c:v>
                </c:pt>
                <c:pt idx="296">
                  <c:v>0.41</c:v>
                </c:pt>
                <c:pt idx="297">
                  <c:v>0.41</c:v>
                </c:pt>
                <c:pt idx="298">
                  <c:v>0.41</c:v>
                </c:pt>
                <c:pt idx="299">
                  <c:v>0.41</c:v>
                </c:pt>
                <c:pt idx="300">
                  <c:v>0.41</c:v>
                </c:pt>
                <c:pt idx="301">
                  <c:v>0.41</c:v>
                </c:pt>
                <c:pt idx="302">
                  <c:v>0.41</c:v>
                </c:pt>
                <c:pt idx="303">
                  <c:v>0.41</c:v>
                </c:pt>
                <c:pt idx="304">
                  <c:v>0.41</c:v>
                </c:pt>
                <c:pt idx="305">
                  <c:v>0.41</c:v>
                </c:pt>
                <c:pt idx="306">
                  <c:v>0.41</c:v>
                </c:pt>
                <c:pt idx="307">
                  <c:v>0.41</c:v>
                </c:pt>
                <c:pt idx="308">
                  <c:v>0.41</c:v>
                </c:pt>
                <c:pt idx="309">
                  <c:v>0.41</c:v>
                </c:pt>
                <c:pt idx="310">
                  <c:v>0.41</c:v>
                </c:pt>
                <c:pt idx="311">
                  <c:v>0.41</c:v>
                </c:pt>
                <c:pt idx="312">
                  <c:v>0.41</c:v>
                </c:pt>
                <c:pt idx="313">
                  <c:v>0.41</c:v>
                </c:pt>
                <c:pt idx="314">
                  <c:v>0.41</c:v>
                </c:pt>
                <c:pt idx="315">
                  <c:v>0.49666666666666665</c:v>
                </c:pt>
                <c:pt idx="316">
                  <c:v>0.49666666666666665</c:v>
                </c:pt>
                <c:pt idx="317">
                  <c:v>0.49666666666666665</c:v>
                </c:pt>
                <c:pt idx="318">
                  <c:v>0.49666666666666665</c:v>
                </c:pt>
                <c:pt idx="319">
                  <c:v>0.49666666666666665</c:v>
                </c:pt>
                <c:pt idx="320">
                  <c:v>0.49666666666666665</c:v>
                </c:pt>
                <c:pt idx="321">
                  <c:v>0.49666666666666665</c:v>
                </c:pt>
                <c:pt idx="322">
                  <c:v>0.49666666666666665</c:v>
                </c:pt>
                <c:pt idx="323">
                  <c:v>0.49666666666666665</c:v>
                </c:pt>
                <c:pt idx="324">
                  <c:v>0.49666666666666665</c:v>
                </c:pt>
                <c:pt idx="325">
                  <c:v>0.49666666666666665</c:v>
                </c:pt>
                <c:pt idx="326">
                  <c:v>0.49666666666666665</c:v>
                </c:pt>
                <c:pt idx="327">
                  <c:v>0.49666666666666665</c:v>
                </c:pt>
                <c:pt idx="328">
                  <c:v>0.49666666666666665</c:v>
                </c:pt>
                <c:pt idx="329">
                  <c:v>0.49666666666666665</c:v>
                </c:pt>
                <c:pt idx="330">
                  <c:v>0.49666666666666665</c:v>
                </c:pt>
                <c:pt idx="331">
                  <c:v>0.49666666666666665</c:v>
                </c:pt>
                <c:pt idx="332">
                  <c:v>0.49666666666666665</c:v>
                </c:pt>
                <c:pt idx="333">
                  <c:v>0.49666666666666665</c:v>
                </c:pt>
                <c:pt idx="334">
                  <c:v>0.49666666666666665</c:v>
                </c:pt>
                <c:pt idx="335">
                  <c:v>0.49666666666666665</c:v>
                </c:pt>
                <c:pt idx="336">
                  <c:v>0.49666666666666665</c:v>
                </c:pt>
                <c:pt idx="337">
                  <c:v>0.49666666666666665</c:v>
                </c:pt>
                <c:pt idx="338">
                  <c:v>0.49666666666666665</c:v>
                </c:pt>
                <c:pt idx="339">
                  <c:v>0.49666666666666665</c:v>
                </c:pt>
                <c:pt idx="340">
                  <c:v>0.49666666666666665</c:v>
                </c:pt>
                <c:pt idx="341">
                  <c:v>0.49666666666666665</c:v>
                </c:pt>
                <c:pt idx="342">
                  <c:v>0.49666666666666665</c:v>
                </c:pt>
                <c:pt idx="343">
                  <c:v>0.56666666666666676</c:v>
                </c:pt>
                <c:pt idx="344">
                  <c:v>0.56666666666666676</c:v>
                </c:pt>
                <c:pt idx="345">
                  <c:v>0.56666666666666676</c:v>
                </c:pt>
                <c:pt idx="346">
                  <c:v>0.56666666666666676</c:v>
                </c:pt>
                <c:pt idx="347">
                  <c:v>0.56666666666666676</c:v>
                </c:pt>
                <c:pt idx="348">
                  <c:v>0.56666666666666676</c:v>
                </c:pt>
                <c:pt idx="349">
                  <c:v>0.56666666666666676</c:v>
                </c:pt>
                <c:pt idx="350">
                  <c:v>0.56666666666666676</c:v>
                </c:pt>
                <c:pt idx="351">
                  <c:v>0.56666666666666676</c:v>
                </c:pt>
                <c:pt idx="352">
                  <c:v>0.56666666666666676</c:v>
                </c:pt>
                <c:pt idx="353">
                  <c:v>0.56666666666666676</c:v>
                </c:pt>
                <c:pt idx="354">
                  <c:v>0.56666666666666676</c:v>
                </c:pt>
                <c:pt idx="355">
                  <c:v>0.56666666666666676</c:v>
                </c:pt>
                <c:pt idx="356">
                  <c:v>0.56666666666666676</c:v>
                </c:pt>
                <c:pt idx="357">
                  <c:v>0.56666666666666676</c:v>
                </c:pt>
                <c:pt idx="358">
                  <c:v>0.56666666666666676</c:v>
                </c:pt>
                <c:pt idx="359">
                  <c:v>0.56666666666666676</c:v>
                </c:pt>
                <c:pt idx="360">
                  <c:v>0.56666666666666676</c:v>
                </c:pt>
                <c:pt idx="361">
                  <c:v>0.56666666666666676</c:v>
                </c:pt>
                <c:pt idx="362">
                  <c:v>0.56666666666666676</c:v>
                </c:pt>
                <c:pt idx="363">
                  <c:v>0.56666666666666676</c:v>
                </c:pt>
                <c:pt idx="364">
                  <c:v>0.56666666666666676</c:v>
                </c:pt>
                <c:pt idx="365">
                  <c:v>0.56666666666666676</c:v>
                </c:pt>
              </c:numCache>
            </c:numRef>
          </c:val>
          <c:smooth val="0"/>
          <c:extLst>
            <c:ext xmlns:c16="http://schemas.microsoft.com/office/drawing/2014/chart" uri="{C3380CC4-5D6E-409C-BE32-E72D297353CC}">
              <c16:uniqueId val="{00000002-66EA-4545-A8A2-2FBD4018A1DB}"/>
            </c:ext>
          </c:extLst>
        </c:ser>
        <c:ser>
          <c:idx val="3"/>
          <c:order val="3"/>
          <c:tx>
            <c:strRef>
              <c:f>主流省份电价!$W$5</c:f>
              <c:strCache>
                <c:ptCount val="1"/>
                <c:pt idx="0">
                  <c:v>2023</c:v>
                </c:pt>
              </c:strCache>
            </c:strRef>
          </c:tx>
          <c:spPr>
            <a:ln w="19050" cap="rnd">
              <a:solidFill>
                <a:srgbClr val="55A5AB">
                  <a:alpha val="60000"/>
                </a:srgbClr>
              </a:solidFill>
              <a:round/>
            </a:ln>
            <a:effectLst/>
          </c:spPr>
          <c:marker>
            <c:symbol val="none"/>
          </c:marker>
          <c:cat>
            <c:strRef>
              <c:f>主流省份电价!$Q$6:$Q$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W$6:$W$371</c:f>
              <c:numCache>
                <c:formatCode>#,##0.00_);[Red]\(#,##0.00\)</c:formatCode>
                <c:ptCount val="366"/>
                <c:pt idx="0">
                  <c:v>0.56666666666666676</c:v>
                </c:pt>
                <c:pt idx="1">
                  <c:v>0.56666666666666676</c:v>
                </c:pt>
                <c:pt idx="2">
                  <c:v>0.56666666666666676</c:v>
                </c:pt>
                <c:pt idx="3">
                  <c:v>0.56666666666666676</c:v>
                </c:pt>
                <c:pt idx="4">
                  <c:v>0.56666666666666676</c:v>
                </c:pt>
                <c:pt idx="5">
                  <c:v>0.56666666666666676</c:v>
                </c:pt>
                <c:pt idx="6">
                  <c:v>0.56666666666666676</c:v>
                </c:pt>
                <c:pt idx="7">
                  <c:v>0.56666666666666676</c:v>
                </c:pt>
                <c:pt idx="8">
                  <c:v>0.56666666666666676</c:v>
                </c:pt>
                <c:pt idx="9">
                  <c:v>0.56666666666666676</c:v>
                </c:pt>
                <c:pt idx="10">
                  <c:v>0.56666666666666676</c:v>
                </c:pt>
                <c:pt idx="11">
                  <c:v>0.56666666666666676</c:v>
                </c:pt>
                <c:pt idx="12">
                  <c:v>0.56666666666666676</c:v>
                </c:pt>
                <c:pt idx="13">
                  <c:v>0.56666666666666676</c:v>
                </c:pt>
                <c:pt idx="14">
                  <c:v>0.56666666666666676</c:v>
                </c:pt>
                <c:pt idx="15">
                  <c:v>0.56666666666666676</c:v>
                </c:pt>
                <c:pt idx="16">
                  <c:v>0.56666666666666676</c:v>
                </c:pt>
                <c:pt idx="17">
                  <c:v>0.56666666666666676</c:v>
                </c:pt>
                <c:pt idx="18">
                  <c:v>0.56666666666666676</c:v>
                </c:pt>
                <c:pt idx="19">
                  <c:v>0.56666666666666676</c:v>
                </c:pt>
                <c:pt idx="20">
                  <c:v>0.56666666666666676</c:v>
                </c:pt>
                <c:pt idx="21">
                  <c:v>0.56666666666666676</c:v>
                </c:pt>
                <c:pt idx="22">
                  <c:v>0.56666666666666676</c:v>
                </c:pt>
                <c:pt idx="23">
                  <c:v>0.56666666666666676</c:v>
                </c:pt>
                <c:pt idx="24">
                  <c:v>0.56666666666666676</c:v>
                </c:pt>
                <c:pt idx="25">
                  <c:v>0.56666666666666676</c:v>
                </c:pt>
                <c:pt idx="26">
                  <c:v>0.56666666666666676</c:v>
                </c:pt>
                <c:pt idx="27">
                  <c:v>0.56666666666666676</c:v>
                </c:pt>
                <c:pt idx="28">
                  <c:v>0.56666666666666676</c:v>
                </c:pt>
                <c:pt idx="29">
                  <c:v>0.56666666666666676</c:v>
                </c:pt>
                <c:pt idx="30">
                  <c:v>0.56666666666666676</c:v>
                </c:pt>
                <c:pt idx="31">
                  <c:v>0.56666666666666676</c:v>
                </c:pt>
                <c:pt idx="32">
                  <c:v>0.56666666666666676</c:v>
                </c:pt>
                <c:pt idx="33">
                  <c:v>0.56666666666666676</c:v>
                </c:pt>
                <c:pt idx="34">
                  <c:v>0.56666666666666676</c:v>
                </c:pt>
                <c:pt idx="35">
                  <c:v>0.56666666666666676</c:v>
                </c:pt>
                <c:pt idx="36">
                  <c:v>0.56666666666666676</c:v>
                </c:pt>
                <c:pt idx="37">
                  <c:v>0.56666666666666676</c:v>
                </c:pt>
                <c:pt idx="38">
                  <c:v>0.56666666666666676</c:v>
                </c:pt>
                <c:pt idx="39">
                  <c:v>0.56666666666666676</c:v>
                </c:pt>
                <c:pt idx="40">
                  <c:v>0.56666666666666676</c:v>
                </c:pt>
                <c:pt idx="41">
                  <c:v>0.56666666666666676</c:v>
                </c:pt>
                <c:pt idx="42">
                  <c:v>0.56666666666666676</c:v>
                </c:pt>
                <c:pt idx="43">
                  <c:v>0.56666666666666676</c:v>
                </c:pt>
                <c:pt idx="44">
                  <c:v>0.56666666666666676</c:v>
                </c:pt>
                <c:pt idx="45">
                  <c:v>0.56666666666666676</c:v>
                </c:pt>
                <c:pt idx="46">
                  <c:v>0.56666666666666676</c:v>
                </c:pt>
                <c:pt idx="47">
                  <c:v>0.56666666666666676</c:v>
                </c:pt>
                <c:pt idx="48">
                  <c:v>0.56666666666666676</c:v>
                </c:pt>
                <c:pt idx="49">
                  <c:v>0.56666666666666676</c:v>
                </c:pt>
                <c:pt idx="50">
                  <c:v>0.56666666666666676</c:v>
                </c:pt>
                <c:pt idx="51">
                  <c:v>0.56666666666666676</c:v>
                </c:pt>
                <c:pt idx="52">
                  <c:v>0.56666666666666676</c:v>
                </c:pt>
                <c:pt idx="53">
                  <c:v>0.56666666666666676</c:v>
                </c:pt>
                <c:pt idx="54">
                  <c:v>0.56666666666666676</c:v>
                </c:pt>
                <c:pt idx="55">
                  <c:v>0.56666666666666676</c:v>
                </c:pt>
                <c:pt idx="56">
                  <c:v>0.56666666666666676</c:v>
                </c:pt>
                <c:pt idx="57">
                  <c:v>0.56666666666666676</c:v>
                </c:pt>
                <c:pt idx="58">
                  <c:v>0.56666666666666676</c:v>
                </c:pt>
                <c:pt idx="60">
                  <c:v>0.56666666666666676</c:v>
                </c:pt>
                <c:pt idx="61">
                  <c:v>0.56666666666666676</c:v>
                </c:pt>
                <c:pt idx="62">
                  <c:v>0.56666666666666676</c:v>
                </c:pt>
                <c:pt idx="63">
                  <c:v>0.56666666666666676</c:v>
                </c:pt>
                <c:pt idx="64">
                  <c:v>0.56666666666666676</c:v>
                </c:pt>
                <c:pt idx="65">
                  <c:v>0.56666666666666676</c:v>
                </c:pt>
                <c:pt idx="66">
                  <c:v>0.56666666666666676</c:v>
                </c:pt>
                <c:pt idx="67">
                  <c:v>0.56666666666666676</c:v>
                </c:pt>
                <c:pt idx="68">
                  <c:v>0.56666666666666676</c:v>
                </c:pt>
                <c:pt idx="69">
                  <c:v>0.56666666666666676</c:v>
                </c:pt>
                <c:pt idx="70">
                  <c:v>0.56666666666666676</c:v>
                </c:pt>
                <c:pt idx="71">
                  <c:v>0.56666666666666676</c:v>
                </c:pt>
                <c:pt idx="72">
                  <c:v>0.56666666666666676</c:v>
                </c:pt>
                <c:pt idx="73">
                  <c:v>0.56666666666666676</c:v>
                </c:pt>
                <c:pt idx="74">
                  <c:v>0.56666666666666676</c:v>
                </c:pt>
                <c:pt idx="75">
                  <c:v>0.56666666666666676</c:v>
                </c:pt>
                <c:pt idx="76">
                  <c:v>0.56666666666666676</c:v>
                </c:pt>
                <c:pt idx="77">
                  <c:v>0.56666666666666676</c:v>
                </c:pt>
                <c:pt idx="78">
                  <c:v>0.56666666666666676</c:v>
                </c:pt>
                <c:pt idx="79">
                  <c:v>0.56666666666666676</c:v>
                </c:pt>
                <c:pt idx="80">
                  <c:v>0.56666666666666676</c:v>
                </c:pt>
                <c:pt idx="81">
                  <c:v>0.56666666666666676</c:v>
                </c:pt>
                <c:pt idx="82">
                  <c:v>0.56666666666666676</c:v>
                </c:pt>
                <c:pt idx="83">
                  <c:v>0.56666666666666676</c:v>
                </c:pt>
                <c:pt idx="84">
                  <c:v>0.56666666666666676</c:v>
                </c:pt>
                <c:pt idx="85">
                  <c:v>0.56666666666666676</c:v>
                </c:pt>
                <c:pt idx="86">
                  <c:v>0.56666666666666676</c:v>
                </c:pt>
                <c:pt idx="87">
                  <c:v>0.56666666666666676</c:v>
                </c:pt>
                <c:pt idx="88">
                  <c:v>0.56666666666666676</c:v>
                </c:pt>
                <c:pt idx="89">
                  <c:v>0.56666666666666676</c:v>
                </c:pt>
                <c:pt idx="90">
                  <c:v>0.56666666666666676</c:v>
                </c:pt>
                <c:pt idx="91">
                  <c:v>0.56666666666666676</c:v>
                </c:pt>
                <c:pt idx="92">
                  <c:v>0.56666666666666676</c:v>
                </c:pt>
                <c:pt idx="93">
                  <c:v>0.56666666666666676</c:v>
                </c:pt>
                <c:pt idx="94">
                  <c:v>0.56666666666666676</c:v>
                </c:pt>
                <c:pt idx="95">
                  <c:v>0.56666666666666676</c:v>
                </c:pt>
                <c:pt idx="96">
                  <c:v>0.56666666666666676</c:v>
                </c:pt>
                <c:pt idx="97">
                  <c:v>0.56666666666666676</c:v>
                </c:pt>
                <c:pt idx="98">
                  <c:v>0.56666666666666676</c:v>
                </c:pt>
                <c:pt idx="99">
                  <c:v>0.56666666666666676</c:v>
                </c:pt>
                <c:pt idx="100">
                  <c:v>0.56666666666666676</c:v>
                </c:pt>
                <c:pt idx="101">
                  <c:v>0.56666666666666676</c:v>
                </c:pt>
                <c:pt idx="102">
                  <c:v>0.56666666666666676</c:v>
                </c:pt>
                <c:pt idx="103">
                  <c:v>0.56666666666666676</c:v>
                </c:pt>
                <c:pt idx="104">
                  <c:v>0.56666666666666676</c:v>
                </c:pt>
                <c:pt idx="105">
                  <c:v>0.56666666666666676</c:v>
                </c:pt>
                <c:pt idx="106">
                  <c:v>0.56666666666666676</c:v>
                </c:pt>
                <c:pt idx="107">
                  <c:v>0.56666666666666676</c:v>
                </c:pt>
                <c:pt idx="108">
                  <c:v>0.56666666666666676</c:v>
                </c:pt>
                <c:pt idx="109">
                  <c:v>0.56666666666666676</c:v>
                </c:pt>
                <c:pt idx="110">
                  <c:v>0.56666666666666676</c:v>
                </c:pt>
                <c:pt idx="111">
                  <c:v>0.53333333333333333</c:v>
                </c:pt>
                <c:pt idx="112">
                  <c:v>0.53333333333333333</c:v>
                </c:pt>
                <c:pt idx="113">
                  <c:v>0.53333333333333333</c:v>
                </c:pt>
                <c:pt idx="114">
                  <c:v>0.53333333333333333</c:v>
                </c:pt>
                <c:pt idx="115">
                  <c:v>0.53333333333333333</c:v>
                </c:pt>
                <c:pt idx="116">
                  <c:v>0.53333333333333333</c:v>
                </c:pt>
                <c:pt idx="117">
                  <c:v>0.53333333333333333</c:v>
                </c:pt>
                <c:pt idx="118">
                  <c:v>0.53333333333333333</c:v>
                </c:pt>
                <c:pt idx="119">
                  <c:v>0.53333333333333333</c:v>
                </c:pt>
                <c:pt idx="120">
                  <c:v>0.53333333333333333</c:v>
                </c:pt>
                <c:pt idx="121">
                  <c:v>0.48</c:v>
                </c:pt>
                <c:pt idx="122">
                  <c:v>0.48</c:v>
                </c:pt>
                <c:pt idx="123">
                  <c:v>0.48</c:v>
                </c:pt>
                <c:pt idx="124">
                  <c:v>0.48</c:v>
                </c:pt>
                <c:pt idx="125">
                  <c:v>0.48</c:v>
                </c:pt>
                <c:pt idx="126">
                  <c:v>0.48</c:v>
                </c:pt>
                <c:pt idx="127">
                  <c:v>0.48</c:v>
                </c:pt>
                <c:pt idx="128">
                  <c:v>0.48</c:v>
                </c:pt>
                <c:pt idx="129">
                  <c:v>0.48</c:v>
                </c:pt>
                <c:pt idx="130">
                  <c:v>0.48</c:v>
                </c:pt>
                <c:pt idx="131">
                  <c:v>0.48</c:v>
                </c:pt>
                <c:pt idx="132">
                  <c:v>0.48</c:v>
                </c:pt>
                <c:pt idx="133">
                  <c:v>0.48</c:v>
                </c:pt>
                <c:pt idx="134">
                  <c:v>0.48</c:v>
                </c:pt>
                <c:pt idx="135">
                  <c:v>0.48</c:v>
                </c:pt>
                <c:pt idx="136">
                  <c:v>0.48</c:v>
                </c:pt>
                <c:pt idx="137">
                  <c:v>0.48</c:v>
                </c:pt>
                <c:pt idx="138">
                  <c:v>0.48</c:v>
                </c:pt>
                <c:pt idx="139">
                  <c:v>0.48</c:v>
                </c:pt>
                <c:pt idx="140">
                  <c:v>0.48</c:v>
                </c:pt>
                <c:pt idx="141">
                  <c:v>0.48</c:v>
                </c:pt>
                <c:pt idx="142">
                  <c:v>0.48</c:v>
                </c:pt>
                <c:pt idx="143">
                  <c:v>0.48</c:v>
                </c:pt>
                <c:pt idx="144">
                  <c:v>0.48</c:v>
                </c:pt>
                <c:pt idx="145">
                  <c:v>0.48</c:v>
                </c:pt>
                <c:pt idx="146">
                  <c:v>0.48</c:v>
                </c:pt>
                <c:pt idx="147">
                  <c:v>0.48</c:v>
                </c:pt>
                <c:pt idx="148">
                  <c:v>0.48</c:v>
                </c:pt>
                <c:pt idx="149">
                  <c:v>0.48</c:v>
                </c:pt>
                <c:pt idx="150">
                  <c:v>0.48</c:v>
                </c:pt>
                <c:pt idx="151">
                  <c:v>0.48</c:v>
                </c:pt>
                <c:pt idx="152">
                  <c:v>0.48</c:v>
                </c:pt>
                <c:pt idx="153">
                  <c:v>0.48</c:v>
                </c:pt>
                <c:pt idx="154">
                  <c:v>0.48</c:v>
                </c:pt>
                <c:pt idx="155">
                  <c:v>0.48</c:v>
                </c:pt>
                <c:pt idx="156">
                  <c:v>0.42666666666666669</c:v>
                </c:pt>
                <c:pt idx="157">
                  <c:v>0.42666666666666669</c:v>
                </c:pt>
                <c:pt idx="158">
                  <c:v>0.42666666666666669</c:v>
                </c:pt>
                <c:pt idx="159">
                  <c:v>0.42666666666666669</c:v>
                </c:pt>
                <c:pt idx="160">
                  <c:v>0.42666666666666669</c:v>
                </c:pt>
                <c:pt idx="161">
                  <c:v>0.42666666666666669</c:v>
                </c:pt>
                <c:pt idx="162">
                  <c:v>0.42666666666666669</c:v>
                </c:pt>
                <c:pt idx="163">
                  <c:v>0.42666666666666669</c:v>
                </c:pt>
                <c:pt idx="164">
                  <c:v>0.42666666666666669</c:v>
                </c:pt>
                <c:pt idx="165">
                  <c:v>0.39333333333333337</c:v>
                </c:pt>
                <c:pt idx="166">
                  <c:v>0.39333333333333337</c:v>
                </c:pt>
                <c:pt idx="167">
                  <c:v>0.39333333333333337</c:v>
                </c:pt>
                <c:pt idx="168">
                  <c:v>0.39333333333333337</c:v>
                </c:pt>
                <c:pt idx="169">
                  <c:v>0.39333333333333337</c:v>
                </c:pt>
                <c:pt idx="170">
                  <c:v>0.39333333333333337</c:v>
                </c:pt>
                <c:pt idx="171">
                  <c:v>0.39333333333333337</c:v>
                </c:pt>
                <c:pt idx="172">
                  <c:v>0.39333333333333337</c:v>
                </c:pt>
                <c:pt idx="173">
                  <c:v>0.39333333333333337</c:v>
                </c:pt>
                <c:pt idx="174">
                  <c:v>0.39333333333333337</c:v>
                </c:pt>
                <c:pt idx="175">
                  <c:v>0.39333333333333337</c:v>
                </c:pt>
                <c:pt idx="176">
                  <c:v>0.39333333333333337</c:v>
                </c:pt>
                <c:pt idx="177">
                  <c:v>0.39333333333333337</c:v>
                </c:pt>
                <c:pt idx="178">
                  <c:v>0.39333333333333337</c:v>
                </c:pt>
                <c:pt idx="179">
                  <c:v>0.39333333333333337</c:v>
                </c:pt>
                <c:pt idx="180">
                  <c:v>0.39333333333333337</c:v>
                </c:pt>
                <c:pt idx="181">
                  <c:v>0.39333333333333337</c:v>
                </c:pt>
                <c:pt idx="182">
                  <c:v>0.39333333333333337</c:v>
                </c:pt>
                <c:pt idx="183">
                  <c:v>0.39333333333333337</c:v>
                </c:pt>
                <c:pt idx="184">
                  <c:v>0.39333333333333337</c:v>
                </c:pt>
                <c:pt idx="185">
                  <c:v>0.39333333333333337</c:v>
                </c:pt>
                <c:pt idx="186">
                  <c:v>0.39333333333333337</c:v>
                </c:pt>
                <c:pt idx="187">
                  <c:v>0.39333333333333337</c:v>
                </c:pt>
                <c:pt idx="188">
                  <c:v>0.38666666666666671</c:v>
                </c:pt>
                <c:pt idx="189">
                  <c:v>0.38666666666666671</c:v>
                </c:pt>
                <c:pt idx="190">
                  <c:v>0.38666666666666671</c:v>
                </c:pt>
                <c:pt idx="191">
                  <c:v>0.38666666666666671</c:v>
                </c:pt>
                <c:pt idx="192">
                  <c:v>0.38666666666666671</c:v>
                </c:pt>
                <c:pt idx="193">
                  <c:v>0.38666666666666671</c:v>
                </c:pt>
                <c:pt idx="194">
                  <c:v>0.38666666666666671</c:v>
                </c:pt>
                <c:pt idx="195">
                  <c:v>0.38666666666666671</c:v>
                </c:pt>
                <c:pt idx="196">
                  <c:v>0.38666666666666671</c:v>
                </c:pt>
                <c:pt idx="197">
                  <c:v>0.38666666666666671</c:v>
                </c:pt>
                <c:pt idx="198">
                  <c:v>0.38666666666666671</c:v>
                </c:pt>
                <c:pt idx="199">
                  <c:v>0.38666666666666671</c:v>
                </c:pt>
                <c:pt idx="200">
                  <c:v>0.38666666666666671</c:v>
                </c:pt>
                <c:pt idx="201">
                  <c:v>0.38666666666666671</c:v>
                </c:pt>
                <c:pt idx="202">
                  <c:v>0.38666666666666671</c:v>
                </c:pt>
                <c:pt idx="203">
                  <c:v>0.38666666666666671</c:v>
                </c:pt>
                <c:pt idx="204">
                  <c:v>0.38666666666666671</c:v>
                </c:pt>
                <c:pt idx="205">
                  <c:v>0.38666666666666671</c:v>
                </c:pt>
                <c:pt idx="206">
                  <c:v>0.38666666666666671</c:v>
                </c:pt>
                <c:pt idx="207">
                  <c:v>0.38666666666666671</c:v>
                </c:pt>
                <c:pt idx="208">
                  <c:v>0.38666666666666671</c:v>
                </c:pt>
                <c:pt idx="209">
                  <c:v>0.38666666666666671</c:v>
                </c:pt>
                <c:pt idx="210">
                  <c:v>0.38666666666666671</c:v>
                </c:pt>
                <c:pt idx="211">
                  <c:v>0.38666666666666671</c:v>
                </c:pt>
                <c:pt idx="212">
                  <c:v>0.38666666666666671</c:v>
                </c:pt>
                <c:pt idx="213">
                  <c:v>0.38666666666666671</c:v>
                </c:pt>
                <c:pt idx="214">
                  <c:v>0.38666666666666671</c:v>
                </c:pt>
                <c:pt idx="215">
                  <c:v>0.38666666666666671</c:v>
                </c:pt>
                <c:pt idx="216">
                  <c:v>0.38666666666666671</c:v>
                </c:pt>
                <c:pt idx="217">
                  <c:v>0.38666666666666671</c:v>
                </c:pt>
                <c:pt idx="218">
                  <c:v>0.38666666666666671</c:v>
                </c:pt>
                <c:pt idx="219">
                  <c:v>0.38666666666666671</c:v>
                </c:pt>
                <c:pt idx="220">
                  <c:v>0.38666666666666671</c:v>
                </c:pt>
                <c:pt idx="221">
                  <c:v>0.38666666666666671</c:v>
                </c:pt>
                <c:pt idx="222">
                  <c:v>0.38666666666666671</c:v>
                </c:pt>
                <c:pt idx="223">
                  <c:v>0.38666666666666671</c:v>
                </c:pt>
                <c:pt idx="224">
                  <c:v>0.38666666666666671</c:v>
                </c:pt>
                <c:pt idx="225">
                  <c:v>0.38666666666666671</c:v>
                </c:pt>
                <c:pt idx="226">
                  <c:v>0.38666666666666671</c:v>
                </c:pt>
                <c:pt idx="227">
                  <c:v>0.38666666666666671</c:v>
                </c:pt>
                <c:pt idx="228">
                  <c:v>0.38666666666666671</c:v>
                </c:pt>
                <c:pt idx="229">
                  <c:v>#N/A</c:v>
                </c:pt>
                <c:pt idx="230">
                  <c:v>#N/A</c:v>
                </c:pt>
                <c:pt idx="231">
                  <c:v>#N/A</c:v>
                </c:pt>
                <c:pt idx="232">
                  <c:v>#N/A</c:v>
                </c:pt>
                <c:pt idx="233">
                  <c:v>0.38666666666666671</c:v>
                </c:pt>
                <c:pt idx="234">
                  <c:v>0.38666666666666671</c:v>
                </c:pt>
                <c:pt idx="235">
                  <c:v>0.38666666666666671</c:v>
                </c:pt>
                <c:pt idx="236">
                  <c:v>0.38666666666666671</c:v>
                </c:pt>
                <c:pt idx="237">
                  <c:v>0.38666666666666671</c:v>
                </c:pt>
                <c:pt idx="238">
                  <c:v>0.38666666666666671</c:v>
                </c:pt>
                <c:pt idx="239">
                  <c:v>0.38666666666666671</c:v>
                </c:pt>
                <c:pt idx="240">
                  <c:v>0.38666666666666671</c:v>
                </c:pt>
                <c:pt idx="241">
                  <c:v>0.38666666666666671</c:v>
                </c:pt>
                <c:pt idx="242">
                  <c:v>0.38666666666666671</c:v>
                </c:pt>
                <c:pt idx="243">
                  <c:v>0.38666666666666671</c:v>
                </c:pt>
                <c:pt idx="244">
                  <c:v>0.38666666666666671</c:v>
                </c:pt>
                <c:pt idx="245">
                  <c:v>0.38666666666666671</c:v>
                </c:pt>
                <c:pt idx="246">
                  <c:v>0.38666666666666671</c:v>
                </c:pt>
                <c:pt idx="247">
                  <c:v>0.38666666666666671</c:v>
                </c:pt>
                <c:pt idx="248">
                  <c:v>0.38666666666666671</c:v>
                </c:pt>
                <c:pt idx="249">
                  <c:v>0.38666666666666671</c:v>
                </c:pt>
                <c:pt idx="250">
                  <c:v>0.38666666666666671</c:v>
                </c:pt>
                <c:pt idx="251">
                  <c:v>0.38666666666666671</c:v>
                </c:pt>
                <c:pt idx="252">
                  <c:v>0.38666666666666671</c:v>
                </c:pt>
                <c:pt idx="253">
                  <c:v>0.38666666666666671</c:v>
                </c:pt>
                <c:pt idx="254">
                  <c:v>0.38666666666666671</c:v>
                </c:pt>
                <c:pt idx="255">
                  <c:v>0.38666666666666671</c:v>
                </c:pt>
                <c:pt idx="256">
                  <c:v>0.38666666666666671</c:v>
                </c:pt>
                <c:pt idx="257">
                  <c:v>0.38666666666666671</c:v>
                </c:pt>
                <c:pt idx="258">
                  <c:v>0.38666666666666671</c:v>
                </c:pt>
                <c:pt idx="259">
                  <c:v>0.38666666666666671</c:v>
                </c:pt>
                <c:pt idx="260">
                  <c:v>0.38666666666666671</c:v>
                </c:pt>
                <c:pt idx="261">
                  <c:v>0.38666666666666671</c:v>
                </c:pt>
                <c:pt idx="262">
                  <c:v>0.38666666666666671</c:v>
                </c:pt>
                <c:pt idx="263">
                  <c:v>0.38666666666666671</c:v>
                </c:pt>
                <c:pt idx="264">
                  <c:v>0.38666666666666671</c:v>
                </c:pt>
                <c:pt idx="265">
                  <c:v>0.38666666666666671</c:v>
                </c:pt>
                <c:pt idx="266">
                  <c:v>0.38666666666666671</c:v>
                </c:pt>
                <c:pt idx="267">
                  <c:v>0.38666666666666671</c:v>
                </c:pt>
                <c:pt idx="268">
                  <c:v>0.38666666666666671</c:v>
                </c:pt>
                <c:pt idx="269">
                  <c:v>0.38666666666666671</c:v>
                </c:pt>
                <c:pt idx="270">
                  <c:v>0.38666666666666671</c:v>
                </c:pt>
                <c:pt idx="271">
                  <c:v>0.38666666666666671</c:v>
                </c:pt>
                <c:pt idx="272">
                  <c:v>0.38666666666666671</c:v>
                </c:pt>
                <c:pt idx="273">
                  <c:v>0.38666666666666671</c:v>
                </c:pt>
                <c:pt idx="274">
                  <c:v>0.38666666666666671</c:v>
                </c:pt>
                <c:pt idx="275">
                  <c:v>0.38666666666666671</c:v>
                </c:pt>
                <c:pt idx="276">
                  <c:v>0.38666666666666671</c:v>
                </c:pt>
                <c:pt idx="277">
                  <c:v>0.38666666666666671</c:v>
                </c:pt>
                <c:pt idx="278">
                  <c:v>0.38666666666666671</c:v>
                </c:pt>
                <c:pt idx="279">
                  <c:v>0.38666666666666671</c:v>
                </c:pt>
                <c:pt idx="280">
                  <c:v>0.38666666666666671</c:v>
                </c:pt>
                <c:pt idx="281">
                  <c:v>0.38666666666666671</c:v>
                </c:pt>
                <c:pt idx="282">
                  <c:v>0.38666666666666671</c:v>
                </c:pt>
                <c:pt idx="283">
                  <c:v>0.38666666666666671</c:v>
                </c:pt>
                <c:pt idx="284">
                  <c:v>0.38666666666666671</c:v>
                </c:pt>
                <c:pt idx="285">
                  <c:v>0.38666666666666671</c:v>
                </c:pt>
                <c:pt idx="286">
                  <c:v>0.38666666666666671</c:v>
                </c:pt>
                <c:pt idx="287">
                  <c:v>0.38666666666666671</c:v>
                </c:pt>
                <c:pt idx="288">
                  <c:v>0.38666666666666671</c:v>
                </c:pt>
                <c:pt idx="289">
                  <c:v>0.38666666666666671</c:v>
                </c:pt>
                <c:pt idx="290">
                  <c:v>0.38666666666666671</c:v>
                </c:pt>
                <c:pt idx="291">
                  <c:v>0.38666666666666671</c:v>
                </c:pt>
                <c:pt idx="292">
                  <c:v>0.38666666666666671</c:v>
                </c:pt>
                <c:pt idx="293">
                  <c:v>0.38666666666666671</c:v>
                </c:pt>
                <c:pt idx="294">
                  <c:v>0.38666666666666671</c:v>
                </c:pt>
                <c:pt idx="295">
                  <c:v>0.38666666666666671</c:v>
                </c:pt>
                <c:pt idx="296">
                  <c:v>0.38666666666666671</c:v>
                </c:pt>
                <c:pt idx="297">
                  <c:v>0.38666666666666671</c:v>
                </c:pt>
                <c:pt idx="298">
                  <c:v>0.38666666666666671</c:v>
                </c:pt>
                <c:pt idx="299">
                  <c:v>0.38666666666666671</c:v>
                </c:pt>
                <c:pt idx="300">
                  <c:v>0.38666666666666671</c:v>
                </c:pt>
                <c:pt idx="301">
                  <c:v>0.38666666666666671</c:v>
                </c:pt>
                <c:pt idx="302">
                  <c:v>0.38666666666666671</c:v>
                </c:pt>
                <c:pt idx="303">
                  <c:v>0.38666666666666671</c:v>
                </c:pt>
                <c:pt idx="304">
                  <c:v>0.38666666666666671</c:v>
                </c:pt>
                <c:pt idx="305">
                  <c:v>0.38666666666666671</c:v>
                </c:pt>
                <c:pt idx="306">
                  <c:v>0.38666666666666671</c:v>
                </c:pt>
                <c:pt idx="307">
                  <c:v>0.49333333333333335</c:v>
                </c:pt>
                <c:pt idx="308">
                  <c:v>0.49333333333333335</c:v>
                </c:pt>
                <c:pt idx="309">
                  <c:v>0.49333333333333335</c:v>
                </c:pt>
                <c:pt idx="310">
                  <c:v>0.49333333333333335</c:v>
                </c:pt>
                <c:pt idx="311">
                  <c:v>0.49333333333333335</c:v>
                </c:pt>
                <c:pt idx="312">
                  <c:v>0.49333333333333335</c:v>
                </c:pt>
                <c:pt idx="313">
                  <c:v>0.49333333333333335</c:v>
                </c:pt>
                <c:pt idx="314">
                  <c:v>0.49333333333333335</c:v>
                </c:pt>
                <c:pt idx="315">
                  <c:v>0.49333333333333335</c:v>
                </c:pt>
                <c:pt idx="316">
                  <c:v>0.49333333333333335</c:v>
                </c:pt>
                <c:pt idx="317">
                  <c:v>0.49333333333333335</c:v>
                </c:pt>
                <c:pt idx="318">
                  <c:v>0.49333333333333335</c:v>
                </c:pt>
                <c:pt idx="319">
                  <c:v>0.49333333333333335</c:v>
                </c:pt>
                <c:pt idx="320">
                  <c:v>0.49333333333333335</c:v>
                </c:pt>
                <c:pt idx="321">
                  <c:v>0.49333333333333335</c:v>
                </c:pt>
                <c:pt idx="322">
                  <c:v>0.49333333333333335</c:v>
                </c:pt>
                <c:pt idx="323">
                  <c:v>0.49333333333333335</c:v>
                </c:pt>
                <c:pt idx="324">
                  <c:v>0.49333333333333335</c:v>
                </c:pt>
                <c:pt idx="325">
                  <c:v>0.49333333333333335</c:v>
                </c:pt>
                <c:pt idx="326">
                  <c:v>0.49333333333333335</c:v>
                </c:pt>
                <c:pt idx="327">
                  <c:v>0.49333333333333335</c:v>
                </c:pt>
                <c:pt idx="328">
                  <c:v>0.49333333333333335</c:v>
                </c:pt>
                <c:pt idx="329">
                  <c:v>0.49333333333333335</c:v>
                </c:pt>
                <c:pt idx="330">
                  <c:v>0.49333333333333335</c:v>
                </c:pt>
                <c:pt idx="331">
                  <c:v>0.49333333333333335</c:v>
                </c:pt>
                <c:pt idx="332">
                  <c:v>0.49333333333333335</c:v>
                </c:pt>
                <c:pt idx="333">
                  <c:v>0.49333333333333335</c:v>
                </c:pt>
                <c:pt idx="334">
                  <c:v>0.49333333333333335</c:v>
                </c:pt>
                <c:pt idx="335">
                  <c:v>0.49333333333333335</c:v>
                </c:pt>
                <c:pt idx="336">
                  <c:v>0.49333333333333335</c:v>
                </c:pt>
                <c:pt idx="337">
                  <c:v>0.49333333333333335</c:v>
                </c:pt>
                <c:pt idx="338">
                  <c:v>0.49333333333333335</c:v>
                </c:pt>
                <c:pt idx="339">
                  <c:v>0.49333333333333335</c:v>
                </c:pt>
                <c:pt idx="340">
                  <c:v>0.49333333333333335</c:v>
                </c:pt>
                <c:pt idx="341">
                  <c:v>0.49333333333333335</c:v>
                </c:pt>
                <c:pt idx="342">
                  <c:v>0.49333333333333335</c:v>
                </c:pt>
                <c:pt idx="343">
                  <c:v>0.49333333333333335</c:v>
                </c:pt>
                <c:pt idx="344">
                  <c:v>0.49333333333333335</c:v>
                </c:pt>
                <c:pt idx="345">
                  <c:v>0.6166666666666667</c:v>
                </c:pt>
                <c:pt idx="346">
                  <c:v>0.6166666666666667</c:v>
                </c:pt>
                <c:pt idx="347">
                  <c:v>0.6166666666666667</c:v>
                </c:pt>
                <c:pt idx="348">
                  <c:v>0.6166666666666667</c:v>
                </c:pt>
                <c:pt idx="349">
                  <c:v>0.6166666666666667</c:v>
                </c:pt>
                <c:pt idx="350">
                  <c:v>0.6166666666666667</c:v>
                </c:pt>
                <c:pt idx="351">
                  <c:v>0.6166666666666667</c:v>
                </c:pt>
                <c:pt idx="352">
                  <c:v>0.6166666666666667</c:v>
                </c:pt>
                <c:pt idx="353">
                  <c:v>0.6166666666666667</c:v>
                </c:pt>
                <c:pt idx="354">
                  <c:v>0.6166666666666667</c:v>
                </c:pt>
                <c:pt idx="355">
                  <c:v>0.6166666666666667</c:v>
                </c:pt>
                <c:pt idx="356">
                  <c:v>0.6166666666666667</c:v>
                </c:pt>
                <c:pt idx="357">
                  <c:v>0.6166666666666667</c:v>
                </c:pt>
                <c:pt idx="358">
                  <c:v>0.6166666666666667</c:v>
                </c:pt>
                <c:pt idx="359">
                  <c:v>0.6166666666666667</c:v>
                </c:pt>
                <c:pt idx="360">
                  <c:v>0.6166666666666667</c:v>
                </c:pt>
                <c:pt idx="361">
                  <c:v>0.6166666666666667</c:v>
                </c:pt>
                <c:pt idx="362">
                  <c:v>0.6166666666666667</c:v>
                </c:pt>
                <c:pt idx="363">
                  <c:v>0.6166666666666667</c:v>
                </c:pt>
                <c:pt idx="364">
                  <c:v>0.6166666666666667</c:v>
                </c:pt>
                <c:pt idx="365">
                  <c:v>0.6166666666666667</c:v>
                </c:pt>
              </c:numCache>
            </c:numRef>
          </c:val>
          <c:smooth val="0"/>
          <c:extLst>
            <c:ext xmlns:c16="http://schemas.microsoft.com/office/drawing/2014/chart" uri="{C3380CC4-5D6E-409C-BE32-E72D297353CC}">
              <c16:uniqueId val="{00000003-66EA-4545-A8A2-2FBD4018A1DB}"/>
            </c:ext>
          </c:extLst>
        </c:ser>
        <c:ser>
          <c:idx val="4"/>
          <c:order val="4"/>
          <c:tx>
            <c:strRef>
              <c:f>主流省份电价!$X$5</c:f>
              <c:strCache>
                <c:ptCount val="1"/>
                <c:pt idx="0">
                  <c:v>2024</c:v>
                </c:pt>
              </c:strCache>
            </c:strRef>
          </c:tx>
          <c:spPr>
            <a:ln w="28575" cap="rnd">
              <a:solidFill>
                <a:schemeClr val="tx1"/>
              </a:solidFill>
              <a:round/>
            </a:ln>
            <a:effectLst/>
          </c:spPr>
          <c:marker>
            <c:symbol val="none"/>
          </c:marker>
          <c:cat>
            <c:strRef>
              <c:f>主流省份电价!$Q$6:$Q$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X$6:$X$371</c:f>
              <c:numCache>
                <c:formatCode>#,##0.00_);[Red]\(#,##0.00\)</c:formatCode>
                <c:ptCount val="366"/>
                <c:pt idx="0">
                  <c:v>0.6166666666666667</c:v>
                </c:pt>
                <c:pt idx="1">
                  <c:v>0.6166666666666667</c:v>
                </c:pt>
                <c:pt idx="2">
                  <c:v>0.6166666666666667</c:v>
                </c:pt>
                <c:pt idx="3">
                  <c:v>0.6166666666666667</c:v>
                </c:pt>
                <c:pt idx="4">
                  <c:v>0.6166666666666667</c:v>
                </c:pt>
                <c:pt idx="5">
                  <c:v>0.6166666666666667</c:v>
                </c:pt>
                <c:pt idx="6">
                  <c:v>0.6166666666666667</c:v>
                </c:pt>
                <c:pt idx="7">
                  <c:v>0.6166666666666667</c:v>
                </c:pt>
                <c:pt idx="8">
                  <c:v>0.6166666666666667</c:v>
                </c:pt>
                <c:pt idx="9">
                  <c:v>0.6166666666666667</c:v>
                </c:pt>
                <c:pt idx="10">
                  <c:v>0.6166666666666667</c:v>
                </c:pt>
                <c:pt idx="11">
                  <c:v>0.6166666666666667</c:v>
                </c:pt>
                <c:pt idx="12">
                  <c:v>0.6166666666666667</c:v>
                </c:pt>
                <c:pt idx="13">
                  <c:v>0.6166666666666667</c:v>
                </c:pt>
                <c:pt idx="14">
                  <c:v>0.6166666666666667</c:v>
                </c:pt>
                <c:pt idx="15">
                  <c:v>0.6166666666666667</c:v>
                </c:pt>
                <c:pt idx="16">
                  <c:v>0.6166666666666667</c:v>
                </c:pt>
                <c:pt idx="17">
                  <c:v>0.6166666666666667</c:v>
                </c:pt>
                <c:pt idx="18">
                  <c:v>0.6166666666666667</c:v>
                </c:pt>
                <c:pt idx="19">
                  <c:v>0.6166666666666667</c:v>
                </c:pt>
                <c:pt idx="20">
                  <c:v>0.6166666666666667</c:v>
                </c:pt>
                <c:pt idx="21">
                  <c:v>0.6166666666666667</c:v>
                </c:pt>
                <c:pt idx="22">
                  <c:v>0.6166666666666667</c:v>
                </c:pt>
                <c:pt idx="23">
                  <c:v>0.6166666666666667</c:v>
                </c:pt>
                <c:pt idx="24">
                  <c:v>0.6166666666666667</c:v>
                </c:pt>
                <c:pt idx="25">
                  <c:v>0.6166666666666667</c:v>
                </c:pt>
                <c:pt idx="26">
                  <c:v>0.6166666666666667</c:v>
                </c:pt>
                <c:pt idx="27">
                  <c:v>0.6166666666666667</c:v>
                </c:pt>
                <c:pt idx="28">
                  <c:v>0.6166666666666667</c:v>
                </c:pt>
                <c:pt idx="29">
                  <c:v>0.6166666666666667</c:v>
                </c:pt>
                <c:pt idx="30">
                  <c:v>0.6166666666666667</c:v>
                </c:pt>
                <c:pt idx="31">
                  <c:v>0.6166666666666667</c:v>
                </c:pt>
                <c:pt idx="32">
                  <c:v>0.6166666666666667</c:v>
                </c:pt>
                <c:pt idx="33">
                  <c:v>0.6166666666666667</c:v>
                </c:pt>
                <c:pt idx="34">
                  <c:v>0.6166666666666667</c:v>
                </c:pt>
                <c:pt idx="35">
                  <c:v>0.6166666666666667</c:v>
                </c:pt>
                <c:pt idx="36">
                  <c:v>0.6166666666666667</c:v>
                </c:pt>
                <c:pt idx="37">
                  <c:v>0.6166666666666667</c:v>
                </c:pt>
                <c:pt idx="38">
                  <c:v>0.6166666666666667</c:v>
                </c:pt>
                <c:pt idx="39">
                  <c:v>0.6166666666666667</c:v>
                </c:pt>
                <c:pt idx="40">
                  <c:v>0.6166666666666667</c:v>
                </c:pt>
                <c:pt idx="41">
                  <c:v>0.6166666666666667</c:v>
                </c:pt>
                <c:pt idx="42">
                  <c:v>0.6166666666666667</c:v>
                </c:pt>
                <c:pt idx="43">
                  <c:v>0.6166666666666667</c:v>
                </c:pt>
                <c:pt idx="44">
                  <c:v>0.6166666666666667</c:v>
                </c:pt>
                <c:pt idx="45">
                  <c:v>0.6166666666666667</c:v>
                </c:pt>
                <c:pt idx="46">
                  <c:v>0.6166666666666667</c:v>
                </c:pt>
                <c:pt idx="47">
                  <c:v>0.6166666666666667</c:v>
                </c:pt>
                <c:pt idx="48">
                  <c:v>0.6166666666666667</c:v>
                </c:pt>
                <c:pt idx="49">
                  <c:v>0.6166666666666667</c:v>
                </c:pt>
                <c:pt idx="50">
                  <c:v>0.6166666666666667</c:v>
                </c:pt>
                <c:pt idx="51">
                  <c:v>0.6166666666666667</c:v>
                </c:pt>
                <c:pt idx="52">
                  <c:v>0.6166666666666667</c:v>
                </c:pt>
                <c:pt idx="53">
                  <c:v>0.6166666666666667</c:v>
                </c:pt>
                <c:pt idx="54">
                  <c:v>0.6166666666666667</c:v>
                </c:pt>
                <c:pt idx="55">
                  <c:v>0.6166666666666667</c:v>
                </c:pt>
                <c:pt idx="56">
                  <c:v>0.6166666666666667</c:v>
                </c:pt>
                <c:pt idx="57">
                  <c:v>0.6166666666666667</c:v>
                </c:pt>
                <c:pt idx="58">
                  <c:v>0.6166666666666667</c:v>
                </c:pt>
                <c:pt idx="59">
                  <c:v>0.6166666666666667</c:v>
                </c:pt>
                <c:pt idx="60">
                  <c:v>0.6166666666666667</c:v>
                </c:pt>
                <c:pt idx="61">
                  <c:v>0.6166666666666667</c:v>
                </c:pt>
                <c:pt idx="62">
                  <c:v>0.6166666666666667</c:v>
                </c:pt>
                <c:pt idx="63">
                  <c:v>0.6166666666666667</c:v>
                </c:pt>
                <c:pt idx="64">
                  <c:v>0.6166666666666667</c:v>
                </c:pt>
                <c:pt idx="65">
                  <c:v>0.6166666666666667</c:v>
                </c:pt>
                <c:pt idx="66">
                  <c:v>0.6166666666666667</c:v>
                </c:pt>
                <c:pt idx="67">
                  <c:v>0.6166666666666667</c:v>
                </c:pt>
                <c:pt idx="68">
                  <c:v>0.6166666666666667</c:v>
                </c:pt>
                <c:pt idx="69">
                  <c:v>0.6166666666666667</c:v>
                </c:pt>
                <c:pt idx="70">
                  <c:v>0.6166666666666667</c:v>
                </c:pt>
                <c:pt idx="71">
                  <c:v>0.6166666666666667</c:v>
                </c:pt>
                <c:pt idx="72">
                  <c:v>0.6166666666666667</c:v>
                </c:pt>
                <c:pt idx="73">
                  <c:v>0.6166666666666667</c:v>
                </c:pt>
                <c:pt idx="74">
                  <c:v>0.6166666666666667</c:v>
                </c:pt>
                <c:pt idx="75">
                  <c:v>0.6166666666666667</c:v>
                </c:pt>
                <c:pt idx="76">
                  <c:v>0.6166666666666667</c:v>
                </c:pt>
                <c:pt idx="77">
                  <c:v>0.6166666666666667</c:v>
                </c:pt>
                <c:pt idx="78">
                  <c:v>0.6166666666666667</c:v>
                </c:pt>
                <c:pt idx="79">
                  <c:v>0.6166666666666667</c:v>
                </c:pt>
                <c:pt idx="80">
                  <c:v>0.6166666666666667</c:v>
                </c:pt>
                <c:pt idx="81">
                  <c:v>0.6166666666666667</c:v>
                </c:pt>
                <c:pt idx="82">
                  <c:v>0.6166666666666667</c:v>
                </c:pt>
                <c:pt idx="83">
                  <c:v>0.6166666666666667</c:v>
                </c:pt>
                <c:pt idx="84">
                  <c:v>0.6166666666666667</c:v>
                </c:pt>
                <c:pt idx="85">
                  <c:v>0.6166666666666667</c:v>
                </c:pt>
                <c:pt idx="86">
                  <c:v>0.6166666666666667</c:v>
                </c:pt>
                <c:pt idx="87">
                  <c:v>0.6166666666666667</c:v>
                </c:pt>
                <c:pt idx="88">
                  <c:v>0.6166666666666667</c:v>
                </c:pt>
                <c:pt idx="89">
                  <c:v>0.6166666666666667</c:v>
                </c:pt>
                <c:pt idx="90">
                  <c:v>0.6166666666666667</c:v>
                </c:pt>
                <c:pt idx="91">
                  <c:v>0.6166666666666667</c:v>
                </c:pt>
                <c:pt idx="92">
                  <c:v>0.6166666666666667</c:v>
                </c:pt>
                <c:pt idx="93">
                  <c:v>0.6166666666666667</c:v>
                </c:pt>
                <c:pt idx="94">
                  <c:v>0.6166666666666667</c:v>
                </c:pt>
                <c:pt idx="95">
                  <c:v>0.6166666666666667</c:v>
                </c:pt>
                <c:pt idx="96">
                  <c:v>0.6166666666666667</c:v>
                </c:pt>
                <c:pt idx="97">
                  <c:v>0.6166666666666667</c:v>
                </c:pt>
                <c:pt idx="98">
                  <c:v>0.6166666666666667</c:v>
                </c:pt>
                <c:pt idx="99">
                  <c:v>0.6166666666666667</c:v>
                </c:pt>
                <c:pt idx="100">
                  <c:v>0.6166666666666667</c:v>
                </c:pt>
                <c:pt idx="101">
                  <c:v>0.6166666666666667</c:v>
                </c:pt>
                <c:pt idx="102">
                  <c:v>0.6166666666666667</c:v>
                </c:pt>
                <c:pt idx="103">
                  <c:v>0.6166666666666667</c:v>
                </c:pt>
                <c:pt idx="104">
                  <c:v>0.6166666666666667</c:v>
                </c:pt>
                <c:pt idx="105">
                  <c:v>0.6166666666666667</c:v>
                </c:pt>
                <c:pt idx="106">
                  <c:v>0.60333333333333339</c:v>
                </c:pt>
                <c:pt idx="107">
                  <c:v>0.60333333333333339</c:v>
                </c:pt>
                <c:pt idx="108">
                  <c:v>0.60333333333333339</c:v>
                </c:pt>
                <c:pt idx="109">
                  <c:v>0.60333333333333339</c:v>
                </c:pt>
                <c:pt idx="110">
                  <c:v>0.60333333333333339</c:v>
                </c:pt>
                <c:pt idx="111">
                  <c:v>0.60333333333333339</c:v>
                </c:pt>
                <c:pt idx="112">
                  <c:v>0.60333333333333339</c:v>
                </c:pt>
                <c:pt idx="113">
                  <c:v>0.60333333333333339</c:v>
                </c:pt>
                <c:pt idx="114">
                  <c:v>0.60333333333333339</c:v>
                </c:pt>
                <c:pt idx="115">
                  <c:v>0.60333333333333339</c:v>
                </c:pt>
                <c:pt idx="116">
                  <c:v>0.60333333333333339</c:v>
                </c:pt>
                <c:pt idx="117">
                  <c:v>0.60333333333333339</c:v>
                </c:pt>
                <c:pt idx="118">
                  <c:v>0.60333333333333339</c:v>
                </c:pt>
                <c:pt idx="119">
                  <c:v>0.60333333333333339</c:v>
                </c:pt>
                <c:pt idx="120">
                  <c:v>0.60333333333333339</c:v>
                </c:pt>
                <c:pt idx="121">
                  <c:v>0.60333333333333339</c:v>
                </c:pt>
                <c:pt idx="122">
                  <c:v>0.60333333333333339</c:v>
                </c:pt>
                <c:pt idx="123">
                  <c:v>0.60333333333333339</c:v>
                </c:pt>
                <c:pt idx="124">
                  <c:v>0.60333333333333339</c:v>
                </c:pt>
                <c:pt idx="125">
                  <c:v>0.60333333333333339</c:v>
                </c:pt>
                <c:pt idx="126">
                  <c:v>0.60333333333333339</c:v>
                </c:pt>
                <c:pt idx="127">
                  <c:v>0.60333333333333339</c:v>
                </c:pt>
                <c:pt idx="128">
                  <c:v>0.60333333333333339</c:v>
                </c:pt>
                <c:pt idx="129">
                  <c:v>0.60333333333333339</c:v>
                </c:pt>
                <c:pt idx="130">
                  <c:v>0.60333333333333339</c:v>
                </c:pt>
                <c:pt idx="131">
                  <c:v>0.60333333333333339</c:v>
                </c:pt>
                <c:pt idx="132">
                  <c:v>0.60333333333333339</c:v>
                </c:pt>
                <c:pt idx="133">
                  <c:v>0.60333333333333339</c:v>
                </c:pt>
                <c:pt idx="134">
                  <c:v>0.5</c:v>
                </c:pt>
                <c:pt idx="135">
                  <c:v>0.5</c:v>
                </c:pt>
                <c:pt idx="136">
                  <c:v>0.5</c:v>
                </c:pt>
                <c:pt idx="137">
                  <c:v>0.5</c:v>
                </c:pt>
                <c:pt idx="138">
                  <c:v>0.5</c:v>
                </c:pt>
                <c:pt idx="139">
                  <c:v>0.5</c:v>
                </c:pt>
                <c:pt idx="140">
                  <c:v>0.5</c:v>
                </c:pt>
                <c:pt idx="141">
                  <c:v>0.5</c:v>
                </c:pt>
                <c:pt idx="142">
                  <c:v>0.5</c:v>
                </c:pt>
                <c:pt idx="143">
                  <c:v>0.5</c:v>
                </c:pt>
                <c:pt idx="144">
                  <c:v>0.5</c:v>
                </c:pt>
                <c:pt idx="145">
                  <c:v>0.5</c:v>
                </c:pt>
                <c:pt idx="146">
                  <c:v>0.5</c:v>
                </c:pt>
                <c:pt idx="147">
                  <c:v>0.5</c:v>
                </c:pt>
                <c:pt idx="148">
                  <c:v>0.5</c:v>
                </c:pt>
                <c:pt idx="149">
                  <c:v>0.5</c:v>
                </c:pt>
                <c:pt idx="150">
                  <c:v>0.5</c:v>
                </c:pt>
                <c:pt idx="151">
                  <c:v>0.5</c:v>
                </c:pt>
                <c:pt idx="152">
                  <c:v>0.5</c:v>
                </c:pt>
                <c:pt idx="153">
                  <c:v>0.5</c:v>
                </c:pt>
                <c:pt idx="154">
                  <c:v>0.5</c:v>
                </c:pt>
                <c:pt idx="155">
                  <c:v>0.5</c:v>
                </c:pt>
                <c:pt idx="156">
                  <c:v>0.5</c:v>
                </c:pt>
                <c:pt idx="157">
                  <c:v>0.5</c:v>
                </c:pt>
                <c:pt idx="158">
                  <c:v>0.5</c:v>
                </c:pt>
                <c:pt idx="159">
                  <c:v>0.5</c:v>
                </c:pt>
                <c:pt idx="160">
                  <c:v>0.5</c:v>
                </c:pt>
                <c:pt idx="161">
                  <c:v>0.5</c:v>
                </c:pt>
                <c:pt idx="162">
                  <c:v>0.5</c:v>
                </c:pt>
                <c:pt idx="163">
                  <c:v>0.5</c:v>
                </c:pt>
                <c:pt idx="164">
                  <c:v>0.39666666666666667</c:v>
                </c:pt>
                <c:pt idx="165">
                  <c:v>0.39666666666666667</c:v>
                </c:pt>
                <c:pt idx="166">
                  <c:v>0.39666666666666667</c:v>
                </c:pt>
                <c:pt idx="167">
                  <c:v>0.39666666666666667</c:v>
                </c:pt>
                <c:pt idx="168">
                  <c:v>0.39666666666666667</c:v>
                </c:pt>
                <c:pt idx="169">
                  <c:v>0.39666666666666667</c:v>
                </c:pt>
                <c:pt idx="170">
                  <c:v>0.39666666666666667</c:v>
                </c:pt>
                <c:pt idx="171">
                  <c:v>0.39666666666666667</c:v>
                </c:pt>
                <c:pt idx="172">
                  <c:v>0.39666666666666667</c:v>
                </c:pt>
                <c:pt idx="173">
                  <c:v>0.39666666666666667</c:v>
                </c:pt>
                <c:pt idx="174">
                  <c:v>0.39666666666666667</c:v>
                </c:pt>
                <c:pt idx="175">
                  <c:v>0.39666666666666667</c:v>
                </c:pt>
                <c:pt idx="176">
                  <c:v>0.39666666666666667</c:v>
                </c:pt>
                <c:pt idx="177">
                  <c:v>0.39666666666666667</c:v>
                </c:pt>
                <c:pt idx="178">
                  <c:v>0.39666666666666667</c:v>
                </c:pt>
                <c:pt idx="179">
                  <c:v>0.39666666666666667</c:v>
                </c:pt>
                <c:pt idx="180">
                  <c:v>0.39666666666666667</c:v>
                </c:pt>
                <c:pt idx="181">
                  <c:v>0.39666666666666667</c:v>
                </c:pt>
                <c:pt idx="182">
                  <c:v>0.39666666666666667</c:v>
                </c:pt>
                <c:pt idx="183">
                  <c:v>0.39666666666666667</c:v>
                </c:pt>
                <c:pt idx="184">
                  <c:v>0.39666666666666667</c:v>
                </c:pt>
                <c:pt idx="185">
                  <c:v>0.39666666666666667</c:v>
                </c:pt>
                <c:pt idx="186">
                  <c:v>0.39666666666666667</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4-66EA-4545-A8A2-2FBD4018A1DB}"/>
            </c:ext>
          </c:extLst>
        </c:ser>
        <c:dLbls>
          <c:showLegendKey val="0"/>
          <c:showVal val="0"/>
          <c:showCatName val="0"/>
          <c:showSerName val="0"/>
          <c:showPercent val="0"/>
          <c:showBubbleSize val="0"/>
        </c:dLbls>
        <c:smooth val="0"/>
        <c:axId val="833205664"/>
        <c:axId val="833204832"/>
      </c:lineChart>
      <c:catAx>
        <c:axId val="833205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833204832"/>
        <c:crosses val="autoZero"/>
        <c:auto val="1"/>
        <c:lblAlgn val="ctr"/>
        <c:lblOffset val="100"/>
        <c:noMultiLvlLbl val="0"/>
      </c:catAx>
      <c:valAx>
        <c:axId val="833204832"/>
        <c:scaling>
          <c:orientation val="minMax"/>
          <c:min val="0.25"/>
        </c:scaling>
        <c:delete val="0"/>
        <c:axPos val="l"/>
        <c:majorGridlines>
          <c:spPr>
            <a:ln w="9525" cap="flat" cmpd="sng" algn="ctr">
              <a:solidFill>
                <a:schemeClr val="tx1">
                  <a:lumMod val="15000"/>
                  <a:lumOff val="85000"/>
                </a:schemeClr>
              </a:solidFill>
              <a:round/>
            </a:ln>
            <a:effectLst/>
          </c:spPr>
        </c:majorGridlines>
        <c:numFmt formatCode="#,##0.00_);[Red]\(#,##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8332056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zh-CN"/>
              <a:t>新疆平均电价</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主流省份电价!$CN$5</c:f>
              <c:strCache>
                <c:ptCount val="1"/>
                <c:pt idx="0">
                  <c:v>2020</c:v>
                </c:pt>
              </c:strCache>
            </c:strRef>
          </c:tx>
          <c:spPr>
            <a:ln w="19050" cap="rnd">
              <a:solidFill>
                <a:srgbClr val="7030A0">
                  <a:alpha val="60000"/>
                </a:srgbClr>
              </a:solidFill>
              <a:round/>
            </a:ln>
            <a:effectLst/>
          </c:spPr>
          <c:marker>
            <c:symbol val="none"/>
          </c:marker>
          <c:cat>
            <c:strRef>
              <c:f>主流省份电价!$CK$6:$CK$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CN$6:$CN$371</c:f>
              <c:numCache>
                <c:formatCode>#,##0.00_);[Red]\(#,##0.00\)</c:formatCode>
                <c:ptCount val="366"/>
                <c:pt idx="0">
                  <c:v>0.26500000000000001</c:v>
                </c:pt>
                <c:pt idx="1">
                  <c:v>0.26500000000000001</c:v>
                </c:pt>
                <c:pt idx="2">
                  <c:v>0.26500000000000001</c:v>
                </c:pt>
                <c:pt idx="3">
                  <c:v>0.26500000000000001</c:v>
                </c:pt>
                <c:pt idx="4">
                  <c:v>0.26500000000000001</c:v>
                </c:pt>
                <c:pt idx="5">
                  <c:v>0.26500000000000001</c:v>
                </c:pt>
                <c:pt idx="6">
                  <c:v>0.26500000000000001</c:v>
                </c:pt>
                <c:pt idx="7">
                  <c:v>0.26500000000000001</c:v>
                </c:pt>
                <c:pt idx="8">
                  <c:v>0.26500000000000001</c:v>
                </c:pt>
                <c:pt idx="9">
                  <c:v>0.26500000000000001</c:v>
                </c:pt>
                <c:pt idx="10">
                  <c:v>0.26500000000000001</c:v>
                </c:pt>
                <c:pt idx="11">
                  <c:v>0.26500000000000001</c:v>
                </c:pt>
                <c:pt idx="12">
                  <c:v>0.26500000000000001</c:v>
                </c:pt>
                <c:pt idx="13">
                  <c:v>0.26500000000000001</c:v>
                </c:pt>
                <c:pt idx="14">
                  <c:v>0.26500000000000001</c:v>
                </c:pt>
                <c:pt idx="15">
                  <c:v>0.26500000000000001</c:v>
                </c:pt>
                <c:pt idx="16">
                  <c:v>0.26500000000000001</c:v>
                </c:pt>
                <c:pt idx="17">
                  <c:v>0.26500000000000001</c:v>
                </c:pt>
                <c:pt idx="18">
                  <c:v>0.26500000000000001</c:v>
                </c:pt>
                <c:pt idx="19">
                  <c:v>0.26500000000000001</c:v>
                </c:pt>
                <c:pt idx="20">
                  <c:v>0.26500000000000001</c:v>
                </c:pt>
                <c:pt idx="21">
                  <c:v>0.26500000000000001</c:v>
                </c:pt>
                <c:pt idx="22">
                  <c:v>0.26500000000000001</c:v>
                </c:pt>
                <c:pt idx="23">
                  <c:v>0.26500000000000001</c:v>
                </c:pt>
                <c:pt idx="24">
                  <c:v>0.26500000000000001</c:v>
                </c:pt>
                <c:pt idx="25">
                  <c:v>0.26500000000000001</c:v>
                </c:pt>
                <c:pt idx="26">
                  <c:v>0.26500000000000001</c:v>
                </c:pt>
                <c:pt idx="27">
                  <c:v>0.26500000000000001</c:v>
                </c:pt>
                <c:pt idx="28">
                  <c:v>0.26500000000000001</c:v>
                </c:pt>
                <c:pt idx="29">
                  <c:v>0.26500000000000001</c:v>
                </c:pt>
                <c:pt idx="30">
                  <c:v>0.26500000000000001</c:v>
                </c:pt>
                <c:pt idx="31">
                  <c:v>0.26500000000000001</c:v>
                </c:pt>
                <c:pt idx="32">
                  <c:v>0.26500000000000001</c:v>
                </c:pt>
                <c:pt idx="33">
                  <c:v>0.26500000000000001</c:v>
                </c:pt>
                <c:pt idx="34">
                  <c:v>0.26500000000000001</c:v>
                </c:pt>
                <c:pt idx="35">
                  <c:v>0.26500000000000001</c:v>
                </c:pt>
                <c:pt idx="36">
                  <c:v>0.26500000000000001</c:v>
                </c:pt>
                <c:pt idx="37">
                  <c:v>0.26500000000000001</c:v>
                </c:pt>
                <c:pt idx="38">
                  <c:v>0.26500000000000001</c:v>
                </c:pt>
                <c:pt idx="39">
                  <c:v>0.26500000000000001</c:v>
                </c:pt>
                <c:pt idx="40">
                  <c:v>0.26500000000000001</c:v>
                </c:pt>
                <c:pt idx="41">
                  <c:v>0.26500000000000001</c:v>
                </c:pt>
                <c:pt idx="42">
                  <c:v>0.26500000000000001</c:v>
                </c:pt>
                <c:pt idx="43">
                  <c:v>0.26500000000000001</c:v>
                </c:pt>
                <c:pt idx="44">
                  <c:v>0.26500000000000001</c:v>
                </c:pt>
                <c:pt idx="45">
                  <c:v>0.26500000000000001</c:v>
                </c:pt>
                <c:pt idx="46">
                  <c:v>0.26500000000000001</c:v>
                </c:pt>
                <c:pt idx="47">
                  <c:v>0.26500000000000001</c:v>
                </c:pt>
                <c:pt idx="48">
                  <c:v>0.26500000000000001</c:v>
                </c:pt>
                <c:pt idx="49">
                  <c:v>0.26500000000000001</c:v>
                </c:pt>
                <c:pt idx="50">
                  <c:v>0.26500000000000001</c:v>
                </c:pt>
                <c:pt idx="51">
                  <c:v>0.26500000000000001</c:v>
                </c:pt>
                <c:pt idx="52">
                  <c:v>0.26500000000000001</c:v>
                </c:pt>
                <c:pt idx="53">
                  <c:v>0.26500000000000001</c:v>
                </c:pt>
                <c:pt idx="54">
                  <c:v>0.26500000000000001</c:v>
                </c:pt>
                <c:pt idx="55">
                  <c:v>0.26500000000000001</c:v>
                </c:pt>
                <c:pt idx="56">
                  <c:v>0.26500000000000001</c:v>
                </c:pt>
                <c:pt idx="57">
                  <c:v>0.26500000000000001</c:v>
                </c:pt>
                <c:pt idx="58">
                  <c:v>0.26500000000000001</c:v>
                </c:pt>
                <c:pt idx="59">
                  <c:v>0.26500000000000001</c:v>
                </c:pt>
                <c:pt idx="60">
                  <c:v>0.26500000000000001</c:v>
                </c:pt>
                <c:pt idx="61">
                  <c:v>0.26500000000000001</c:v>
                </c:pt>
                <c:pt idx="62">
                  <c:v>0.26500000000000001</c:v>
                </c:pt>
                <c:pt idx="63">
                  <c:v>0.26500000000000001</c:v>
                </c:pt>
                <c:pt idx="64">
                  <c:v>0.26500000000000001</c:v>
                </c:pt>
                <c:pt idx="65">
                  <c:v>0.26500000000000001</c:v>
                </c:pt>
                <c:pt idx="66">
                  <c:v>0.26500000000000001</c:v>
                </c:pt>
                <c:pt idx="67">
                  <c:v>0.26500000000000001</c:v>
                </c:pt>
                <c:pt idx="68">
                  <c:v>0.26500000000000001</c:v>
                </c:pt>
                <c:pt idx="69">
                  <c:v>0.26500000000000001</c:v>
                </c:pt>
                <c:pt idx="70">
                  <c:v>0.26500000000000001</c:v>
                </c:pt>
                <c:pt idx="71">
                  <c:v>0.26500000000000001</c:v>
                </c:pt>
                <c:pt idx="72">
                  <c:v>0.26500000000000001</c:v>
                </c:pt>
                <c:pt idx="73">
                  <c:v>0.26500000000000001</c:v>
                </c:pt>
                <c:pt idx="74">
                  <c:v>0.26500000000000001</c:v>
                </c:pt>
                <c:pt idx="75">
                  <c:v>0.26500000000000001</c:v>
                </c:pt>
                <c:pt idx="76">
                  <c:v>0.26500000000000001</c:v>
                </c:pt>
                <c:pt idx="77">
                  <c:v>0.26500000000000001</c:v>
                </c:pt>
                <c:pt idx="78">
                  <c:v>0.26500000000000001</c:v>
                </c:pt>
                <c:pt idx="79">
                  <c:v>0.26500000000000001</c:v>
                </c:pt>
                <c:pt idx="80">
                  <c:v>0.26500000000000001</c:v>
                </c:pt>
                <c:pt idx="81">
                  <c:v>0.26500000000000001</c:v>
                </c:pt>
                <c:pt idx="82">
                  <c:v>0.26500000000000001</c:v>
                </c:pt>
                <c:pt idx="83">
                  <c:v>0.26500000000000001</c:v>
                </c:pt>
                <c:pt idx="84">
                  <c:v>0.26500000000000001</c:v>
                </c:pt>
                <c:pt idx="85">
                  <c:v>0.26500000000000001</c:v>
                </c:pt>
                <c:pt idx="86">
                  <c:v>0.26500000000000001</c:v>
                </c:pt>
                <c:pt idx="87">
                  <c:v>0.26500000000000001</c:v>
                </c:pt>
                <c:pt idx="88">
                  <c:v>0.26500000000000001</c:v>
                </c:pt>
                <c:pt idx="89">
                  <c:v>0.26500000000000001</c:v>
                </c:pt>
                <c:pt idx="90">
                  <c:v>0.26500000000000001</c:v>
                </c:pt>
                <c:pt idx="91">
                  <c:v>0.26500000000000001</c:v>
                </c:pt>
                <c:pt idx="92">
                  <c:v>0.26500000000000001</c:v>
                </c:pt>
                <c:pt idx="93">
                  <c:v>0.26500000000000001</c:v>
                </c:pt>
                <c:pt idx="94">
                  <c:v>0.26500000000000001</c:v>
                </c:pt>
                <c:pt idx="95">
                  <c:v>0.26500000000000001</c:v>
                </c:pt>
                <c:pt idx="96">
                  <c:v>0.26500000000000001</c:v>
                </c:pt>
                <c:pt idx="97">
                  <c:v>0.26500000000000001</c:v>
                </c:pt>
                <c:pt idx="98">
                  <c:v>0.26500000000000001</c:v>
                </c:pt>
                <c:pt idx="99">
                  <c:v>0.26500000000000001</c:v>
                </c:pt>
                <c:pt idx="100">
                  <c:v>0.26500000000000001</c:v>
                </c:pt>
                <c:pt idx="101">
                  <c:v>0.26500000000000001</c:v>
                </c:pt>
                <c:pt idx="102">
                  <c:v>0.26500000000000001</c:v>
                </c:pt>
                <c:pt idx="103">
                  <c:v>0.26500000000000001</c:v>
                </c:pt>
                <c:pt idx="104">
                  <c:v>0.26500000000000001</c:v>
                </c:pt>
                <c:pt idx="105">
                  <c:v>0.26500000000000001</c:v>
                </c:pt>
                <c:pt idx="106">
                  <c:v>0.26500000000000001</c:v>
                </c:pt>
                <c:pt idx="107">
                  <c:v>0.26500000000000001</c:v>
                </c:pt>
                <c:pt idx="108">
                  <c:v>0.26500000000000001</c:v>
                </c:pt>
                <c:pt idx="109">
                  <c:v>0.26500000000000001</c:v>
                </c:pt>
                <c:pt idx="110">
                  <c:v>0.26500000000000001</c:v>
                </c:pt>
                <c:pt idx="111">
                  <c:v>0.26500000000000001</c:v>
                </c:pt>
                <c:pt idx="112">
                  <c:v>0.26500000000000001</c:v>
                </c:pt>
                <c:pt idx="113">
                  <c:v>0.26500000000000001</c:v>
                </c:pt>
                <c:pt idx="114">
                  <c:v>0.26500000000000001</c:v>
                </c:pt>
                <c:pt idx="115">
                  <c:v>0.26500000000000001</c:v>
                </c:pt>
                <c:pt idx="116">
                  <c:v>0.26500000000000001</c:v>
                </c:pt>
                <c:pt idx="117">
                  <c:v>0.26500000000000001</c:v>
                </c:pt>
                <c:pt idx="118">
                  <c:v>0.26500000000000001</c:v>
                </c:pt>
                <c:pt idx="119">
                  <c:v>0.26500000000000001</c:v>
                </c:pt>
                <c:pt idx="120">
                  <c:v>0.26500000000000001</c:v>
                </c:pt>
                <c:pt idx="121">
                  <c:v>0.26500000000000001</c:v>
                </c:pt>
                <c:pt idx="122">
                  <c:v>0.26500000000000001</c:v>
                </c:pt>
                <c:pt idx="123">
                  <c:v>0.26500000000000001</c:v>
                </c:pt>
                <c:pt idx="124">
                  <c:v>0.26500000000000001</c:v>
                </c:pt>
                <c:pt idx="125">
                  <c:v>0.26500000000000001</c:v>
                </c:pt>
                <c:pt idx="126">
                  <c:v>0.26500000000000001</c:v>
                </c:pt>
                <c:pt idx="127">
                  <c:v>0.26500000000000001</c:v>
                </c:pt>
                <c:pt idx="128">
                  <c:v>0.26500000000000001</c:v>
                </c:pt>
                <c:pt idx="129">
                  <c:v>0.26500000000000001</c:v>
                </c:pt>
                <c:pt idx="130">
                  <c:v>0.26500000000000001</c:v>
                </c:pt>
                <c:pt idx="131">
                  <c:v>0.26500000000000001</c:v>
                </c:pt>
                <c:pt idx="132">
                  <c:v>0.26500000000000001</c:v>
                </c:pt>
                <c:pt idx="133">
                  <c:v>0.26500000000000001</c:v>
                </c:pt>
                <c:pt idx="134">
                  <c:v>0.26500000000000001</c:v>
                </c:pt>
                <c:pt idx="135">
                  <c:v>0.26500000000000001</c:v>
                </c:pt>
                <c:pt idx="136">
                  <c:v>0.26500000000000001</c:v>
                </c:pt>
                <c:pt idx="137">
                  <c:v>0.26500000000000001</c:v>
                </c:pt>
                <c:pt idx="138">
                  <c:v>0.26500000000000001</c:v>
                </c:pt>
                <c:pt idx="139">
                  <c:v>0.26500000000000001</c:v>
                </c:pt>
                <c:pt idx="140">
                  <c:v>0.26500000000000001</c:v>
                </c:pt>
                <c:pt idx="141">
                  <c:v>0.26500000000000001</c:v>
                </c:pt>
                <c:pt idx="142">
                  <c:v>0.26500000000000001</c:v>
                </c:pt>
                <c:pt idx="143">
                  <c:v>0.26500000000000001</c:v>
                </c:pt>
                <c:pt idx="144">
                  <c:v>0.26500000000000001</c:v>
                </c:pt>
                <c:pt idx="145">
                  <c:v>0.26500000000000001</c:v>
                </c:pt>
                <c:pt idx="146">
                  <c:v>0.26500000000000001</c:v>
                </c:pt>
                <c:pt idx="147">
                  <c:v>0.26500000000000001</c:v>
                </c:pt>
                <c:pt idx="148">
                  <c:v>0.26500000000000001</c:v>
                </c:pt>
                <c:pt idx="149">
                  <c:v>0.26500000000000001</c:v>
                </c:pt>
                <c:pt idx="150">
                  <c:v>0.26500000000000001</c:v>
                </c:pt>
                <c:pt idx="151">
                  <c:v>0.26500000000000001</c:v>
                </c:pt>
                <c:pt idx="152">
                  <c:v>0.26500000000000001</c:v>
                </c:pt>
                <c:pt idx="153">
                  <c:v>0.26500000000000001</c:v>
                </c:pt>
                <c:pt idx="154">
                  <c:v>0.26500000000000001</c:v>
                </c:pt>
                <c:pt idx="155">
                  <c:v>0.26500000000000001</c:v>
                </c:pt>
                <c:pt idx="156">
                  <c:v>0.26500000000000001</c:v>
                </c:pt>
                <c:pt idx="157">
                  <c:v>0.26500000000000001</c:v>
                </c:pt>
                <c:pt idx="158">
                  <c:v>0.26500000000000001</c:v>
                </c:pt>
                <c:pt idx="159">
                  <c:v>0.26500000000000001</c:v>
                </c:pt>
                <c:pt idx="160">
                  <c:v>0.26500000000000001</c:v>
                </c:pt>
                <c:pt idx="161">
                  <c:v>0.26500000000000001</c:v>
                </c:pt>
                <c:pt idx="162">
                  <c:v>0.26500000000000001</c:v>
                </c:pt>
                <c:pt idx="163">
                  <c:v>0.26500000000000001</c:v>
                </c:pt>
                <c:pt idx="164">
                  <c:v>0.26500000000000001</c:v>
                </c:pt>
                <c:pt idx="165">
                  <c:v>0.26500000000000001</c:v>
                </c:pt>
                <c:pt idx="166">
                  <c:v>0.26500000000000001</c:v>
                </c:pt>
                <c:pt idx="167">
                  <c:v>0.26500000000000001</c:v>
                </c:pt>
                <c:pt idx="168">
                  <c:v>0.26500000000000001</c:v>
                </c:pt>
                <c:pt idx="169">
                  <c:v>0.26500000000000001</c:v>
                </c:pt>
                <c:pt idx="170">
                  <c:v>0.26500000000000001</c:v>
                </c:pt>
                <c:pt idx="171">
                  <c:v>0.26500000000000001</c:v>
                </c:pt>
                <c:pt idx="172">
                  <c:v>0.26500000000000001</c:v>
                </c:pt>
                <c:pt idx="173">
                  <c:v>0.26500000000000001</c:v>
                </c:pt>
                <c:pt idx="174">
                  <c:v>0.26500000000000001</c:v>
                </c:pt>
                <c:pt idx="175">
                  <c:v>0.26500000000000001</c:v>
                </c:pt>
                <c:pt idx="176">
                  <c:v>0.26500000000000001</c:v>
                </c:pt>
                <c:pt idx="177">
                  <c:v>0.26500000000000001</c:v>
                </c:pt>
                <c:pt idx="178">
                  <c:v>0.26500000000000001</c:v>
                </c:pt>
                <c:pt idx="179">
                  <c:v>0.26500000000000001</c:v>
                </c:pt>
                <c:pt idx="180">
                  <c:v>0.26500000000000001</c:v>
                </c:pt>
                <c:pt idx="181">
                  <c:v>0.26500000000000001</c:v>
                </c:pt>
                <c:pt idx="182">
                  <c:v>0.26500000000000001</c:v>
                </c:pt>
                <c:pt idx="183">
                  <c:v>0.26500000000000001</c:v>
                </c:pt>
                <c:pt idx="184">
                  <c:v>0.26500000000000001</c:v>
                </c:pt>
                <c:pt idx="185">
                  <c:v>0.26500000000000001</c:v>
                </c:pt>
                <c:pt idx="186">
                  <c:v>0.26500000000000001</c:v>
                </c:pt>
                <c:pt idx="187">
                  <c:v>0.26500000000000001</c:v>
                </c:pt>
                <c:pt idx="188">
                  <c:v>0.26500000000000001</c:v>
                </c:pt>
                <c:pt idx="189">
                  <c:v>0.26500000000000001</c:v>
                </c:pt>
                <c:pt idx="190">
                  <c:v>0.26500000000000001</c:v>
                </c:pt>
                <c:pt idx="191">
                  <c:v>0.26500000000000001</c:v>
                </c:pt>
                <c:pt idx="192">
                  <c:v>0.26500000000000001</c:v>
                </c:pt>
                <c:pt idx="193">
                  <c:v>0.26500000000000001</c:v>
                </c:pt>
                <c:pt idx="194">
                  <c:v>0.26500000000000001</c:v>
                </c:pt>
                <c:pt idx="195">
                  <c:v>0.26500000000000001</c:v>
                </c:pt>
                <c:pt idx="196">
                  <c:v>0.26500000000000001</c:v>
                </c:pt>
                <c:pt idx="197">
                  <c:v>0.26500000000000001</c:v>
                </c:pt>
                <c:pt idx="198">
                  <c:v>0.26500000000000001</c:v>
                </c:pt>
                <c:pt idx="199">
                  <c:v>0.26500000000000001</c:v>
                </c:pt>
                <c:pt idx="200">
                  <c:v>0.26500000000000001</c:v>
                </c:pt>
                <c:pt idx="201">
                  <c:v>0.26500000000000001</c:v>
                </c:pt>
                <c:pt idx="202">
                  <c:v>0.26500000000000001</c:v>
                </c:pt>
                <c:pt idx="203">
                  <c:v>0.26500000000000001</c:v>
                </c:pt>
                <c:pt idx="204">
                  <c:v>0.26500000000000001</c:v>
                </c:pt>
                <c:pt idx="205">
                  <c:v>0.26500000000000001</c:v>
                </c:pt>
                <c:pt idx="206">
                  <c:v>0.26500000000000001</c:v>
                </c:pt>
                <c:pt idx="207">
                  <c:v>0.26500000000000001</c:v>
                </c:pt>
                <c:pt idx="208">
                  <c:v>0.26500000000000001</c:v>
                </c:pt>
                <c:pt idx="209">
                  <c:v>0.26500000000000001</c:v>
                </c:pt>
                <c:pt idx="210">
                  <c:v>0.26500000000000001</c:v>
                </c:pt>
                <c:pt idx="211">
                  <c:v>0.26500000000000001</c:v>
                </c:pt>
                <c:pt idx="212">
                  <c:v>0.26500000000000001</c:v>
                </c:pt>
                <c:pt idx="213">
                  <c:v>0.26500000000000001</c:v>
                </c:pt>
                <c:pt idx="214">
                  <c:v>0.26500000000000001</c:v>
                </c:pt>
                <c:pt idx="215">
                  <c:v>0.26500000000000001</c:v>
                </c:pt>
                <c:pt idx="216">
                  <c:v>0.26500000000000001</c:v>
                </c:pt>
                <c:pt idx="217">
                  <c:v>0.26500000000000001</c:v>
                </c:pt>
                <c:pt idx="218">
                  <c:v>0.26500000000000001</c:v>
                </c:pt>
                <c:pt idx="219">
                  <c:v>0.26500000000000001</c:v>
                </c:pt>
                <c:pt idx="220">
                  <c:v>0.26500000000000001</c:v>
                </c:pt>
                <c:pt idx="221">
                  <c:v>0.26500000000000001</c:v>
                </c:pt>
                <c:pt idx="222">
                  <c:v>0.26500000000000001</c:v>
                </c:pt>
                <c:pt idx="223">
                  <c:v>0.26500000000000001</c:v>
                </c:pt>
                <c:pt idx="224">
                  <c:v>0.26500000000000001</c:v>
                </c:pt>
                <c:pt idx="225">
                  <c:v>0.26500000000000001</c:v>
                </c:pt>
                <c:pt idx="226">
                  <c:v>0.26500000000000001</c:v>
                </c:pt>
                <c:pt idx="227">
                  <c:v>0.26500000000000001</c:v>
                </c:pt>
                <c:pt idx="228">
                  <c:v>0.26500000000000001</c:v>
                </c:pt>
                <c:pt idx="229">
                  <c:v>0.26500000000000001</c:v>
                </c:pt>
                <c:pt idx="230">
                  <c:v>0.26500000000000001</c:v>
                </c:pt>
                <c:pt idx="231">
                  <c:v>0.26500000000000001</c:v>
                </c:pt>
                <c:pt idx="232">
                  <c:v>0.26500000000000001</c:v>
                </c:pt>
                <c:pt idx="233">
                  <c:v>0.26500000000000001</c:v>
                </c:pt>
                <c:pt idx="234">
                  <c:v>0.26500000000000001</c:v>
                </c:pt>
                <c:pt idx="235">
                  <c:v>0.26500000000000001</c:v>
                </c:pt>
                <c:pt idx="236">
                  <c:v>0.26500000000000001</c:v>
                </c:pt>
                <c:pt idx="237">
                  <c:v>0.26500000000000001</c:v>
                </c:pt>
                <c:pt idx="238">
                  <c:v>0.26500000000000001</c:v>
                </c:pt>
                <c:pt idx="239">
                  <c:v>0.26500000000000001</c:v>
                </c:pt>
                <c:pt idx="240">
                  <c:v>0.26500000000000001</c:v>
                </c:pt>
                <c:pt idx="241">
                  <c:v>0.26500000000000001</c:v>
                </c:pt>
                <c:pt idx="242">
                  <c:v>0.26500000000000001</c:v>
                </c:pt>
                <c:pt idx="243">
                  <c:v>0.26500000000000001</c:v>
                </c:pt>
                <c:pt idx="244">
                  <c:v>0.26500000000000001</c:v>
                </c:pt>
                <c:pt idx="245">
                  <c:v>0.26500000000000001</c:v>
                </c:pt>
                <c:pt idx="246">
                  <c:v>0.26500000000000001</c:v>
                </c:pt>
                <c:pt idx="247">
                  <c:v>0.26500000000000001</c:v>
                </c:pt>
                <c:pt idx="248">
                  <c:v>0.26500000000000001</c:v>
                </c:pt>
                <c:pt idx="249">
                  <c:v>0.26500000000000001</c:v>
                </c:pt>
                <c:pt idx="250">
                  <c:v>0.26500000000000001</c:v>
                </c:pt>
                <c:pt idx="251">
                  <c:v>0.26500000000000001</c:v>
                </c:pt>
                <c:pt idx="252">
                  <c:v>0.26500000000000001</c:v>
                </c:pt>
                <c:pt idx="253">
                  <c:v>0.26500000000000001</c:v>
                </c:pt>
                <c:pt idx="254">
                  <c:v>0.26500000000000001</c:v>
                </c:pt>
                <c:pt idx="255">
                  <c:v>0.26500000000000001</c:v>
                </c:pt>
                <c:pt idx="256">
                  <c:v>0.26500000000000001</c:v>
                </c:pt>
                <c:pt idx="257">
                  <c:v>0.26500000000000001</c:v>
                </c:pt>
                <c:pt idx="258">
                  <c:v>0.26500000000000001</c:v>
                </c:pt>
                <c:pt idx="259">
                  <c:v>0.26500000000000001</c:v>
                </c:pt>
                <c:pt idx="260">
                  <c:v>0.26500000000000001</c:v>
                </c:pt>
                <c:pt idx="261">
                  <c:v>0.26500000000000001</c:v>
                </c:pt>
                <c:pt idx="262">
                  <c:v>0.26500000000000001</c:v>
                </c:pt>
                <c:pt idx="263">
                  <c:v>0.26500000000000001</c:v>
                </c:pt>
                <c:pt idx="264">
                  <c:v>0.26500000000000001</c:v>
                </c:pt>
                <c:pt idx="265">
                  <c:v>0.26500000000000001</c:v>
                </c:pt>
                <c:pt idx="266">
                  <c:v>0.26500000000000001</c:v>
                </c:pt>
                <c:pt idx="267">
                  <c:v>0.26500000000000001</c:v>
                </c:pt>
                <c:pt idx="268">
                  <c:v>0.26500000000000001</c:v>
                </c:pt>
                <c:pt idx="269">
                  <c:v>0.26500000000000001</c:v>
                </c:pt>
                <c:pt idx="270">
                  <c:v>0.26500000000000001</c:v>
                </c:pt>
                <c:pt idx="271">
                  <c:v>0.26500000000000001</c:v>
                </c:pt>
                <c:pt idx="272">
                  <c:v>0.26500000000000001</c:v>
                </c:pt>
                <c:pt idx="273">
                  <c:v>0.26500000000000001</c:v>
                </c:pt>
                <c:pt idx="274">
                  <c:v>0.26500000000000001</c:v>
                </c:pt>
                <c:pt idx="275">
                  <c:v>0.26500000000000001</c:v>
                </c:pt>
                <c:pt idx="276">
                  <c:v>0.26500000000000001</c:v>
                </c:pt>
                <c:pt idx="277">
                  <c:v>0.26500000000000001</c:v>
                </c:pt>
                <c:pt idx="278">
                  <c:v>0.26500000000000001</c:v>
                </c:pt>
                <c:pt idx="279">
                  <c:v>0.26500000000000001</c:v>
                </c:pt>
                <c:pt idx="280">
                  <c:v>0.26500000000000001</c:v>
                </c:pt>
                <c:pt idx="281">
                  <c:v>0.26500000000000001</c:v>
                </c:pt>
                <c:pt idx="282">
                  <c:v>0.26500000000000001</c:v>
                </c:pt>
                <c:pt idx="283">
                  <c:v>0.26500000000000001</c:v>
                </c:pt>
                <c:pt idx="284">
                  <c:v>0.26500000000000001</c:v>
                </c:pt>
                <c:pt idx="285">
                  <c:v>0.26500000000000001</c:v>
                </c:pt>
                <c:pt idx="286">
                  <c:v>0.26500000000000001</c:v>
                </c:pt>
                <c:pt idx="287">
                  <c:v>0.26500000000000001</c:v>
                </c:pt>
                <c:pt idx="288">
                  <c:v>0.26500000000000001</c:v>
                </c:pt>
                <c:pt idx="289">
                  <c:v>0.26500000000000001</c:v>
                </c:pt>
                <c:pt idx="290">
                  <c:v>0.26500000000000001</c:v>
                </c:pt>
                <c:pt idx="291">
                  <c:v>0.26500000000000001</c:v>
                </c:pt>
                <c:pt idx="292">
                  <c:v>0.26500000000000001</c:v>
                </c:pt>
                <c:pt idx="293">
                  <c:v>0.26500000000000001</c:v>
                </c:pt>
                <c:pt idx="294">
                  <c:v>0.26500000000000001</c:v>
                </c:pt>
                <c:pt idx="295">
                  <c:v>0.26500000000000001</c:v>
                </c:pt>
                <c:pt idx="296">
                  <c:v>0.26500000000000001</c:v>
                </c:pt>
                <c:pt idx="297">
                  <c:v>0.26500000000000001</c:v>
                </c:pt>
                <c:pt idx="298">
                  <c:v>0.26500000000000001</c:v>
                </c:pt>
                <c:pt idx="299">
                  <c:v>0.26500000000000001</c:v>
                </c:pt>
                <c:pt idx="300">
                  <c:v>0.26500000000000001</c:v>
                </c:pt>
                <c:pt idx="301">
                  <c:v>0.26500000000000001</c:v>
                </c:pt>
                <c:pt idx="302">
                  <c:v>0.26500000000000001</c:v>
                </c:pt>
                <c:pt idx="303">
                  <c:v>0.26500000000000001</c:v>
                </c:pt>
                <c:pt idx="304">
                  <c:v>0.26500000000000001</c:v>
                </c:pt>
                <c:pt idx="305">
                  <c:v>0.26500000000000001</c:v>
                </c:pt>
                <c:pt idx="306">
                  <c:v>0.26500000000000001</c:v>
                </c:pt>
                <c:pt idx="307">
                  <c:v>0.26500000000000001</c:v>
                </c:pt>
                <c:pt idx="308">
                  <c:v>0.26500000000000001</c:v>
                </c:pt>
                <c:pt idx="309">
                  <c:v>0.26500000000000001</c:v>
                </c:pt>
                <c:pt idx="310">
                  <c:v>0.26500000000000001</c:v>
                </c:pt>
                <c:pt idx="311">
                  <c:v>0.26500000000000001</c:v>
                </c:pt>
                <c:pt idx="312">
                  <c:v>0.26500000000000001</c:v>
                </c:pt>
                <c:pt idx="313">
                  <c:v>0.26500000000000001</c:v>
                </c:pt>
                <c:pt idx="314">
                  <c:v>0.26500000000000001</c:v>
                </c:pt>
                <c:pt idx="315">
                  <c:v>0.26500000000000001</c:v>
                </c:pt>
                <c:pt idx="316">
                  <c:v>0.26500000000000001</c:v>
                </c:pt>
                <c:pt idx="317">
                  <c:v>0.26500000000000001</c:v>
                </c:pt>
                <c:pt idx="318">
                  <c:v>0.26500000000000001</c:v>
                </c:pt>
                <c:pt idx="319">
                  <c:v>0.26500000000000001</c:v>
                </c:pt>
                <c:pt idx="320">
                  <c:v>0.26500000000000001</c:v>
                </c:pt>
                <c:pt idx="321">
                  <c:v>0.26500000000000001</c:v>
                </c:pt>
                <c:pt idx="322">
                  <c:v>0.26500000000000001</c:v>
                </c:pt>
                <c:pt idx="323">
                  <c:v>0.26500000000000001</c:v>
                </c:pt>
                <c:pt idx="324">
                  <c:v>0.26500000000000001</c:v>
                </c:pt>
                <c:pt idx="325">
                  <c:v>0.26500000000000001</c:v>
                </c:pt>
                <c:pt idx="326">
                  <c:v>0.26500000000000001</c:v>
                </c:pt>
                <c:pt idx="327">
                  <c:v>0.26500000000000001</c:v>
                </c:pt>
                <c:pt idx="328">
                  <c:v>0.26500000000000001</c:v>
                </c:pt>
                <c:pt idx="329">
                  <c:v>0.26500000000000001</c:v>
                </c:pt>
                <c:pt idx="330">
                  <c:v>0.26500000000000001</c:v>
                </c:pt>
                <c:pt idx="331">
                  <c:v>0.26500000000000001</c:v>
                </c:pt>
                <c:pt idx="332">
                  <c:v>0.26500000000000001</c:v>
                </c:pt>
                <c:pt idx="333">
                  <c:v>0.26500000000000001</c:v>
                </c:pt>
                <c:pt idx="334">
                  <c:v>0.26500000000000001</c:v>
                </c:pt>
                <c:pt idx="335">
                  <c:v>0.26500000000000001</c:v>
                </c:pt>
                <c:pt idx="336">
                  <c:v>0.26500000000000001</c:v>
                </c:pt>
                <c:pt idx="337">
                  <c:v>0.26500000000000001</c:v>
                </c:pt>
                <c:pt idx="338">
                  <c:v>0.26500000000000001</c:v>
                </c:pt>
                <c:pt idx="339">
                  <c:v>0.26500000000000001</c:v>
                </c:pt>
                <c:pt idx="340">
                  <c:v>0.26500000000000001</c:v>
                </c:pt>
                <c:pt idx="341">
                  <c:v>0.26500000000000001</c:v>
                </c:pt>
                <c:pt idx="342">
                  <c:v>0.26500000000000001</c:v>
                </c:pt>
                <c:pt idx="343">
                  <c:v>0.26500000000000001</c:v>
                </c:pt>
                <c:pt idx="344">
                  <c:v>0.26500000000000001</c:v>
                </c:pt>
                <c:pt idx="345">
                  <c:v>0.26500000000000001</c:v>
                </c:pt>
                <c:pt idx="346">
                  <c:v>0.26500000000000001</c:v>
                </c:pt>
                <c:pt idx="347">
                  <c:v>0.26500000000000001</c:v>
                </c:pt>
                <c:pt idx="348">
                  <c:v>0.26500000000000001</c:v>
                </c:pt>
                <c:pt idx="349">
                  <c:v>0.26500000000000001</c:v>
                </c:pt>
                <c:pt idx="350">
                  <c:v>0.26500000000000001</c:v>
                </c:pt>
                <c:pt idx="351">
                  <c:v>0.26500000000000001</c:v>
                </c:pt>
                <c:pt idx="352">
                  <c:v>0.26500000000000001</c:v>
                </c:pt>
                <c:pt idx="353">
                  <c:v>0.26500000000000001</c:v>
                </c:pt>
                <c:pt idx="354">
                  <c:v>0.26500000000000001</c:v>
                </c:pt>
                <c:pt idx="355">
                  <c:v>0.26500000000000001</c:v>
                </c:pt>
                <c:pt idx="356">
                  <c:v>0.26500000000000001</c:v>
                </c:pt>
                <c:pt idx="357">
                  <c:v>0.26500000000000001</c:v>
                </c:pt>
                <c:pt idx="358">
                  <c:v>0.26500000000000001</c:v>
                </c:pt>
                <c:pt idx="359">
                  <c:v>0.26500000000000001</c:v>
                </c:pt>
                <c:pt idx="360">
                  <c:v>0.26500000000000001</c:v>
                </c:pt>
                <c:pt idx="361">
                  <c:v>0.26500000000000001</c:v>
                </c:pt>
                <c:pt idx="362">
                  <c:v>0.26500000000000001</c:v>
                </c:pt>
                <c:pt idx="363">
                  <c:v>0.26500000000000001</c:v>
                </c:pt>
                <c:pt idx="364">
                  <c:v>0.26500000000000001</c:v>
                </c:pt>
                <c:pt idx="365">
                  <c:v>0.26500000000000001</c:v>
                </c:pt>
              </c:numCache>
            </c:numRef>
          </c:val>
          <c:smooth val="0"/>
          <c:extLst>
            <c:ext xmlns:c16="http://schemas.microsoft.com/office/drawing/2014/chart" uri="{C3380CC4-5D6E-409C-BE32-E72D297353CC}">
              <c16:uniqueId val="{00000000-0D42-4F1F-8927-9002649D2FFF}"/>
            </c:ext>
          </c:extLst>
        </c:ser>
        <c:ser>
          <c:idx val="1"/>
          <c:order val="1"/>
          <c:tx>
            <c:strRef>
              <c:f>主流省份电价!$CO$5</c:f>
              <c:strCache>
                <c:ptCount val="1"/>
                <c:pt idx="0">
                  <c:v>2021</c:v>
                </c:pt>
              </c:strCache>
            </c:strRef>
          </c:tx>
          <c:spPr>
            <a:ln w="19050" cap="rnd">
              <a:solidFill>
                <a:schemeClr val="accent5">
                  <a:lumMod val="75000"/>
                  <a:alpha val="60000"/>
                </a:schemeClr>
              </a:solidFill>
              <a:round/>
            </a:ln>
            <a:effectLst/>
          </c:spPr>
          <c:marker>
            <c:symbol val="none"/>
          </c:marker>
          <c:cat>
            <c:strRef>
              <c:f>主流省份电价!$CK$6:$CK$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CO$6:$CO$371</c:f>
              <c:numCache>
                <c:formatCode>#,##0.00_);[Red]\(#,##0.00\)</c:formatCode>
                <c:ptCount val="366"/>
                <c:pt idx="0">
                  <c:v>0.26500000000000001</c:v>
                </c:pt>
                <c:pt idx="1">
                  <c:v>0.26500000000000001</c:v>
                </c:pt>
                <c:pt idx="2">
                  <c:v>0.26500000000000001</c:v>
                </c:pt>
                <c:pt idx="3">
                  <c:v>0.26500000000000001</c:v>
                </c:pt>
                <c:pt idx="4">
                  <c:v>0.26500000000000001</c:v>
                </c:pt>
                <c:pt idx="5">
                  <c:v>0.26500000000000001</c:v>
                </c:pt>
                <c:pt idx="6">
                  <c:v>0.26500000000000001</c:v>
                </c:pt>
                <c:pt idx="7">
                  <c:v>0.26500000000000001</c:v>
                </c:pt>
                <c:pt idx="8">
                  <c:v>0.26500000000000001</c:v>
                </c:pt>
                <c:pt idx="9">
                  <c:v>0.26500000000000001</c:v>
                </c:pt>
                <c:pt idx="10">
                  <c:v>0.26500000000000001</c:v>
                </c:pt>
                <c:pt idx="11">
                  <c:v>0.26500000000000001</c:v>
                </c:pt>
                <c:pt idx="12">
                  <c:v>0.26500000000000001</c:v>
                </c:pt>
                <c:pt idx="13">
                  <c:v>0.26500000000000001</c:v>
                </c:pt>
                <c:pt idx="14">
                  <c:v>0.26500000000000001</c:v>
                </c:pt>
                <c:pt idx="15">
                  <c:v>0.26500000000000001</c:v>
                </c:pt>
                <c:pt idx="16">
                  <c:v>0.26500000000000001</c:v>
                </c:pt>
                <c:pt idx="17">
                  <c:v>0.26500000000000001</c:v>
                </c:pt>
                <c:pt idx="18">
                  <c:v>0.26500000000000001</c:v>
                </c:pt>
                <c:pt idx="19">
                  <c:v>0.26500000000000001</c:v>
                </c:pt>
                <c:pt idx="20">
                  <c:v>0.26500000000000001</c:v>
                </c:pt>
                <c:pt idx="21">
                  <c:v>0.26500000000000001</c:v>
                </c:pt>
                <c:pt idx="22">
                  <c:v>0.26500000000000001</c:v>
                </c:pt>
                <c:pt idx="23">
                  <c:v>0.26500000000000001</c:v>
                </c:pt>
                <c:pt idx="24">
                  <c:v>0.26500000000000001</c:v>
                </c:pt>
                <c:pt idx="25">
                  <c:v>0.26500000000000001</c:v>
                </c:pt>
                <c:pt idx="26">
                  <c:v>0.26500000000000001</c:v>
                </c:pt>
                <c:pt idx="27">
                  <c:v>0.26500000000000001</c:v>
                </c:pt>
                <c:pt idx="28">
                  <c:v>0.26500000000000001</c:v>
                </c:pt>
                <c:pt idx="29">
                  <c:v>0.26500000000000001</c:v>
                </c:pt>
                <c:pt idx="30">
                  <c:v>0.26500000000000001</c:v>
                </c:pt>
                <c:pt idx="31">
                  <c:v>0.26500000000000001</c:v>
                </c:pt>
                <c:pt idx="32">
                  <c:v>0.26500000000000001</c:v>
                </c:pt>
                <c:pt idx="33">
                  <c:v>0.26500000000000001</c:v>
                </c:pt>
                <c:pt idx="34">
                  <c:v>0.26500000000000001</c:v>
                </c:pt>
                <c:pt idx="35">
                  <c:v>0.26500000000000001</c:v>
                </c:pt>
                <c:pt idx="36">
                  <c:v>0.26500000000000001</c:v>
                </c:pt>
                <c:pt idx="37">
                  <c:v>0.26500000000000001</c:v>
                </c:pt>
                <c:pt idx="38">
                  <c:v>0.26500000000000001</c:v>
                </c:pt>
                <c:pt idx="39">
                  <c:v>0.26500000000000001</c:v>
                </c:pt>
                <c:pt idx="40">
                  <c:v>0.26500000000000001</c:v>
                </c:pt>
                <c:pt idx="41">
                  <c:v>0.26500000000000001</c:v>
                </c:pt>
                <c:pt idx="42">
                  <c:v>0.26500000000000001</c:v>
                </c:pt>
                <c:pt idx="43">
                  <c:v>0.26500000000000001</c:v>
                </c:pt>
                <c:pt idx="44">
                  <c:v>0.26500000000000001</c:v>
                </c:pt>
                <c:pt idx="45">
                  <c:v>0.26500000000000001</c:v>
                </c:pt>
                <c:pt idx="46">
                  <c:v>0.26500000000000001</c:v>
                </c:pt>
                <c:pt idx="47">
                  <c:v>0.26500000000000001</c:v>
                </c:pt>
                <c:pt idx="48">
                  <c:v>0.26500000000000001</c:v>
                </c:pt>
                <c:pt idx="49">
                  <c:v>0.26500000000000001</c:v>
                </c:pt>
                <c:pt idx="50">
                  <c:v>0.26500000000000001</c:v>
                </c:pt>
                <c:pt idx="51">
                  <c:v>0.26500000000000001</c:v>
                </c:pt>
                <c:pt idx="52">
                  <c:v>0.26500000000000001</c:v>
                </c:pt>
                <c:pt idx="53">
                  <c:v>0.26500000000000001</c:v>
                </c:pt>
                <c:pt idx="54">
                  <c:v>0.26500000000000001</c:v>
                </c:pt>
                <c:pt idx="55">
                  <c:v>0.26500000000000001</c:v>
                </c:pt>
                <c:pt idx="56">
                  <c:v>0.26500000000000001</c:v>
                </c:pt>
                <c:pt idx="57">
                  <c:v>0.26500000000000001</c:v>
                </c:pt>
                <c:pt idx="58">
                  <c:v>0.26500000000000001</c:v>
                </c:pt>
                <c:pt idx="60">
                  <c:v>0.26500000000000001</c:v>
                </c:pt>
                <c:pt idx="61">
                  <c:v>0.26500000000000001</c:v>
                </c:pt>
                <c:pt idx="62">
                  <c:v>0.26500000000000001</c:v>
                </c:pt>
                <c:pt idx="63">
                  <c:v>0.26500000000000001</c:v>
                </c:pt>
                <c:pt idx="64">
                  <c:v>0.26500000000000001</c:v>
                </c:pt>
                <c:pt idx="65">
                  <c:v>0.26500000000000001</c:v>
                </c:pt>
                <c:pt idx="66">
                  <c:v>0.26500000000000001</c:v>
                </c:pt>
                <c:pt idx="67">
                  <c:v>0.26500000000000001</c:v>
                </c:pt>
                <c:pt idx="68">
                  <c:v>0.26500000000000001</c:v>
                </c:pt>
                <c:pt idx="69">
                  <c:v>0.26500000000000001</c:v>
                </c:pt>
                <c:pt idx="70">
                  <c:v>0.26500000000000001</c:v>
                </c:pt>
                <c:pt idx="71">
                  <c:v>0.26500000000000001</c:v>
                </c:pt>
                <c:pt idx="72">
                  <c:v>0.26500000000000001</c:v>
                </c:pt>
                <c:pt idx="73">
                  <c:v>0.26500000000000001</c:v>
                </c:pt>
                <c:pt idx="74">
                  <c:v>0.26500000000000001</c:v>
                </c:pt>
                <c:pt idx="75">
                  <c:v>0.26500000000000001</c:v>
                </c:pt>
                <c:pt idx="76">
                  <c:v>0.26500000000000001</c:v>
                </c:pt>
                <c:pt idx="77">
                  <c:v>0.26500000000000001</c:v>
                </c:pt>
                <c:pt idx="78">
                  <c:v>0.26500000000000001</c:v>
                </c:pt>
                <c:pt idx="79">
                  <c:v>0.26500000000000001</c:v>
                </c:pt>
                <c:pt idx="80">
                  <c:v>0.26500000000000001</c:v>
                </c:pt>
                <c:pt idx="81">
                  <c:v>0.26500000000000001</c:v>
                </c:pt>
                <c:pt idx="82">
                  <c:v>0.26500000000000001</c:v>
                </c:pt>
                <c:pt idx="83">
                  <c:v>0.26500000000000001</c:v>
                </c:pt>
                <c:pt idx="84">
                  <c:v>0.26500000000000001</c:v>
                </c:pt>
                <c:pt idx="85">
                  <c:v>0.26500000000000001</c:v>
                </c:pt>
                <c:pt idx="86">
                  <c:v>0.26500000000000001</c:v>
                </c:pt>
                <c:pt idx="87">
                  <c:v>0.26500000000000001</c:v>
                </c:pt>
                <c:pt idx="88">
                  <c:v>0.26500000000000001</c:v>
                </c:pt>
                <c:pt idx="89">
                  <c:v>0.26500000000000001</c:v>
                </c:pt>
                <c:pt idx="90">
                  <c:v>0.26500000000000001</c:v>
                </c:pt>
                <c:pt idx="91">
                  <c:v>0.26500000000000001</c:v>
                </c:pt>
                <c:pt idx="92">
                  <c:v>0.26500000000000001</c:v>
                </c:pt>
                <c:pt idx="93">
                  <c:v>0.26500000000000001</c:v>
                </c:pt>
                <c:pt idx="94">
                  <c:v>0.26500000000000001</c:v>
                </c:pt>
                <c:pt idx="95">
                  <c:v>0.26500000000000001</c:v>
                </c:pt>
                <c:pt idx="96">
                  <c:v>0.26500000000000001</c:v>
                </c:pt>
                <c:pt idx="97">
                  <c:v>0.26500000000000001</c:v>
                </c:pt>
                <c:pt idx="98">
                  <c:v>0.26500000000000001</c:v>
                </c:pt>
                <c:pt idx="99">
                  <c:v>0.26500000000000001</c:v>
                </c:pt>
                <c:pt idx="100">
                  <c:v>0.26500000000000001</c:v>
                </c:pt>
                <c:pt idx="101">
                  <c:v>0.26500000000000001</c:v>
                </c:pt>
                <c:pt idx="102">
                  <c:v>0.26500000000000001</c:v>
                </c:pt>
                <c:pt idx="103">
                  <c:v>0.26500000000000001</c:v>
                </c:pt>
                <c:pt idx="104">
                  <c:v>0.26500000000000001</c:v>
                </c:pt>
                <c:pt idx="105">
                  <c:v>0.26500000000000001</c:v>
                </c:pt>
                <c:pt idx="106">
                  <c:v>0.26500000000000001</c:v>
                </c:pt>
                <c:pt idx="107">
                  <c:v>0.26500000000000001</c:v>
                </c:pt>
                <c:pt idx="108">
                  <c:v>0.26500000000000001</c:v>
                </c:pt>
                <c:pt idx="109">
                  <c:v>0.26500000000000001</c:v>
                </c:pt>
                <c:pt idx="110">
                  <c:v>0.26500000000000001</c:v>
                </c:pt>
                <c:pt idx="111">
                  <c:v>0.26500000000000001</c:v>
                </c:pt>
                <c:pt idx="112">
                  <c:v>0.26500000000000001</c:v>
                </c:pt>
                <c:pt idx="113">
                  <c:v>0.26500000000000001</c:v>
                </c:pt>
                <c:pt idx="114">
                  <c:v>0.26500000000000001</c:v>
                </c:pt>
                <c:pt idx="115">
                  <c:v>0.26500000000000001</c:v>
                </c:pt>
                <c:pt idx="116">
                  <c:v>0.26500000000000001</c:v>
                </c:pt>
                <c:pt idx="117">
                  <c:v>0.26500000000000001</c:v>
                </c:pt>
                <c:pt idx="118">
                  <c:v>0.26500000000000001</c:v>
                </c:pt>
                <c:pt idx="119">
                  <c:v>0.26500000000000001</c:v>
                </c:pt>
                <c:pt idx="120">
                  <c:v>0.26500000000000001</c:v>
                </c:pt>
                <c:pt idx="121">
                  <c:v>0.26500000000000001</c:v>
                </c:pt>
                <c:pt idx="122">
                  <c:v>0.26500000000000001</c:v>
                </c:pt>
                <c:pt idx="123">
                  <c:v>0.26500000000000001</c:v>
                </c:pt>
                <c:pt idx="124">
                  <c:v>0.26500000000000001</c:v>
                </c:pt>
                <c:pt idx="125">
                  <c:v>0.26500000000000001</c:v>
                </c:pt>
                <c:pt idx="126">
                  <c:v>0.26500000000000001</c:v>
                </c:pt>
                <c:pt idx="127">
                  <c:v>0.26500000000000001</c:v>
                </c:pt>
                <c:pt idx="128">
                  <c:v>0.26500000000000001</c:v>
                </c:pt>
                <c:pt idx="129">
                  <c:v>0.26500000000000001</c:v>
                </c:pt>
                <c:pt idx="130">
                  <c:v>0.26500000000000001</c:v>
                </c:pt>
                <c:pt idx="131">
                  <c:v>0.26500000000000001</c:v>
                </c:pt>
                <c:pt idx="132">
                  <c:v>0.26500000000000001</c:v>
                </c:pt>
                <c:pt idx="133">
                  <c:v>0.26500000000000001</c:v>
                </c:pt>
                <c:pt idx="134">
                  <c:v>0.26500000000000001</c:v>
                </c:pt>
                <c:pt idx="135">
                  <c:v>0.26500000000000001</c:v>
                </c:pt>
                <c:pt idx="136">
                  <c:v>0.26500000000000001</c:v>
                </c:pt>
                <c:pt idx="137">
                  <c:v>0.26500000000000001</c:v>
                </c:pt>
                <c:pt idx="138">
                  <c:v>0.26500000000000001</c:v>
                </c:pt>
                <c:pt idx="139">
                  <c:v>0.26500000000000001</c:v>
                </c:pt>
                <c:pt idx="140">
                  <c:v>0.26500000000000001</c:v>
                </c:pt>
                <c:pt idx="141">
                  <c:v>0.26500000000000001</c:v>
                </c:pt>
                <c:pt idx="142">
                  <c:v>0.26500000000000001</c:v>
                </c:pt>
                <c:pt idx="143">
                  <c:v>0.26500000000000001</c:v>
                </c:pt>
                <c:pt idx="144">
                  <c:v>0.26500000000000001</c:v>
                </c:pt>
                <c:pt idx="145">
                  <c:v>0.26500000000000001</c:v>
                </c:pt>
                <c:pt idx="146">
                  <c:v>0.26500000000000001</c:v>
                </c:pt>
                <c:pt idx="147">
                  <c:v>0.26500000000000001</c:v>
                </c:pt>
                <c:pt idx="148">
                  <c:v>0.26500000000000001</c:v>
                </c:pt>
                <c:pt idx="149">
                  <c:v>0.26500000000000001</c:v>
                </c:pt>
                <c:pt idx="150">
                  <c:v>0.26500000000000001</c:v>
                </c:pt>
                <c:pt idx="151">
                  <c:v>0.26500000000000001</c:v>
                </c:pt>
                <c:pt idx="152">
                  <c:v>0.26500000000000001</c:v>
                </c:pt>
                <c:pt idx="153">
                  <c:v>0.26500000000000001</c:v>
                </c:pt>
                <c:pt idx="154">
                  <c:v>0.26500000000000001</c:v>
                </c:pt>
                <c:pt idx="155">
                  <c:v>0.26500000000000001</c:v>
                </c:pt>
                <c:pt idx="156">
                  <c:v>0.26500000000000001</c:v>
                </c:pt>
                <c:pt idx="157">
                  <c:v>0.26500000000000001</c:v>
                </c:pt>
                <c:pt idx="158">
                  <c:v>0.26500000000000001</c:v>
                </c:pt>
                <c:pt idx="159">
                  <c:v>0.26500000000000001</c:v>
                </c:pt>
                <c:pt idx="160">
                  <c:v>0.26500000000000001</c:v>
                </c:pt>
                <c:pt idx="161">
                  <c:v>0.26500000000000001</c:v>
                </c:pt>
                <c:pt idx="162">
                  <c:v>0.26500000000000001</c:v>
                </c:pt>
                <c:pt idx="163">
                  <c:v>0.26500000000000001</c:v>
                </c:pt>
                <c:pt idx="164">
                  <c:v>0.26500000000000001</c:v>
                </c:pt>
                <c:pt idx="165">
                  <c:v>0.26500000000000001</c:v>
                </c:pt>
                <c:pt idx="166">
                  <c:v>0.26500000000000001</c:v>
                </c:pt>
                <c:pt idx="167">
                  <c:v>0.26500000000000001</c:v>
                </c:pt>
                <c:pt idx="168">
                  <c:v>0.26500000000000001</c:v>
                </c:pt>
                <c:pt idx="169">
                  <c:v>0.26500000000000001</c:v>
                </c:pt>
                <c:pt idx="170">
                  <c:v>0.26500000000000001</c:v>
                </c:pt>
                <c:pt idx="171">
                  <c:v>0.26500000000000001</c:v>
                </c:pt>
                <c:pt idx="172">
                  <c:v>0.26500000000000001</c:v>
                </c:pt>
                <c:pt idx="173">
                  <c:v>0.26500000000000001</c:v>
                </c:pt>
                <c:pt idx="174">
                  <c:v>0.26500000000000001</c:v>
                </c:pt>
                <c:pt idx="175">
                  <c:v>0.26500000000000001</c:v>
                </c:pt>
                <c:pt idx="176">
                  <c:v>0.26500000000000001</c:v>
                </c:pt>
                <c:pt idx="177">
                  <c:v>0.26500000000000001</c:v>
                </c:pt>
                <c:pt idx="178">
                  <c:v>0.26500000000000001</c:v>
                </c:pt>
                <c:pt idx="179">
                  <c:v>0.26500000000000001</c:v>
                </c:pt>
                <c:pt idx="180">
                  <c:v>0.26500000000000001</c:v>
                </c:pt>
                <c:pt idx="181">
                  <c:v>0.26500000000000001</c:v>
                </c:pt>
                <c:pt idx="182">
                  <c:v>0.26500000000000001</c:v>
                </c:pt>
                <c:pt idx="183">
                  <c:v>0.26500000000000001</c:v>
                </c:pt>
                <c:pt idx="184">
                  <c:v>0.26500000000000001</c:v>
                </c:pt>
                <c:pt idx="185">
                  <c:v>0.26500000000000001</c:v>
                </c:pt>
                <c:pt idx="186">
                  <c:v>0.26500000000000001</c:v>
                </c:pt>
                <c:pt idx="187">
                  <c:v>0.26500000000000001</c:v>
                </c:pt>
                <c:pt idx="188">
                  <c:v>0.26500000000000001</c:v>
                </c:pt>
                <c:pt idx="189">
                  <c:v>0.26500000000000001</c:v>
                </c:pt>
                <c:pt idx="190">
                  <c:v>0.26500000000000001</c:v>
                </c:pt>
                <c:pt idx="191">
                  <c:v>0.26500000000000001</c:v>
                </c:pt>
                <c:pt idx="192">
                  <c:v>0.26500000000000001</c:v>
                </c:pt>
                <c:pt idx="193">
                  <c:v>0.26500000000000001</c:v>
                </c:pt>
                <c:pt idx="194">
                  <c:v>0.26500000000000001</c:v>
                </c:pt>
                <c:pt idx="195">
                  <c:v>0.26500000000000001</c:v>
                </c:pt>
                <c:pt idx="196">
                  <c:v>0.26500000000000001</c:v>
                </c:pt>
                <c:pt idx="197">
                  <c:v>0.26500000000000001</c:v>
                </c:pt>
                <c:pt idx="198">
                  <c:v>0.26500000000000001</c:v>
                </c:pt>
                <c:pt idx="199">
                  <c:v>0.26500000000000001</c:v>
                </c:pt>
                <c:pt idx="200">
                  <c:v>0.26500000000000001</c:v>
                </c:pt>
                <c:pt idx="201">
                  <c:v>0.26500000000000001</c:v>
                </c:pt>
                <c:pt idx="202">
                  <c:v>0.26500000000000001</c:v>
                </c:pt>
                <c:pt idx="203">
                  <c:v>0.26500000000000001</c:v>
                </c:pt>
                <c:pt idx="204">
                  <c:v>0.26500000000000001</c:v>
                </c:pt>
                <c:pt idx="205">
                  <c:v>0.26500000000000001</c:v>
                </c:pt>
                <c:pt idx="206">
                  <c:v>0.26500000000000001</c:v>
                </c:pt>
                <c:pt idx="207">
                  <c:v>0.26500000000000001</c:v>
                </c:pt>
                <c:pt idx="208">
                  <c:v>0.26500000000000001</c:v>
                </c:pt>
                <c:pt idx="209">
                  <c:v>0.26500000000000001</c:v>
                </c:pt>
                <c:pt idx="210">
                  <c:v>0.26500000000000001</c:v>
                </c:pt>
                <c:pt idx="211">
                  <c:v>0.26500000000000001</c:v>
                </c:pt>
                <c:pt idx="212">
                  <c:v>0.26500000000000001</c:v>
                </c:pt>
                <c:pt idx="213">
                  <c:v>0.26500000000000001</c:v>
                </c:pt>
                <c:pt idx="214">
                  <c:v>0.26500000000000001</c:v>
                </c:pt>
                <c:pt idx="215">
                  <c:v>0.26500000000000001</c:v>
                </c:pt>
                <c:pt idx="216">
                  <c:v>0.26500000000000001</c:v>
                </c:pt>
                <c:pt idx="217">
                  <c:v>0.26500000000000001</c:v>
                </c:pt>
                <c:pt idx="218">
                  <c:v>0.26500000000000001</c:v>
                </c:pt>
                <c:pt idx="219">
                  <c:v>0.26500000000000001</c:v>
                </c:pt>
                <c:pt idx="220">
                  <c:v>0.26500000000000001</c:v>
                </c:pt>
                <c:pt idx="221">
                  <c:v>0.26500000000000001</c:v>
                </c:pt>
                <c:pt idx="222">
                  <c:v>0.26500000000000001</c:v>
                </c:pt>
                <c:pt idx="223">
                  <c:v>0.26500000000000001</c:v>
                </c:pt>
                <c:pt idx="224">
                  <c:v>0.26500000000000001</c:v>
                </c:pt>
                <c:pt idx="225">
                  <c:v>0.26500000000000001</c:v>
                </c:pt>
                <c:pt idx="226">
                  <c:v>0.26500000000000001</c:v>
                </c:pt>
                <c:pt idx="227">
                  <c:v>0.26500000000000001</c:v>
                </c:pt>
                <c:pt idx="228">
                  <c:v>0.26500000000000001</c:v>
                </c:pt>
                <c:pt idx="229">
                  <c:v>0.26500000000000001</c:v>
                </c:pt>
                <c:pt idx="230">
                  <c:v>0.26500000000000001</c:v>
                </c:pt>
                <c:pt idx="231">
                  <c:v>0.26500000000000001</c:v>
                </c:pt>
                <c:pt idx="232">
                  <c:v>0.26500000000000001</c:v>
                </c:pt>
                <c:pt idx="233">
                  <c:v>0.26500000000000001</c:v>
                </c:pt>
                <c:pt idx="234">
                  <c:v>0.26500000000000001</c:v>
                </c:pt>
                <c:pt idx="235">
                  <c:v>0.26500000000000001</c:v>
                </c:pt>
                <c:pt idx="236">
                  <c:v>0.26500000000000001</c:v>
                </c:pt>
                <c:pt idx="237">
                  <c:v>0.26500000000000001</c:v>
                </c:pt>
                <c:pt idx="238">
                  <c:v>0.26500000000000001</c:v>
                </c:pt>
                <c:pt idx="239">
                  <c:v>0.26500000000000001</c:v>
                </c:pt>
                <c:pt idx="240">
                  <c:v>0.26500000000000001</c:v>
                </c:pt>
                <c:pt idx="241">
                  <c:v>0.26500000000000001</c:v>
                </c:pt>
                <c:pt idx="242">
                  <c:v>0.26500000000000001</c:v>
                </c:pt>
                <c:pt idx="243">
                  <c:v>0.26500000000000001</c:v>
                </c:pt>
                <c:pt idx="244">
                  <c:v>0.26500000000000001</c:v>
                </c:pt>
                <c:pt idx="245">
                  <c:v>0.26500000000000001</c:v>
                </c:pt>
                <c:pt idx="246">
                  <c:v>0.26500000000000001</c:v>
                </c:pt>
                <c:pt idx="247">
                  <c:v>0.26500000000000001</c:v>
                </c:pt>
                <c:pt idx="248">
                  <c:v>0.26500000000000001</c:v>
                </c:pt>
                <c:pt idx="249">
                  <c:v>0.26500000000000001</c:v>
                </c:pt>
                <c:pt idx="250">
                  <c:v>0.26500000000000001</c:v>
                </c:pt>
                <c:pt idx="251">
                  <c:v>0.26500000000000001</c:v>
                </c:pt>
                <c:pt idx="252">
                  <c:v>0.26500000000000001</c:v>
                </c:pt>
                <c:pt idx="253">
                  <c:v>0.26500000000000001</c:v>
                </c:pt>
                <c:pt idx="254">
                  <c:v>0.26500000000000001</c:v>
                </c:pt>
                <c:pt idx="255">
                  <c:v>0.26500000000000001</c:v>
                </c:pt>
                <c:pt idx="256">
                  <c:v>0.26500000000000001</c:v>
                </c:pt>
                <c:pt idx="257">
                  <c:v>0.26500000000000001</c:v>
                </c:pt>
                <c:pt idx="258">
                  <c:v>0.26500000000000001</c:v>
                </c:pt>
                <c:pt idx="259">
                  <c:v>0.26500000000000001</c:v>
                </c:pt>
                <c:pt idx="260">
                  <c:v>0.26500000000000001</c:v>
                </c:pt>
                <c:pt idx="261">
                  <c:v>0.26500000000000001</c:v>
                </c:pt>
                <c:pt idx="262">
                  <c:v>0.26500000000000001</c:v>
                </c:pt>
                <c:pt idx="263">
                  <c:v>0.26500000000000001</c:v>
                </c:pt>
                <c:pt idx="264">
                  <c:v>0.26500000000000001</c:v>
                </c:pt>
                <c:pt idx="265">
                  <c:v>0.26500000000000001</c:v>
                </c:pt>
                <c:pt idx="266">
                  <c:v>0.26500000000000001</c:v>
                </c:pt>
                <c:pt idx="267">
                  <c:v>0.26500000000000001</c:v>
                </c:pt>
                <c:pt idx="268">
                  <c:v>0.26500000000000001</c:v>
                </c:pt>
                <c:pt idx="269">
                  <c:v>0.26500000000000001</c:v>
                </c:pt>
                <c:pt idx="270">
                  <c:v>0.26500000000000001</c:v>
                </c:pt>
                <c:pt idx="271">
                  <c:v>0.26500000000000001</c:v>
                </c:pt>
                <c:pt idx="272">
                  <c:v>0.26500000000000001</c:v>
                </c:pt>
                <c:pt idx="273">
                  <c:v>0.26500000000000001</c:v>
                </c:pt>
                <c:pt idx="274">
                  <c:v>0.26500000000000001</c:v>
                </c:pt>
                <c:pt idx="275">
                  <c:v>0.26500000000000001</c:v>
                </c:pt>
                <c:pt idx="276">
                  <c:v>0.26500000000000001</c:v>
                </c:pt>
                <c:pt idx="277">
                  <c:v>0.26500000000000001</c:v>
                </c:pt>
                <c:pt idx="278">
                  <c:v>0.26500000000000001</c:v>
                </c:pt>
                <c:pt idx="279">
                  <c:v>0.26500000000000001</c:v>
                </c:pt>
                <c:pt idx="280">
                  <c:v>0.26500000000000001</c:v>
                </c:pt>
                <c:pt idx="281">
                  <c:v>0.26500000000000001</c:v>
                </c:pt>
                <c:pt idx="282">
                  <c:v>0.26500000000000001</c:v>
                </c:pt>
                <c:pt idx="283">
                  <c:v>0.26500000000000001</c:v>
                </c:pt>
                <c:pt idx="284">
                  <c:v>0.26500000000000001</c:v>
                </c:pt>
                <c:pt idx="285">
                  <c:v>0.26500000000000001</c:v>
                </c:pt>
                <c:pt idx="286">
                  <c:v>0.26500000000000001</c:v>
                </c:pt>
                <c:pt idx="287">
                  <c:v>0.26500000000000001</c:v>
                </c:pt>
                <c:pt idx="288">
                  <c:v>0.26500000000000001</c:v>
                </c:pt>
                <c:pt idx="289">
                  <c:v>0.26500000000000001</c:v>
                </c:pt>
                <c:pt idx="290">
                  <c:v>0.26500000000000001</c:v>
                </c:pt>
                <c:pt idx="291">
                  <c:v>0.26500000000000001</c:v>
                </c:pt>
                <c:pt idx="292">
                  <c:v>0.26500000000000001</c:v>
                </c:pt>
                <c:pt idx="293">
                  <c:v>0.26500000000000001</c:v>
                </c:pt>
                <c:pt idx="294">
                  <c:v>0.26500000000000001</c:v>
                </c:pt>
                <c:pt idx="295">
                  <c:v>0.26500000000000001</c:v>
                </c:pt>
                <c:pt idx="296">
                  <c:v>0.26500000000000001</c:v>
                </c:pt>
                <c:pt idx="297">
                  <c:v>0.26500000000000001</c:v>
                </c:pt>
                <c:pt idx="298">
                  <c:v>0.26500000000000001</c:v>
                </c:pt>
                <c:pt idx="299">
                  <c:v>0.26500000000000001</c:v>
                </c:pt>
                <c:pt idx="300">
                  <c:v>0.26500000000000001</c:v>
                </c:pt>
                <c:pt idx="301">
                  <c:v>0.26500000000000001</c:v>
                </c:pt>
                <c:pt idx="302">
                  <c:v>0.26500000000000001</c:v>
                </c:pt>
                <c:pt idx="303">
                  <c:v>0.26500000000000001</c:v>
                </c:pt>
                <c:pt idx="304">
                  <c:v>0.26500000000000001</c:v>
                </c:pt>
                <c:pt idx="305">
                  <c:v>0.32</c:v>
                </c:pt>
                <c:pt idx="306">
                  <c:v>0.32</c:v>
                </c:pt>
                <c:pt idx="307">
                  <c:v>0.32</c:v>
                </c:pt>
                <c:pt idx="308">
                  <c:v>0.32</c:v>
                </c:pt>
                <c:pt idx="309">
                  <c:v>0.32</c:v>
                </c:pt>
                <c:pt idx="310">
                  <c:v>0.32</c:v>
                </c:pt>
                <c:pt idx="311">
                  <c:v>0.32</c:v>
                </c:pt>
                <c:pt idx="312">
                  <c:v>0.32</c:v>
                </c:pt>
                <c:pt idx="313">
                  <c:v>0.32</c:v>
                </c:pt>
                <c:pt idx="314">
                  <c:v>0.32</c:v>
                </c:pt>
                <c:pt idx="315">
                  <c:v>0.32</c:v>
                </c:pt>
                <c:pt idx="316">
                  <c:v>0.32</c:v>
                </c:pt>
                <c:pt idx="317">
                  <c:v>0.32</c:v>
                </c:pt>
                <c:pt idx="318">
                  <c:v>0.32</c:v>
                </c:pt>
                <c:pt idx="319">
                  <c:v>0.32</c:v>
                </c:pt>
                <c:pt idx="320">
                  <c:v>0.32</c:v>
                </c:pt>
                <c:pt idx="321">
                  <c:v>0.32</c:v>
                </c:pt>
                <c:pt idx="322">
                  <c:v>0.32</c:v>
                </c:pt>
                <c:pt idx="323">
                  <c:v>0.32</c:v>
                </c:pt>
                <c:pt idx="324">
                  <c:v>0.32</c:v>
                </c:pt>
                <c:pt idx="325">
                  <c:v>0.32</c:v>
                </c:pt>
                <c:pt idx="326">
                  <c:v>0.32</c:v>
                </c:pt>
                <c:pt idx="327">
                  <c:v>0.32</c:v>
                </c:pt>
                <c:pt idx="328">
                  <c:v>0.32</c:v>
                </c:pt>
                <c:pt idx="329">
                  <c:v>0.32</c:v>
                </c:pt>
                <c:pt idx="330">
                  <c:v>0.32</c:v>
                </c:pt>
                <c:pt idx="331">
                  <c:v>0.32</c:v>
                </c:pt>
                <c:pt idx="332">
                  <c:v>0.32</c:v>
                </c:pt>
                <c:pt idx="333">
                  <c:v>0.32</c:v>
                </c:pt>
                <c:pt idx="334">
                  <c:v>0.32</c:v>
                </c:pt>
                <c:pt idx="335">
                  <c:v>0.32</c:v>
                </c:pt>
                <c:pt idx="336">
                  <c:v>0.32</c:v>
                </c:pt>
                <c:pt idx="337">
                  <c:v>0.32</c:v>
                </c:pt>
                <c:pt idx="338">
                  <c:v>0.32</c:v>
                </c:pt>
                <c:pt idx="339">
                  <c:v>0.32</c:v>
                </c:pt>
                <c:pt idx="340">
                  <c:v>0.32</c:v>
                </c:pt>
                <c:pt idx="341">
                  <c:v>0.32</c:v>
                </c:pt>
                <c:pt idx="342">
                  <c:v>0.32</c:v>
                </c:pt>
                <c:pt idx="343">
                  <c:v>0.32</c:v>
                </c:pt>
                <c:pt idx="344">
                  <c:v>0.32</c:v>
                </c:pt>
                <c:pt idx="345">
                  <c:v>0.32</c:v>
                </c:pt>
                <c:pt idx="346">
                  <c:v>0.32</c:v>
                </c:pt>
                <c:pt idx="347">
                  <c:v>0.32</c:v>
                </c:pt>
                <c:pt idx="348">
                  <c:v>0.32</c:v>
                </c:pt>
                <c:pt idx="349">
                  <c:v>0.32</c:v>
                </c:pt>
                <c:pt idx="350">
                  <c:v>0.32</c:v>
                </c:pt>
                <c:pt idx="351">
                  <c:v>0.32</c:v>
                </c:pt>
                <c:pt idx="352">
                  <c:v>0.32</c:v>
                </c:pt>
                <c:pt idx="353">
                  <c:v>0.32</c:v>
                </c:pt>
                <c:pt idx="354">
                  <c:v>0.32</c:v>
                </c:pt>
                <c:pt idx="355">
                  <c:v>0.32</c:v>
                </c:pt>
                <c:pt idx="356">
                  <c:v>0.32</c:v>
                </c:pt>
                <c:pt idx="357">
                  <c:v>0.32</c:v>
                </c:pt>
                <c:pt idx="358">
                  <c:v>0.32</c:v>
                </c:pt>
                <c:pt idx="359">
                  <c:v>0.32</c:v>
                </c:pt>
                <c:pt idx="360">
                  <c:v>0.32</c:v>
                </c:pt>
                <c:pt idx="361">
                  <c:v>0.32</c:v>
                </c:pt>
                <c:pt idx="362">
                  <c:v>0.32</c:v>
                </c:pt>
                <c:pt idx="363">
                  <c:v>0.32</c:v>
                </c:pt>
                <c:pt idx="364">
                  <c:v>0.32</c:v>
                </c:pt>
                <c:pt idx="365">
                  <c:v>0.32</c:v>
                </c:pt>
              </c:numCache>
            </c:numRef>
          </c:val>
          <c:smooth val="0"/>
          <c:extLst>
            <c:ext xmlns:c16="http://schemas.microsoft.com/office/drawing/2014/chart" uri="{C3380CC4-5D6E-409C-BE32-E72D297353CC}">
              <c16:uniqueId val="{00000001-0D42-4F1F-8927-9002649D2FFF}"/>
            </c:ext>
          </c:extLst>
        </c:ser>
        <c:ser>
          <c:idx val="2"/>
          <c:order val="2"/>
          <c:tx>
            <c:strRef>
              <c:f>主流省份电价!$CP$5</c:f>
              <c:strCache>
                <c:ptCount val="1"/>
                <c:pt idx="0">
                  <c:v>2022</c:v>
                </c:pt>
              </c:strCache>
            </c:strRef>
          </c:tx>
          <c:spPr>
            <a:ln w="19050" cap="rnd">
              <a:solidFill>
                <a:srgbClr val="7F7F7F">
                  <a:alpha val="60000"/>
                </a:srgbClr>
              </a:solidFill>
              <a:round/>
            </a:ln>
            <a:effectLst/>
          </c:spPr>
          <c:marker>
            <c:symbol val="none"/>
          </c:marker>
          <c:cat>
            <c:strRef>
              <c:f>主流省份电价!$CK$6:$CK$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CP$6:$CP$371</c:f>
              <c:numCache>
                <c:formatCode>#,##0.00_);[Red]\(#,##0.00\)</c:formatCode>
                <c:ptCount val="366"/>
                <c:pt idx="0">
                  <c:v>0.32</c:v>
                </c:pt>
                <c:pt idx="1">
                  <c:v>0.32</c:v>
                </c:pt>
                <c:pt idx="2">
                  <c:v>0.32</c:v>
                </c:pt>
                <c:pt idx="3">
                  <c:v>0.32</c:v>
                </c:pt>
                <c:pt idx="4">
                  <c:v>0.32</c:v>
                </c:pt>
                <c:pt idx="5">
                  <c:v>0.32</c:v>
                </c:pt>
                <c:pt idx="6">
                  <c:v>0.32</c:v>
                </c:pt>
                <c:pt idx="7">
                  <c:v>0.32</c:v>
                </c:pt>
                <c:pt idx="8">
                  <c:v>0.32</c:v>
                </c:pt>
                <c:pt idx="9">
                  <c:v>0.32</c:v>
                </c:pt>
                <c:pt idx="10">
                  <c:v>0.32</c:v>
                </c:pt>
                <c:pt idx="11">
                  <c:v>0.32</c:v>
                </c:pt>
                <c:pt idx="12">
                  <c:v>0.32</c:v>
                </c:pt>
                <c:pt idx="13">
                  <c:v>0.32</c:v>
                </c:pt>
                <c:pt idx="14">
                  <c:v>0.32</c:v>
                </c:pt>
                <c:pt idx="15">
                  <c:v>0.32</c:v>
                </c:pt>
                <c:pt idx="16">
                  <c:v>0.32</c:v>
                </c:pt>
                <c:pt idx="17">
                  <c:v>0.32</c:v>
                </c:pt>
                <c:pt idx="18">
                  <c:v>0.32</c:v>
                </c:pt>
                <c:pt idx="19">
                  <c:v>0.32</c:v>
                </c:pt>
                <c:pt idx="20">
                  <c:v>0.32</c:v>
                </c:pt>
                <c:pt idx="21">
                  <c:v>0.32</c:v>
                </c:pt>
                <c:pt idx="22">
                  <c:v>0.32</c:v>
                </c:pt>
                <c:pt idx="23">
                  <c:v>0.32</c:v>
                </c:pt>
                <c:pt idx="24">
                  <c:v>0.32</c:v>
                </c:pt>
                <c:pt idx="25">
                  <c:v>0.32</c:v>
                </c:pt>
                <c:pt idx="26">
                  <c:v>0.32</c:v>
                </c:pt>
                <c:pt idx="27">
                  <c:v>0.32</c:v>
                </c:pt>
                <c:pt idx="28">
                  <c:v>0.32</c:v>
                </c:pt>
                <c:pt idx="29">
                  <c:v>0.32</c:v>
                </c:pt>
                <c:pt idx="30">
                  <c:v>0.32</c:v>
                </c:pt>
                <c:pt idx="31">
                  <c:v>0.32</c:v>
                </c:pt>
                <c:pt idx="32">
                  <c:v>0.32</c:v>
                </c:pt>
                <c:pt idx="33">
                  <c:v>0.32</c:v>
                </c:pt>
                <c:pt idx="34">
                  <c:v>0.32</c:v>
                </c:pt>
                <c:pt idx="35">
                  <c:v>0.32</c:v>
                </c:pt>
                <c:pt idx="36">
                  <c:v>0.32</c:v>
                </c:pt>
                <c:pt idx="37">
                  <c:v>0.32</c:v>
                </c:pt>
                <c:pt idx="38">
                  <c:v>0.32</c:v>
                </c:pt>
                <c:pt idx="39">
                  <c:v>0.32</c:v>
                </c:pt>
                <c:pt idx="40">
                  <c:v>0.32</c:v>
                </c:pt>
                <c:pt idx="41">
                  <c:v>0.32</c:v>
                </c:pt>
                <c:pt idx="42">
                  <c:v>0.32</c:v>
                </c:pt>
                <c:pt idx="43">
                  <c:v>0.32</c:v>
                </c:pt>
                <c:pt idx="44">
                  <c:v>0.32</c:v>
                </c:pt>
                <c:pt idx="45">
                  <c:v>0.32</c:v>
                </c:pt>
                <c:pt idx="46">
                  <c:v>0.32</c:v>
                </c:pt>
                <c:pt idx="47">
                  <c:v>0.32</c:v>
                </c:pt>
                <c:pt idx="48">
                  <c:v>0.32</c:v>
                </c:pt>
                <c:pt idx="49">
                  <c:v>0.32</c:v>
                </c:pt>
                <c:pt idx="50">
                  <c:v>0.32</c:v>
                </c:pt>
                <c:pt idx="51">
                  <c:v>0.32</c:v>
                </c:pt>
                <c:pt idx="52">
                  <c:v>0.32</c:v>
                </c:pt>
                <c:pt idx="53">
                  <c:v>0.32</c:v>
                </c:pt>
                <c:pt idx="54">
                  <c:v>0.32</c:v>
                </c:pt>
                <c:pt idx="55">
                  <c:v>0.32</c:v>
                </c:pt>
                <c:pt idx="56">
                  <c:v>0.32</c:v>
                </c:pt>
                <c:pt idx="57">
                  <c:v>0.32</c:v>
                </c:pt>
                <c:pt idx="58">
                  <c:v>0.32</c:v>
                </c:pt>
                <c:pt idx="60">
                  <c:v>0.32</c:v>
                </c:pt>
                <c:pt idx="61">
                  <c:v>0.32</c:v>
                </c:pt>
                <c:pt idx="62">
                  <c:v>0.32</c:v>
                </c:pt>
                <c:pt idx="63">
                  <c:v>0.32</c:v>
                </c:pt>
                <c:pt idx="64">
                  <c:v>0.32</c:v>
                </c:pt>
                <c:pt idx="65">
                  <c:v>0.32</c:v>
                </c:pt>
                <c:pt idx="66">
                  <c:v>0.32</c:v>
                </c:pt>
                <c:pt idx="67">
                  <c:v>0.32</c:v>
                </c:pt>
                <c:pt idx="68">
                  <c:v>0.32</c:v>
                </c:pt>
                <c:pt idx="69">
                  <c:v>0.32</c:v>
                </c:pt>
                <c:pt idx="70">
                  <c:v>0.32</c:v>
                </c:pt>
                <c:pt idx="71">
                  <c:v>0.32</c:v>
                </c:pt>
                <c:pt idx="72">
                  <c:v>0.32</c:v>
                </c:pt>
                <c:pt idx="73">
                  <c:v>0.32</c:v>
                </c:pt>
                <c:pt idx="74">
                  <c:v>0.32</c:v>
                </c:pt>
                <c:pt idx="75">
                  <c:v>0.32</c:v>
                </c:pt>
                <c:pt idx="76">
                  <c:v>0.32</c:v>
                </c:pt>
                <c:pt idx="77">
                  <c:v>0.32</c:v>
                </c:pt>
                <c:pt idx="78">
                  <c:v>0.32</c:v>
                </c:pt>
                <c:pt idx="79">
                  <c:v>0.32</c:v>
                </c:pt>
                <c:pt idx="80">
                  <c:v>0.32</c:v>
                </c:pt>
                <c:pt idx="81">
                  <c:v>0.32</c:v>
                </c:pt>
                <c:pt idx="82">
                  <c:v>0.32</c:v>
                </c:pt>
                <c:pt idx="83">
                  <c:v>0.32</c:v>
                </c:pt>
                <c:pt idx="84">
                  <c:v>0.32</c:v>
                </c:pt>
                <c:pt idx="85">
                  <c:v>0.32</c:v>
                </c:pt>
                <c:pt idx="86">
                  <c:v>0.32</c:v>
                </c:pt>
                <c:pt idx="87">
                  <c:v>0.32</c:v>
                </c:pt>
                <c:pt idx="88">
                  <c:v>0.32</c:v>
                </c:pt>
                <c:pt idx="89">
                  <c:v>0.32</c:v>
                </c:pt>
                <c:pt idx="90">
                  <c:v>0.32</c:v>
                </c:pt>
                <c:pt idx="91">
                  <c:v>0.32</c:v>
                </c:pt>
                <c:pt idx="92">
                  <c:v>0.32</c:v>
                </c:pt>
                <c:pt idx="93">
                  <c:v>0.32</c:v>
                </c:pt>
                <c:pt idx="94">
                  <c:v>0.32</c:v>
                </c:pt>
                <c:pt idx="95">
                  <c:v>0.32</c:v>
                </c:pt>
                <c:pt idx="96">
                  <c:v>0.32</c:v>
                </c:pt>
                <c:pt idx="97">
                  <c:v>0.32</c:v>
                </c:pt>
                <c:pt idx="98">
                  <c:v>0.32</c:v>
                </c:pt>
                <c:pt idx="99">
                  <c:v>0.32</c:v>
                </c:pt>
                <c:pt idx="100">
                  <c:v>0.32</c:v>
                </c:pt>
                <c:pt idx="101">
                  <c:v>0.32</c:v>
                </c:pt>
                <c:pt idx="102">
                  <c:v>0.32</c:v>
                </c:pt>
                <c:pt idx="103">
                  <c:v>0.32</c:v>
                </c:pt>
                <c:pt idx="104">
                  <c:v>0.32</c:v>
                </c:pt>
                <c:pt idx="105">
                  <c:v>0.32</c:v>
                </c:pt>
                <c:pt idx="106">
                  <c:v>0.32</c:v>
                </c:pt>
                <c:pt idx="107">
                  <c:v>0.32</c:v>
                </c:pt>
                <c:pt idx="108">
                  <c:v>0.32</c:v>
                </c:pt>
                <c:pt idx="109">
                  <c:v>0.32</c:v>
                </c:pt>
                <c:pt idx="110">
                  <c:v>0.32</c:v>
                </c:pt>
                <c:pt idx="111">
                  <c:v>0.32</c:v>
                </c:pt>
                <c:pt idx="112">
                  <c:v>0.32</c:v>
                </c:pt>
                <c:pt idx="113">
                  <c:v>0.32</c:v>
                </c:pt>
                <c:pt idx="114">
                  <c:v>0.32</c:v>
                </c:pt>
                <c:pt idx="115">
                  <c:v>0.32</c:v>
                </c:pt>
                <c:pt idx="116">
                  <c:v>0.32</c:v>
                </c:pt>
                <c:pt idx="117">
                  <c:v>0.32</c:v>
                </c:pt>
                <c:pt idx="118">
                  <c:v>0.32</c:v>
                </c:pt>
                <c:pt idx="119">
                  <c:v>0.32</c:v>
                </c:pt>
                <c:pt idx="120">
                  <c:v>0.32</c:v>
                </c:pt>
                <c:pt idx="121">
                  <c:v>0.32</c:v>
                </c:pt>
                <c:pt idx="122">
                  <c:v>0.32</c:v>
                </c:pt>
                <c:pt idx="123">
                  <c:v>0.32</c:v>
                </c:pt>
                <c:pt idx="124">
                  <c:v>0.32</c:v>
                </c:pt>
                <c:pt idx="125">
                  <c:v>0.32</c:v>
                </c:pt>
                <c:pt idx="126">
                  <c:v>0.32</c:v>
                </c:pt>
                <c:pt idx="127">
                  <c:v>0.32</c:v>
                </c:pt>
                <c:pt idx="128">
                  <c:v>0.32</c:v>
                </c:pt>
                <c:pt idx="129">
                  <c:v>0.32</c:v>
                </c:pt>
                <c:pt idx="130">
                  <c:v>0.32</c:v>
                </c:pt>
                <c:pt idx="131">
                  <c:v>0.32</c:v>
                </c:pt>
                <c:pt idx="132">
                  <c:v>0.32</c:v>
                </c:pt>
                <c:pt idx="133">
                  <c:v>0.32</c:v>
                </c:pt>
                <c:pt idx="134">
                  <c:v>0.32</c:v>
                </c:pt>
                <c:pt idx="135">
                  <c:v>0.32</c:v>
                </c:pt>
                <c:pt idx="136">
                  <c:v>0.32</c:v>
                </c:pt>
                <c:pt idx="137">
                  <c:v>0.32</c:v>
                </c:pt>
                <c:pt idx="138">
                  <c:v>0.32</c:v>
                </c:pt>
                <c:pt idx="139">
                  <c:v>0.32</c:v>
                </c:pt>
                <c:pt idx="140">
                  <c:v>0.32</c:v>
                </c:pt>
                <c:pt idx="141">
                  <c:v>0.32</c:v>
                </c:pt>
                <c:pt idx="142">
                  <c:v>0.32</c:v>
                </c:pt>
                <c:pt idx="143">
                  <c:v>0.32</c:v>
                </c:pt>
                <c:pt idx="144">
                  <c:v>0.32</c:v>
                </c:pt>
                <c:pt idx="145">
                  <c:v>0.32</c:v>
                </c:pt>
                <c:pt idx="146">
                  <c:v>0.32</c:v>
                </c:pt>
                <c:pt idx="147">
                  <c:v>0.32</c:v>
                </c:pt>
                <c:pt idx="148">
                  <c:v>0.32</c:v>
                </c:pt>
                <c:pt idx="149">
                  <c:v>0.32</c:v>
                </c:pt>
                <c:pt idx="150">
                  <c:v>0.32</c:v>
                </c:pt>
                <c:pt idx="151">
                  <c:v>0.32</c:v>
                </c:pt>
                <c:pt idx="152">
                  <c:v>0.32</c:v>
                </c:pt>
                <c:pt idx="153">
                  <c:v>0.32</c:v>
                </c:pt>
                <c:pt idx="154">
                  <c:v>0.32</c:v>
                </c:pt>
                <c:pt idx="155">
                  <c:v>0.32</c:v>
                </c:pt>
                <c:pt idx="156">
                  <c:v>0.32</c:v>
                </c:pt>
                <c:pt idx="157">
                  <c:v>0.32</c:v>
                </c:pt>
                <c:pt idx="158">
                  <c:v>0.32</c:v>
                </c:pt>
                <c:pt idx="159">
                  <c:v>0.32</c:v>
                </c:pt>
                <c:pt idx="160">
                  <c:v>0.32</c:v>
                </c:pt>
                <c:pt idx="161">
                  <c:v>0.32</c:v>
                </c:pt>
                <c:pt idx="162">
                  <c:v>0.32</c:v>
                </c:pt>
                <c:pt idx="163">
                  <c:v>0.32</c:v>
                </c:pt>
                <c:pt idx="164">
                  <c:v>0.32</c:v>
                </c:pt>
                <c:pt idx="165">
                  <c:v>0.32</c:v>
                </c:pt>
                <c:pt idx="166">
                  <c:v>0.32</c:v>
                </c:pt>
                <c:pt idx="167">
                  <c:v>0.32</c:v>
                </c:pt>
                <c:pt idx="168">
                  <c:v>0.32</c:v>
                </c:pt>
                <c:pt idx="169">
                  <c:v>0.32</c:v>
                </c:pt>
                <c:pt idx="170">
                  <c:v>0.32</c:v>
                </c:pt>
                <c:pt idx="171">
                  <c:v>0.32</c:v>
                </c:pt>
                <c:pt idx="172">
                  <c:v>0.32</c:v>
                </c:pt>
                <c:pt idx="173">
                  <c:v>0.32</c:v>
                </c:pt>
                <c:pt idx="174">
                  <c:v>0.32</c:v>
                </c:pt>
                <c:pt idx="175">
                  <c:v>0.32</c:v>
                </c:pt>
                <c:pt idx="176">
                  <c:v>0.32</c:v>
                </c:pt>
                <c:pt idx="177">
                  <c:v>0.32</c:v>
                </c:pt>
                <c:pt idx="178">
                  <c:v>0.32</c:v>
                </c:pt>
                <c:pt idx="179">
                  <c:v>0.32</c:v>
                </c:pt>
                <c:pt idx="180">
                  <c:v>0.32</c:v>
                </c:pt>
                <c:pt idx="181">
                  <c:v>0.32</c:v>
                </c:pt>
                <c:pt idx="182">
                  <c:v>0.32</c:v>
                </c:pt>
                <c:pt idx="183">
                  <c:v>0.32</c:v>
                </c:pt>
                <c:pt idx="184">
                  <c:v>0.32</c:v>
                </c:pt>
                <c:pt idx="185">
                  <c:v>0.32</c:v>
                </c:pt>
                <c:pt idx="186">
                  <c:v>0.32</c:v>
                </c:pt>
                <c:pt idx="187">
                  <c:v>0.32</c:v>
                </c:pt>
                <c:pt idx="188">
                  <c:v>0.32</c:v>
                </c:pt>
                <c:pt idx="189">
                  <c:v>0.32</c:v>
                </c:pt>
                <c:pt idx="190">
                  <c:v>0.32</c:v>
                </c:pt>
                <c:pt idx="191">
                  <c:v>0.32</c:v>
                </c:pt>
                <c:pt idx="192">
                  <c:v>0.32</c:v>
                </c:pt>
                <c:pt idx="193">
                  <c:v>0.32</c:v>
                </c:pt>
                <c:pt idx="194">
                  <c:v>0.32</c:v>
                </c:pt>
                <c:pt idx="195">
                  <c:v>0.32</c:v>
                </c:pt>
                <c:pt idx="196">
                  <c:v>0.32</c:v>
                </c:pt>
                <c:pt idx="197">
                  <c:v>0.32</c:v>
                </c:pt>
                <c:pt idx="198">
                  <c:v>0.32</c:v>
                </c:pt>
                <c:pt idx="199">
                  <c:v>0.32</c:v>
                </c:pt>
                <c:pt idx="200">
                  <c:v>0.32</c:v>
                </c:pt>
                <c:pt idx="201">
                  <c:v>0.32</c:v>
                </c:pt>
                <c:pt idx="202">
                  <c:v>0.32</c:v>
                </c:pt>
                <c:pt idx="203">
                  <c:v>0.32</c:v>
                </c:pt>
                <c:pt idx="204">
                  <c:v>0.32</c:v>
                </c:pt>
                <c:pt idx="205">
                  <c:v>0.32</c:v>
                </c:pt>
                <c:pt idx="206">
                  <c:v>0.32</c:v>
                </c:pt>
                <c:pt idx="207">
                  <c:v>0.32</c:v>
                </c:pt>
                <c:pt idx="208">
                  <c:v>0.32</c:v>
                </c:pt>
                <c:pt idx="209">
                  <c:v>0.34</c:v>
                </c:pt>
                <c:pt idx="210">
                  <c:v>0.34</c:v>
                </c:pt>
                <c:pt idx="211">
                  <c:v>0.34</c:v>
                </c:pt>
                <c:pt idx="212">
                  <c:v>0.34</c:v>
                </c:pt>
                <c:pt idx="213">
                  <c:v>0.34</c:v>
                </c:pt>
                <c:pt idx="214">
                  <c:v>0.34</c:v>
                </c:pt>
                <c:pt idx="215">
                  <c:v>0.34</c:v>
                </c:pt>
                <c:pt idx="216">
                  <c:v>0.34</c:v>
                </c:pt>
                <c:pt idx="217">
                  <c:v>0.34</c:v>
                </c:pt>
                <c:pt idx="218">
                  <c:v>0.34</c:v>
                </c:pt>
                <c:pt idx="219">
                  <c:v>0.34</c:v>
                </c:pt>
                <c:pt idx="220">
                  <c:v>0.34</c:v>
                </c:pt>
                <c:pt idx="221">
                  <c:v>0.34</c:v>
                </c:pt>
                <c:pt idx="222">
                  <c:v>0.34</c:v>
                </c:pt>
                <c:pt idx="223">
                  <c:v>0.34</c:v>
                </c:pt>
                <c:pt idx="224">
                  <c:v>0.34</c:v>
                </c:pt>
                <c:pt idx="225">
                  <c:v>0.34</c:v>
                </c:pt>
                <c:pt idx="226">
                  <c:v>0.34</c:v>
                </c:pt>
                <c:pt idx="227">
                  <c:v>0.34</c:v>
                </c:pt>
                <c:pt idx="228">
                  <c:v>0.34</c:v>
                </c:pt>
                <c:pt idx="229">
                  <c:v>0.34</c:v>
                </c:pt>
                <c:pt idx="230">
                  <c:v>0.34</c:v>
                </c:pt>
                <c:pt idx="231">
                  <c:v>0.34</c:v>
                </c:pt>
                <c:pt idx="232">
                  <c:v>0.34</c:v>
                </c:pt>
                <c:pt idx="233">
                  <c:v>0.34</c:v>
                </c:pt>
                <c:pt idx="234">
                  <c:v>0.34</c:v>
                </c:pt>
                <c:pt idx="235">
                  <c:v>0.34</c:v>
                </c:pt>
                <c:pt idx="236">
                  <c:v>0.34</c:v>
                </c:pt>
                <c:pt idx="237">
                  <c:v>0.34</c:v>
                </c:pt>
                <c:pt idx="238">
                  <c:v>0.34</c:v>
                </c:pt>
                <c:pt idx="239">
                  <c:v>0.34</c:v>
                </c:pt>
                <c:pt idx="240">
                  <c:v>0.34</c:v>
                </c:pt>
                <c:pt idx="241">
                  <c:v>0.34</c:v>
                </c:pt>
                <c:pt idx="242">
                  <c:v>0.34</c:v>
                </c:pt>
                <c:pt idx="243">
                  <c:v>0.34</c:v>
                </c:pt>
                <c:pt idx="244">
                  <c:v>0.34</c:v>
                </c:pt>
                <c:pt idx="245">
                  <c:v>0.34</c:v>
                </c:pt>
                <c:pt idx="246">
                  <c:v>0.34</c:v>
                </c:pt>
                <c:pt idx="247">
                  <c:v>0.34</c:v>
                </c:pt>
                <c:pt idx="248">
                  <c:v>0.34</c:v>
                </c:pt>
                <c:pt idx="249">
                  <c:v>0.34</c:v>
                </c:pt>
                <c:pt idx="250">
                  <c:v>0.34</c:v>
                </c:pt>
                <c:pt idx="251">
                  <c:v>0.34</c:v>
                </c:pt>
                <c:pt idx="252">
                  <c:v>0.34</c:v>
                </c:pt>
                <c:pt idx="253">
                  <c:v>0.34</c:v>
                </c:pt>
                <c:pt idx="254">
                  <c:v>0.34</c:v>
                </c:pt>
                <c:pt idx="255">
                  <c:v>0.34</c:v>
                </c:pt>
                <c:pt idx="256">
                  <c:v>0.34</c:v>
                </c:pt>
                <c:pt idx="257">
                  <c:v>0.34</c:v>
                </c:pt>
                <c:pt idx="258">
                  <c:v>0.34</c:v>
                </c:pt>
                <c:pt idx="259">
                  <c:v>0.34</c:v>
                </c:pt>
                <c:pt idx="260">
                  <c:v>0.34</c:v>
                </c:pt>
                <c:pt idx="261">
                  <c:v>0.34</c:v>
                </c:pt>
                <c:pt idx="262">
                  <c:v>0.34</c:v>
                </c:pt>
                <c:pt idx="263">
                  <c:v>0.34</c:v>
                </c:pt>
                <c:pt idx="264">
                  <c:v>0.34</c:v>
                </c:pt>
                <c:pt idx="265">
                  <c:v>0.34</c:v>
                </c:pt>
                <c:pt idx="266">
                  <c:v>0.34</c:v>
                </c:pt>
                <c:pt idx="267">
                  <c:v>0.34</c:v>
                </c:pt>
                <c:pt idx="268">
                  <c:v>0.34</c:v>
                </c:pt>
                <c:pt idx="269">
                  <c:v>0.34</c:v>
                </c:pt>
                <c:pt idx="270">
                  <c:v>0.34</c:v>
                </c:pt>
                <c:pt idx="271">
                  <c:v>0.34</c:v>
                </c:pt>
                <c:pt idx="272">
                  <c:v>0.34</c:v>
                </c:pt>
                <c:pt idx="273">
                  <c:v>0.34</c:v>
                </c:pt>
                <c:pt idx="274">
                  <c:v>0.34</c:v>
                </c:pt>
                <c:pt idx="275">
                  <c:v>0.34</c:v>
                </c:pt>
                <c:pt idx="276">
                  <c:v>0.34</c:v>
                </c:pt>
                <c:pt idx="277">
                  <c:v>0.34</c:v>
                </c:pt>
                <c:pt idx="278">
                  <c:v>0.34</c:v>
                </c:pt>
                <c:pt idx="279">
                  <c:v>0.34</c:v>
                </c:pt>
                <c:pt idx="280">
                  <c:v>0.34</c:v>
                </c:pt>
                <c:pt idx="281">
                  <c:v>0.34</c:v>
                </c:pt>
                <c:pt idx="282">
                  <c:v>0.34</c:v>
                </c:pt>
                <c:pt idx="283">
                  <c:v>0.34</c:v>
                </c:pt>
                <c:pt idx="284">
                  <c:v>0.34</c:v>
                </c:pt>
                <c:pt idx="285">
                  <c:v>0.34</c:v>
                </c:pt>
                <c:pt idx="286">
                  <c:v>0.34</c:v>
                </c:pt>
                <c:pt idx="287">
                  <c:v>0.34</c:v>
                </c:pt>
                <c:pt idx="288">
                  <c:v>0.34</c:v>
                </c:pt>
                <c:pt idx="289">
                  <c:v>0.34</c:v>
                </c:pt>
                <c:pt idx="290">
                  <c:v>0.34</c:v>
                </c:pt>
                <c:pt idx="291">
                  <c:v>0.34</c:v>
                </c:pt>
                <c:pt idx="292">
                  <c:v>0.34</c:v>
                </c:pt>
                <c:pt idx="293">
                  <c:v>0.34</c:v>
                </c:pt>
                <c:pt idx="294">
                  <c:v>0.34</c:v>
                </c:pt>
                <c:pt idx="295">
                  <c:v>0.34</c:v>
                </c:pt>
                <c:pt idx="296">
                  <c:v>0.34</c:v>
                </c:pt>
                <c:pt idx="297">
                  <c:v>0.34</c:v>
                </c:pt>
                <c:pt idx="298">
                  <c:v>0.34</c:v>
                </c:pt>
                <c:pt idx="299">
                  <c:v>0.34</c:v>
                </c:pt>
                <c:pt idx="300">
                  <c:v>0.34</c:v>
                </c:pt>
                <c:pt idx="301">
                  <c:v>0.34</c:v>
                </c:pt>
                <c:pt idx="302">
                  <c:v>0.34</c:v>
                </c:pt>
                <c:pt idx="303">
                  <c:v>0.34</c:v>
                </c:pt>
                <c:pt idx="304">
                  <c:v>0.34</c:v>
                </c:pt>
                <c:pt idx="305">
                  <c:v>0.34</c:v>
                </c:pt>
                <c:pt idx="306">
                  <c:v>0.34</c:v>
                </c:pt>
                <c:pt idx="307">
                  <c:v>0.34</c:v>
                </c:pt>
                <c:pt idx="308">
                  <c:v>0.34</c:v>
                </c:pt>
                <c:pt idx="309">
                  <c:v>0.34</c:v>
                </c:pt>
                <c:pt idx="310">
                  <c:v>0.34</c:v>
                </c:pt>
                <c:pt idx="311">
                  <c:v>0.34</c:v>
                </c:pt>
                <c:pt idx="312">
                  <c:v>0.34</c:v>
                </c:pt>
                <c:pt idx="313">
                  <c:v>0.34</c:v>
                </c:pt>
                <c:pt idx="314">
                  <c:v>0.34</c:v>
                </c:pt>
                <c:pt idx="315">
                  <c:v>0.34</c:v>
                </c:pt>
                <c:pt idx="316">
                  <c:v>0.34</c:v>
                </c:pt>
                <c:pt idx="317">
                  <c:v>0.34</c:v>
                </c:pt>
                <c:pt idx="318">
                  <c:v>0.34</c:v>
                </c:pt>
                <c:pt idx="319">
                  <c:v>0.34</c:v>
                </c:pt>
                <c:pt idx="320">
                  <c:v>0.34</c:v>
                </c:pt>
                <c:pt idx="321">
                  <c:v>0.34</c:v>
                </c:pt>
                <c:pt idx="322">
                  <c:v>0.34</c:v>
                </c:pt>
                <c:pt idx="323">
                  <c:v>0.34</c:v>
                </c:pt>
                <c:pt idx="324">
                  <c:v>0.34</c:v>
                </c:pt>
                <c:pt idx="325">
                  <c:v>0.34</c:v>
                </c:pt>
                <c:pt idx="326">
                  <c:v>0.34</c:v>
                </c:pt>
                <c:pt idx="327">
                  <c:v>0.34</c:v>
                </c:pt>
                <c:pt idx="328">
                  <c:v>0.34</c:v>
                </c:pt>
                <c:pt idx="329">
                  <c:v>0.34</c:v>
                </c:pt>
                <c:pt idx="330">
                  <c:v>0.34</c:v>
                </c:pt>
                <c:pt idx="331">
                  <c:v>0.34</c:v>
                </c:pt>
                <c:pt idx="332">
                  <c:v>0.34</c:v>
                </c:pt>
                <c:pt idx="333">
                  <c:v>0.34</c:v>
                </c:pt>
                <c:pt idx="334">
                  <c:v>0.34</c:v>
                </c:pt>
                <c:pt idx="335">
                  <c:v>0.34</c:v>
                </c:pt>
                <c:pt idx="336">
                  <c:v>0.34</c:v>
                </c:pt>
                <c:pt idx="337">
                  <c:v>0.34</c:v>
                </c:pt>
                <c:pt idx="338">
                  <c:v>0.34</c:v>
                </c:pt>
                <c:pt idx="339">
                  <c:v>0.34</c:v>
                </c:pt>
                <c:pt idx="340">
                  <c:v>0.34</c:v>
                </c:pt>
                <c:pt idx="341">
                  <c:v>0.34</c:v>
                </c:pt>
                <c:pt idx="342">
                  <c:v>0.34</c:v>
                </c:pt>
                <c:pt idx="343">
                  <c:v>0.34</c:v>
                </c:pt>
                <c:pt idx="344">
                  <c:v>0.34</c:v>
                </c:pt>
                <c:pt idx="345">
                  <c:v>0.34</c:v>
                </c:pt>
                <c:pt idx="346">
                  <c:v>0.34</c:v>
                </c:pt>
                <c:pt idx="347">
                  <c:v>0.34</c:v>
                </c:pt>
                <c:pt idx="348">
                  <c:v>0.34</c:v>
                </c:pt>
                <c:pt idx="349">
                  <c:v>0.34</c:v>
                </c:pt>
                <c:pt idx="350">
                  <c:v>0.34</c:v>
                </c:pt>
                <c:pt idx="351">
                  <c:v>0.34</c:v>
                </c:pt>
                <c:pt idx="352">
                  <c:v>0.34</c:v>
                </c:pt>
                <c:pt idx="353">
                  <c:v>0.34</c:v>
                </c:pt>
                <c:pt idx="354">
                  <c:v>0.34</c:v>
                </c:pt>
                <c:pt idx="355">
                  <c:v>0.34</c:v>
                </c:pt>
                <c:pt idx="356">
                  <c:v>0.34</c:v>
                </c:pt>
                <c:pt idx="357">
                  <c:v>0.34</c:v>
                </c:pt>
                <c:pt idx="358">
                  <c:v>0.34</c:v>
                </c:pt>
                <c:pt idx="359">
                  <c:v>0.34</c:v>
                </c:pt>
                <c:pt idx="360">
                  <c:v>0.34</c:v>
                </c:pt>
                <c:pt idx="361">
                  <c:v>0.34</c:v>
                </c:pt>
                <c:pt idx="362">
                  <c:v>0.34</c:v>
                </c:pt>
                <c:pt idx="363">
                  <c:v>0.34</c:v>
                </c:pt>
                <c:pt idx="364">
                  <c:v>0.34</c:v>
                </c:pt>
                <c:pt idx="365">
                  <c:v>0.34</c:v>
                </c:pt>
              </c:numCache>
            </c:numRef>
          </c:val>
          <c:smooth val="0"/>
          <c:extLst>
            <c:ext xmlns:c16="http://schemas.microsoft.com/office/drawing/2014/chart" uri="{C3380CC4-5D6E-409C-BE32-E72D297353CC}">
              <c16:uniqueId val="{00000002-0D42-4F1F-8927-9002649D2FFF}"/>
            </c:ext>
          </c:extLst>
        </c:ser>
        <c:ser>
          <c:idx val="3"/>
          <c:order val="3"/>
          <c:tx>
            <c:strRef>
              <c:f>主流省份电价!$CQ$5</c:f>
              <c:strCache>
                <c:ptCount val="1"/>
                <c:pt idx="0">
                  <c:v>2023</c:v>
                </c:pt>
              </c:strCache>
            </c:strRef>
          </c:tx>
          <c:spPr>
            <a:ln w="19050" cap="rnd">
              <a:solidFill>
                <a:srgbClr val="55A5AB">
                  <a:alpha val="60000"/>
                </a:srgbClr>
              </a:solidFill>
              <a:round/>
            </a:ln>
            <a:effectLst/>
          </c:spPr>
          <c:marker>
            <c:symbol val="none"/>
          </c:marker>
          <c:cat>
            <c:strRef>
              <c:f>主流省份电价!$CK$6:$CK$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CQ$6:$CQ$371</c:f>
              <c:numCache>
                <c:formatCode>#,##0.00_);[Red]\(#,##0.00\)</c:formatCode>
                <c:ptCount val="366"/>
                <c:pt idx="0">
                  <c:v>0.34</c:v>
                </c:pt>
                <c:pt idx="1">
                  <c:v>0.34</c:v>
                </c:pt>
                <c:pt idx="2">
                  <c:v>0.34</c:v>
                </c:pt>
                <c:pt idx="3">
                  <c:v>0.34</c:v>
                </c:pt>
                <c:pt idx="4">
                  <c:v>0.34</c:v>
                </c:pt>
                <c:pt idx="5">
                  <c:v>0.34</c:v>
                </c:pt>
                <c:pt idx="6">
                  <c:v>0.34</c:v>
                </c:pt>
                <c:pt idx="7">
                  <c:v>0.34</c:v>
                </c:pt>
                <c:pt idx="8">
                  <c:v>0.34</c:v>
                </c:pt>
                <c:pt idx="9">
                  <c:v>0.34</c:v>
                </c:pt>
                <c:pt idx="10">
                  <c:v>0.34</c:v>
                </c:pt>
                <c:pt idx="11">
                  <c:v>0.34</c:v>
                </c:pt>
                <c:pt idx="12">
                  <c:v>0.34</c:v>
                </c:pt>
                <c:pt idx="13">
                  <c:v>0.34</c:v>
                </c:pt>
                <c:pt idx="14">
                  <c:v>0.34</c:v>
                </c:pt>
                <c:pt idx="15">
                  <c:v>0.34</c:v>
                </c:pt>
                <c:pt idx="16">
                  <c:v>0.34</c:v>
                </c:pt>
                <c:pt idx="17">
                  <c:v>0.34</c:v>
                </c:pt>
                <c:pt idx="18">
                  <c:v>0.34</c:v>
                </c:pt>
                <c:pt idx="19">
                  <c:v>0.34</c:v>
                </c:pt>
                <c:pt idx="20">
                  <c:v>0.34</c:v>
                </c:pt>
                <c:pt idx="21">
                  <c:v>0.34</c:v>
                </c:pt>
                <c:pt idx="22">
                  <c:v>0.34</c:v>
                </c:pt>
                <c:pt idx="23">
                  <c:v>0.34</c:v>
                </c:pt>
                <c:pt idx="24">
                  <c:v>0.34</c:v>
                </c:pt>
                <c:pt idx="25">
                  <c:v>0.34</c:v>
                </c:pt>
                <c:pt idx="26">
                  <c:v>0.34</c:v>
                </c:pt>
                <c:pt idx="27">
                  <c:v>0.34</c:v>
                </c:pt>
                <c:pt idx="28">
                  <c:v>0.34</c:v>
                </c:pt>
                <c:pt idx="29">
                  <c:v>0.34</c:v>
                </c:pt>
                <c:pt idx="30">
                  <c:v>0.34</c:v>
                </c:pt>
                <c:pt idx="31">
                  <c:v>0.34</c:v>
                </c:pt>
                <c:pt idx="32">
                  <c:v>0.34</c:v>
                </c:pt>
                <c:pt idx="33">
                  <c:v>0.34</c:v>
                </c:pt>
                <c:pt idx="34">
                  <c:v>0.34</c:v>
                </c:pt>
                <c:pt idx="35">
                  <c:v>0.34</c:v>
                </c:pt>
                <c:pt idx="36">
                  <c:v>0.34</c:v>
                </c:pt>
                <c:pt idx="37">
                  <c:v>0.34</c:v>
                </c:pt>
                <c:pt idx="38">
                  <c:v>0.34</c:v>
                </c:pt>
                <c:pt idx="39">
                  <c:v>0.34</c:v>
                </c:pt>
                <c:pt idx="40">
                  <c:v>0.34</c:v>
                </c:pt>
                <c:pt idx="41">
                  <c:v>0.34</c:v>
                </c:pt>
                <c:pt idx="42">
                  <c:v>0.34</c:v>
                </c:pt>
                <c:pt idx="43">
                  <c:v>0.34</c:v>
                </c:pt>
                <c:pt idx="44">
                  <c:v>0.34</c:v>
                </c:pt>
                <c:pt idx="45">
                  <c:v>0.34</c:v>
                </c:pt>
                <c:pt idx="46">
                  <c:v>0.34</c:v>
                </c:pt>
                <c:pt idx="47">
                  <c:v>0.34</c:v>
                </c:pt>
                <c:pt idx="48">
                  <c:v>0.34</c:v>
                </c:pt>
                <c:pt idx="49">
                  <c:v>0.34</c:v>
                </c:pt>
                <c:pt idx="50">
                  <c:v>0.34</c:v>
                </c:pt>
                <c:pt idx="51">
                  <c:v>0.34</c:v>
                </c:pt>
                <c:pt idx="52">
                  <c:v>0.34</c:v>
                </c:pt>
                <c:pt idx="53">
                  <c:v>0.34</c:v>
                </c:pt>
                <c:pt idx="54">
                  <c:v>0.34</c:v>
                </c:pt>
                <c:pt idx="55">
                  <c:v>0.34</c:v>
                </c:pt>
                <c:pt idx="56">
                  <c:v>0.34</c:v>
                </c:pt>
                <c:pt idx="57">
                  <c:v>0.34</c:v>
                </c:pt>
                <c:pt idx="58">
                  <c:v>0.34</c:v>
                </c:pt>
                <c:pt idx="60">
                  <c:v>0.34</c:v>
                </c:pt>
                <c:pt idx="61">
                  <c:v>0.34</c:v>
                </c:pt>
                <c:pt idx="62">
                  <c:v>0.34</c:v>
                </c:pt>
                <c:pt idx="63">
                  <c:v>0.34</c:v>
                </c:pt>
                <c:pt idx="64">
                  <c:v>0.34</c:v>
                </c:pt>
                <c:pt idx="65">
                  <c:v>0.34</c:v>
                </c:pt>
                <c:pt idx="66">
                  <c:v>0.34</c:v>
                </c:pt>
                <c:pt idx="67">
                  <c:v>0.34</c:v>
                </c:pt>
                <c:pt idx="68">
                  <c:v>0.34</c:v>
                </c:pt>
                <c:pt idx="69">
                  <c:v>0.34</c:v>
                </c:pt>
                <c:pt idx="70">
                  <c:v>0.34</c:v>
                </c:pt>
                <c:pt idx="71">
                  <c:v>0.34</c:v>
                </c:pt>
                <c:pt idx="72">
                  <c:v>0.34</c:v>
                </c:pt>
                <c:pt idx="73">
                  <c:v>0.34</c:v>
                </c:pt>
                <c:pt idx="74">
                  <c:v>0.34</c:v>
                </c:pt>
                <c:pt idx="75">
                  <c:v>0.34</c:v>
                </c:pt>
                <c:pt idx="76">
                  <c:v>0.34</c:v>
                </c:pt>
                <c:pt idx="77">
                  <c:v>0.34</c:v>
                </c:pt>
                <c:pt idx="78">
                  <c:v>0.34</c:v>
                </c:pt>
                <c:pt idx="79">
                  <c:v>0.34</c:v>
                </c:pt>
                <c:pt idx="80">
                  <c:v>0.34</c:v>
                </c:pt>
                <c:pt idx="81">
                  <c:v>0.34</c:v>
                </c:pt>
                <c:pt idx="82">
                  <c:v>0.34</c:v>
                </c:pt>
                <c:pt idx="83">
                  <c:v>0.34</c:v>
                </c:pt>
                <c:pt idx="84">
                  <c:v>0.34</c:v>
                </c:pt>
                <c:pt idx="85">
                  <c:v>0.34</c:v>
                </c:pt>
                <c:pt idx="86">
                  <c:v>0.34</c:v>
                </c:pt>
                <c:pt idx="87">
                  <c:v>0.34</c:v>
                </c:pt>
                <c:pt idx="88">
                  <c:v>0.34</c:v>
                </c:pt>
                <c:pt idx="89">
                  <c:v>0.34</c:v>
                </c:pt>
                <c:pt idx="90">
                  <c:v>0.34</c:v>
                </c:pt>
                <c:pt idx="91">
                  <c:v>0.34</c:v>
                </c:pt>
                <c:pt idx="92">
                  <c:v>0.34</c:v>
                </c:pt>
                <c:pt idx="93">
                  <c:v>0.34</c:v>
                </c:pt>
                <c:pt idx="94">
                  <c:v>0.34</c:v>
                </c:pt>
                <c:pt idx="95">
                  <c:v>0.34</c:v>
                </c:pt>
                <c:pt idx="96">
                  <c:v>0.34</c:v>
                </c:pt>
                <c:pt idx="97">
                  <c:v>0.34</c:v>
                </c:pt>
                <c:pt idx="98">
                  <c:v>0.34</c:v>
                </c:pt>
                <c:pt idx="99">
                  <c:v>0.34</c:v>
                </c:pt>
                <c:pt idx="100">
                  <c:v>0.34</c:v>
                </c:pt>
                <c:pt idx="101">
                  <c:v>0.34</c:v>
                </c:pt>
                <c:pt idx="102">
                  <c:v>0.34</c:v>
                </c:pt>
                <c:pt idx="103">
                  <c:v>0.34</c:v>
                </c:pt>
                <c:pt idx="104">
                  <c:v>0.34</c:v>
                </c:pt>
                <c:pt idx="105">
                  <c:v>0.34</c:v>
                </c:pt>
                <c:pt idx="106">
                  <c:v>0.34</c:v>
                </c:pt>
                <c:pt idx="107">
                  <c:v>0.34</c:v>
                </c:pt>
                <c:pt idx="108">
                  <c:v>0.34</c:v>
                </c:pt>
                <c:pt idx="109">
                  <c:v>0.34</c:v>
                </c:pt>
                <c:pt idx="110">
                  <c:v>0.34</c:v>
                </c:pt>
                <c:pt idx="111">
                  <c:v>0.37</c:v>
                </c:pt>
                <c:pt idx="112">
                  <c:v>0.37</c:v>
                </c:pt>
                <c:pt idx="113">
                  <c:v>0.37</c:v>
                </c:pt>
                <c:pt idx="114">
                  <c:v>0.37</c:v>
                </c:pt>
                <c:pt idx="115">
                  <c:v>0.37</c:v>
                </c:pt>
                <c:pt idx="116">
                  <c:v>0.37</c:v>
                </c:pt>
                <c:pt idx="117">
                  <c:v>0.37</c:v>
                </c:pt>
                <c:pt idx="118">
                  <c:v>0.37</c:v>
                </c:pt>
                <c:pt idx="119">
                  <c:v>0.37</c:v>
                </c:pt>
                <c:pt idx="120">
                  <c:v>0.37</c:v>
                </c:pt>
                <c:pt idx="121">
                  <c:v>0.37</c:v>
                </c:pt>
                <c:pt idx="122">
                  <c:v>0.37</c:v>
                </c:pt>
                <c:pt idx="123">
                  <c:v>0.37</c:v>
                </c:pt>
                <c:pt idx="124">
                  <c:v>0.37</c:v>
                </c:pt>
                <c:pt idx="125">
                  <c:v>0.37</c:v>
                </c:pt>
                <c:pt idx="126">
                  <c:v>0.37</c:v>
                </c:pt>
                <c:pt idx="127">
                  <c:v>0.37</c:v>
                </c:pt>
                <c:pt idx="128">
                  <c:v>0.37</c:v>
                </c:pt>
                <c:pt idx="129">
                  <c:v>0.37</c:v>
                </c:pt>
                <c:pt idx="130">
                  <c:v>0.37</c:v>
                </c:pt>
                <c:pt idx="131">
                  <c:v>0.37</c:v>
                </c:pt>
                <c:pt idx="132">
                  <c:v>0.37</c:v>
                </c:pt>
                <c:pt idx="133">
                  <c:v>0.37</c:v>
                </c:pt>
                <c:pt idx="134">
                  <c:v>0.37</c:v>
                </c:pt>
                <c:pt idx="135">
                  <c:v>0.37</c:v>
                </c:pt>
                <c:pt idx="136">
                  <c:v>0.37</c:v>
                </c:pt>
                <c:pt idx="137">
                  <c:v>0.37</c:v>
                </c:pt>
                <c:pt idx="138">
                  <c:v>0.37</c:v>
                </c:pt>
                <c:pt idx="139">
                  <c:v>0.37</c:v>
                </c:pt>
                <c:pt idx="140">
                  <c:v>0.37</c:v>
                </c:pt>
                <c:pt idx="141">
                  <c:v>0.37</c:v>
                </c:pt>
                <c:pt idx="142">
                  <c:v>0.37</c:v>
                </c:pt>
                <c:pt idx="143">
                  <c:v>0.37</c:v>
                </c:pt>
                <c:pt idx="144">
                  <c:v>0.37</c:v>
                </c:pt>
                <c:pt idx="145">
                  <c:v>0.37</c:v>
                </c:pt>
                <c:pt idx="146">
                  <c:v>0.37</c:v>
                </c:pt>
                <c:pt idx="147">
                  <c:v>0.37</c:v>
                </c:pt>
                <c:pt idx="148">
                  <c:v>0.37</c:v>
                </c:pt>
                <c:pt idx="149">
                  <c:v>0.37</c:v>
                </c:pt>
                <c:pt idx="150">
                  <c:v>0.37</c:v>
                </c:pt>
                <c:pt idx="151">
                  <c:v>0.37</c:v>
                </c:pt>
                <c:pt idx="152">
                  <c:v>0.37</c:v>
                </c:pt>
                <c:pt idx="153">
                  <c:v>0.37</c:v>
                </c:pt>
                <c:pt idx="154">
                  <c:v>0.37</c:v>
                </c:pt>
                <c:pt idx="155">
                  <c:v>0.37</c:v>
                </c:pt>
                <c:pt idx="156">
                  <c:v>0.37</c:v>
                </c:pt>
                <c:pt idx="157">
                  <c:v>0.37</c:v>
                </c:pt>
                <c:pt idx="158">
                  <c:v>0.37</c:v>
                </c:pt>
                <c:pt idx="159">
                  <c:v>0.37</c:v>
                </c:pt>
                <c:pt idx="160">
                  <c:v>0.37</c:v>
                </c:pt>
                <c:pt idx="161">
                  <c:v>0.37</c:v>
                </c:pt>
                <c:pt idx="162">
                  <c:v>0.37</c:v>
                </c:pt>
                <c:pt idx="163">
                  <c:v>0.37</c:v>
                </c:pt>
                <c:pt idx="164">
                  <c:v>0.37</c:v>
                </c:pt>
                <c:pt idx="165">
                  <c:v>0.37</c:v>
                </c:pt>
                <c:pt idx="166">
                  <c:v>0.37</c:v>
                </c:pt>
                <c:pt idx="167">
                  <c:v>0.37</c:v>
                </c:pt>
                <c:pt idx="168">
                  <c:v>0.37</c:v>
                </c:pt>
                <c:pt idx="169">
                  <c:v>0.37</c:v>
                </c:pt>
                <c:pt idx="170">
                  <c:v>0.37</c:v>
                </c:pt>
                <c:pt idx="171">
                  <c:v>0.37</c:v>
                </c:pt>
                <c:pt idx="172">
                  <c:v>0.37</c:v>
                </c:pt>
                <c:pt idx="173">
                  <c:v>0.37</c:v>
                </c:pt>
                <c:pt idx="174">
                  <c:v>0.37</c:v>
                </c:pt>
                <c:pt idx="175">
                  <c:v>0.37</c:v>
                </c:pt>
                <c:pt idx="176">
                  <c:v>0.37</c:v>
                </c:pt>
                <c:pt idx="177">
                  <c:v>0.37</c:v>
                </c:pt>
                <c:pt idx="178">
                  <c:v>0.37</c:v>
                </c:pt>
                <c:pt idx="179">
                  <c:v>0.37</c:v>
                </c:pt>
                <c:pt idx="180">
                  <c:v>0.37</c:v>
                </c:pt>
                <c:pt idx="181">
                  <c:v>0.37</c:v>
                </c:pt>
                <c:pt idx="182">
                  <c:v>0.37</c:v>
                </c:pt>
                <c:pt idx="183">
                  <c:v>0.37</c:v>
                </c:pt>
                <c:pt idx="184">
                  <c:v>0.37</c:v>
                </c:pt>
                <c:pt idx="185">
                  <c:v>0.37</c:v>
                </c:pt>
                <c:pt idx="186">
                  <c:v>0.37</c:v>
                </c:pt>
                <c:pt idx="187">
                  <c:v>0.37</c:v>
                </c:pt>
                <c:pt idx="188">
                  <c:v>0.37</c:v>
                </c:pt>
                <c:pt idx="189">
                  <c:v>0.37</c:v>
                </c:pt>
                <c:pt idx="190">
                  <c:v>0.37</c:v>
                </c:pt>
                <c:pt idx="191">
                  <c:v>0.37</c:v>
                </c:pt>
                <c:pt idx="192">
                  <c:v>0.37</c:v>
                </c:pt>
                <c:pt idx="193">
                  <c:v>0.37</c:v>
                </c:pt>
                <c:pt idx="194">
                  <c:v>0.37</c:v>
                </c:pt>
                <c:pt idx="195">
                  <c:v>0.37</c:v>
                </c:pt>
                <c:pt idx="196">
                  <c:v>0.37</c:v>
                </c:pt>
                <c:pt idx="197">
                  <c:v>0.37</c:v>
                </c:pt>
                <c:pt idx="198">
                  <c:v>0.37</c:v>
                </c:pt>
                <c:pt idx="199">
                  <c:v>0.37</c:v>
                </c:pt>
                <c:pt idx="200">
                  <c:v>0.37</c:v>
                </c:pt>
                <c:pt idx="201">
                  <c:v>0.37</c:v>
                </c:pt>
                <c:pt idx="202">
                  <c:v>0.37</c:v>
                </c:pt>
                <c:pt idx="203">
                  <c:v>0.37</c:v>
                </c:pt>
                <c:pt idx="204">
                  <c:v>0.37</c:v>
                </c:pt>
                <c:pt idx="205">
                  <c:v>0.37</c:v>
                </c:pt>
                <c:pt idx="206">
                  <c:v>0.37</c:v>
                </c:pt>
                <c:pt idx="207">
                  <c:v>0.37</c:v>
                </c:pt>
                <c:pt idx="208">
                  <c:v>0.37</c:v>
                </c:pt>
                <c:pt idx="209">
                  <c:v>0.37</c:v>
                </c:pt>
                <c:pt idx="210">
                  <c:v>0.37</c:v>
                </c:pt>
                <c:pt idx="211">
                  <c:v>0.37</c:v>
                </c:pt>
                <c:pt idx="212">
                  <c:v>0.37</c:v>
                </c:pt>
                <c:pt idx="213">
                  <c:v>0.37</c:v>
                </c:pt>
                <c:pt idx="214">
                  <c:v>0.37</c:v>
                </c:pt>
                <c:pt idx="215">
                  <c:v>0.37</c:v>
                </c:pt>
                <c:pt idx="216">
                  <c:v>0.37</c:v>
                </c:pt>
                <c:pt idx="217">
                  <c:v>0.37</c:v>
                </c:pt>
                <c:pt idx="218">
                  <c:v>0.37</c:v>
                </c:pt>
                <c:pt idx="219">
                  <c:v>0.37</c:v>
                </c:pt>
                <c:pt idx="220">
                  <c:v>0.37</c:v>
                </c:pt>
                <c:pt idx="221">
                  <c:v>0.37</c:v>
                </c:pt>
                <c:pt idx="222">
                  <c:v>0.37</c:v>
                </c:pt>
                <c:pt idx="223">
                  <c:v>0.37</c:v>
                </c:pt>
                <c:pt idx="224">
                  <c:v>0.37</c:v>
                </c:pt>
                <c:pt idx="225">
                  <c:v>0.37</c:v>
                </c:pt>
                <c:pt idx="226">
                  <c:v>0.37</c:v>
                </c:pt>
                <c:pt idx="227">
                  <c:v>0.37</c:v>
                </c:pt>
                <c:pt idx="228">
                  <c:v>0.37</c:v>
                </c:pt>
                <c:pt idx="229">
                  <c:v>#N/A</c:v>
                </c:pt>
                <c:pt idx="230">
                  <c:v>#N/A</c:v>
                </c:pt>
                <c:pt idx="231">
                  <c:v>#N/A</c:v>
                </c:pt>
                <c:pt idx="232">
                  <c:v>#N/A</c:v>
                </c:pt>
                <c:pt idx="233">
                  <c:v>0.37</c:v>
                </c:pt>
                <c:pt idx="234">
                  <c:v>0.37</c:v>
                </c:pt>
                <c:pt idx="235">
                  <c:v>0.37</c:v>
                </c:pt>
                <c:pt idx="236">
                  <c:v>0.37</c:v>
                </c:pt>
                <c:pt idx="237">
                  <c:v>0.37</c:v>
                </c:pt>
                <c:pt idx="238">
                  <c:v>0.37</c:v>
                </c:pt>
                <c:pt idx="239">
                  <c:v>0.37</c:v>
                </c:pt>
                <c:pt idx="240">
                  <c:v>0.37</c:v>
                </c:pt>
                <c:pt idx="241">
                  <c:v>0.37</c:v>
                </c:pt>
                <c:pt idx="242">
                  <c:v>0.37</c:v>
                </c:pt>
                <c:pt idx="243">
                  <c:v>0.37</c:v>
                </c:pt>
                <c:pt idx="244">
                  <c:v>0.37</c:v>
                </c:pt>
                <c:pt idx="245">
                  <c:v>0.37</c:v>
                </c:pt>
                <c:pt idx="246">
                  <c:v>0.37</c:v>
                </c:pt>
                <c:pt idx="247">
                  <c:v>0.37</c:v>
                </c:pt>
                <c:pt idx="248">
                  <c:v>0.37</c:v>
                </c:pt>
                <c:pt idx="249">
                  <c:v>0.37</c:v>
                </c:pt>
                <c:pt idx="250">
                  <c:v>0.37</c:v>
                </c:pt>
                <c:pt idx="251">
                  <c:v>0.37</c:v>
                </c:pt>
                <c:pt idx="252">
                  <c:v>0.37</c:v>
                </c:pt>
                <c:pt idx="253">
                  <c:v>0.37</c:v>
                </c:pt>
                <c:pt idx="254">
                  <c:v>0.37</c:v>
                </c:pt>
                <c:pt idx="255">
                  <c:v>0.37</c:v>
                </c:pt>
                <c:pt idx="256">
                  <c:v>0.37</c:v>
                </c:pt>
                <c:pt idx="257">
                  <c:v>0.37</c:v>
                </c:pt>
                <c:pt idx="258">
                  <c:v>0.37</c:v>
                </c:pt>
                <c:pt idx="259">
                  <c:v>0.37</c:v>
                </c:pt>
                <c:pt idx="260">
                  <c:v>0.37</c:v>
                </c:pt>
                <c:pt idx="261">
                  <c:v>0.37</c:v>
                </c:pt>
                <c:pt idx="262">
                  <c:v>0.37</c:v>
                </c:pt>
                <c:pt idx="263">
                  <c:v>0.37</c:v>
                </c:pt>
                <c:pt idx="264">
                  <c:v>0.37</c:v>
                </c:pt>
                <c:pt idx="265">
                  <c:v>0.37</c:v>
                </c:pt>
                <c:pt idx="266">
                  <c:v>0.37</c:v>
                </c:pt>
                <c:pt idx="267">
                  <c:v>0.37</c:v>
                </c:pt>
                <c:pt idx="268">
                  <c:v>0.37</c:v>
                </c:pt>
                <c:pt idx="269">
                  <c:v>0.37</c:v>
                </c:pt>
                <c:pt idx="270">
                  <c:v>0.37</c:v>
                </c:pt>
                <c:pt idx="271">
                  <c:v>0.37</c:v>
                </c:pt>
                <c:pt idx="272">
                  <c:v>0.37</c:v>
                </c:pt>
                <c:pt idx="273">
                  <c:v>0.37</c:v>
                </c:pt>
                <c:pt idx="274">
                  <c:v>0.37</c:v>
                </c:pt>
                <c:pt idx="275">
                  <c:v>0.37</c:v>
                </c:pt>
                <c:pt idx="276">
                  <c:v>0.37</c:v>
                </c:pt>
                <c:pt idx="277">
                  <c:v>0.37</c:v>
                </c:pt>
                <c:pt idx="278">
                  <c:v>0.37</c:v>
                </c:pt>
                <c:pt idx="279">
                  <c:v>0.37</c:v>
                </c:pt>
                <c:pt idx="280">
                  <c:v>0.37</c:v>
                </c:pt>
                <c:pt idx="281">
                  <c:v>0.37</c:v>
                </c:pt>
                <c:pt idx="282">
                  <c:v>0.37</c:v>
                </c:pt>
                <c:pt idx="283">
                  <c:v>0.37</c:v>
                </c:pt>
                <c:pt idx="284">
                  <c:v>0.37</c:v>
                </c:pt>
                <c:pt idx="285">
                  <c:v>0.37</c:v>
                </c:pt>
                <c:pt idx="286">
                  <c:v>0.37</c:v>
                </c:pt>
                <c:pt idx="287">
                  <c:v>0.37</c:v>
                </c:pt>
                <c:pt idx="288">
                  <c:v>0.37</c:v>
                </c:pt>
                <c:pt idx="289">
                  <c:v>0.37</c:v>
                </c:pt>
                <c:pt idx="290">
                  <c:v>0.37</c:v>
                </c:pt>
                <c:pt idx="291">
                  <c:v>0.37</c:v>
                </c:pt>
                <c:pt idx="292">
                  <c:v>0.37</c:v>
                </c:pt>
                <c:pt idx="293">
                  <c:v>0.37</c:v>
                </c:pt>
                <c:pt idx="294">
                  <c:v>0.37</c:v>
                </c:pt>
                <c:pt idx="295">
                  <c:v>0.37</c:v>
                </c:pt>
                <c:pt idx="296">
                  <c:v>0.37</c:v>
                </c:pt>
                <c:pt idx="297">
                  <c:v>0.37</c:v>
                </c:pt>
                <c:pt idx="298">
                  <c:v>0.37</c:v>
                </c:pt>
                <c:pt idx="299">
                  <c:v>0.37</c:v>
                </c:pt>
                <c:pt idx="300">
                  <c:v>0.37</c:v>
                </c:pt>
                <c:pt idx="301">
                  <c:v>0.37</c:v>
                </c:pt>
                <c:pt idx="302">
                  <c:v>0.37</c:v>
                </c:pt>
                <c:pt idx="303">
                  <c:v>0.37</c:v>
                </c:pt>
                <c:pt idx="304">
                  <c:v>0.37</c:v>
                </c:pt>
                <c:pt idx="305">
                  <c:v>0.37</c:v>
                </c:pt>
                <c:pt idx="306">
                  <c:v>0.37</c:v>
                </c:pt>
                <c:pt idx="307">
                  <c:v>0.37</c:v>
                </c:pt>
                <c:pt idx="308">
                  <c:v>0.37</c:v>
                </c:pt>
                <c:pt idx="309">
                  <c:v>0.37</c:v>
                </c:pt>
                <c:pt idx="310">
                  <c:v>0.37</c:v>
                </c:pt>
                <c:pt idx="311">
                  <c:v>0.37</c:v>
                </c:pt>
                <c:pt idx="312">
                  <c:v>0.37</c:v>
                </c:pt>
                <c:pt idx="313">
                  <c:v>0.37</c:v>
                </c:pt>
                <c:pt idx="314">
                  <c:v>0.37</c:v>
                </c:pt>
                <c:pt idx="315">
                  <c:v>0.37</c:v>
                </c:pt>
                <c:pt idx="316">
                  <c:v>0.37</c:v>
                </c:pt>
                <c:pt idx="317">
                  <c:v>0.37</c:v>
                </c:pt>
                <c:pt idx="318">
                  <c:v>0.37</c:v>
                </c:pt>
                <c:pt idx="319">
                  <c:v>0.37</c:v>
                </c:pt>
                <c:pt idx="320">
                  <c:v>0.37</c:v>
                </c:pt>
                <c:pt idx="321">
                  <c:v>0.37</c:v>
                </c:pt>
                <c:pt idx="322">
                  <c:v>0.37</c:v>
                </c:pt>
                <c:pt idx="323">
                  <c:v>0.37</c:v>
                </c:pt>
                <c:pt idx="324">
                  <c:v>0.37</c:v>
                </c:pt>
                <c:pt idx="325">
                  <c:v>0.37</c:v>
                </c:pt>
                <c:pt idx="326">
                  <c:v>0.37</c:v>
                </c:pt>
                <c:pt idx="327">
                  <c:v>0.37</c:v>
                </c:pt>
                <c:pt idx="328">
                  <c:v>0.37</c:v>
                </c:pt>
                <c:pt idx="329">
                  <c:v>0.37</c:v>
                </c:pt>
                <c:pt idx="330">
                  <c:v>0.37</c:v>
                </c:pt>
                <c:pt idx="331">
                  <c:v>0.37</c:v>
                </c:pt>
                <c:pt idx="332">
                  <c:v>0.37</c:v>
                </c:pt>
                <c:pt idx="333">
                  <c:v>0.37</c:v>
                </c:pt>
                <c:pt idx="334">
                  <c:v>0.37</c:v>
                </c:pt>
                <c:pt idx="335">
                  <c:v>0.37</c:v>
                </c:pt>
                <c:pt idx="336">
                  <c:v>0.37</c:v>
                </c:pt>
                <c:pt idx="337">
                  <c:v>0.37</c:v>
                </c:pt>
                <c:pt idx="338">
                  <c:v>0.37</c:v>
                </c:pt>
                <c:pt idx="339">
                  <c:v>0.37</c:v>
                </c:pt>
                <c:pt idx="340">
                  <c:v>0.37</c:v>
                </c:pt>
                <c:pt idx="341">
                  <c:v>0.37</c:v>
                </c:pt>
                <c:pt idx="342">
                  <c:v>0.37</c:v>
                </c:pt>
                <c:pt idx="343">
                  <c:v>0.37</c:v>
                </c:pt>
                <c:pt idx="344">
                  <c:v>0.37</c:v>
                </c:pt>
                <c:pt idx="345">
                  <c:v>0.37</c:v>
                </c:pt>
                <c:pt idx="346">
                  <c:v>0.37</c:v>
                </c:pt>
                <c:pt idx="347">
                  <c:v>0.37</c:v>
                </c:pt>
                <c:pt idx="348">
                  <c:v>0.37</c:v>
                </c:pt>
                <c:pt idx="349">
                  <c:v>0.37</c:v>
                </c:pt>
                <c:pt idx="350">
                  <c:v>0.37</c:v>
                </c:pt>
                <c:pt idx="351">
                  <c:v>0.37</c:v>
                </c:pt>
                <c:pt idx="352">
                  <c:v>0.37</c:v>
                </c:pt>
                <c:pt idx="353">
                  <c:v>0.37</c:v>
                </c:pt>
                <c:pt idx="354">
                  <c:v>0.37</c:v>
                </c:pt>
                <c:pt idx="355">
                  <c:v>0.37</c:v>
                </c:pt>
                <c:pt idx="356">
                  <c:v>0.37</c:v>
                </c:pt>
                <c:pt idx="357">
                  <c:v>0.37</c:v>
                </c:pt>
                <c:pt idx="358">
                  <c:v>0.37</c:v>
                </c:pt>
                <c:pt idx="359">
                  <c:v>0.37</c:v>
                </c:pt>
                <c:pt idx="360">
                  <c:v>0.37</c:v>
                </c:pt>
                <c:pt idx="361">
                  <c:v>0.37</c:v>
                </c:pt>
                <c:pt idx="362">
                  <c:v>0.37</c:v>
                </c:pt>
                <c:pt idx="363">
                  <c:v>0.37</c:v>
                </c:pt>
                <c:pt idx="364">
                  <c:v>0.37</c:v>
                </c:pt>
                <c:pt idx="365">
                  <c:v>0.37</c:v>
                </c:pt>
              </c:numCache>
            </c:numRef>
          </c:val>
          <c:smooth val="0"/>
          <c:extLst>
            <c:ext xmlns:c16="http://schemas.microsoft.com/office/drawing/2014/chart" uri="{C3380CC4-5D6E-409C-BE32-E72D297353CC}">
              <c16:uniqueId val="{00000003-0D42-4F1F-8927-9002649D2FFF}"/>
            </c:ext>
          </c:extLst>
        </c:ser>
        <c:ser>
          <c:idx val="4"/>
          <c:order val="4"/>
          <c:tx>
            <c:strRef>
              <c:f>主流省份电价!$CR$5</c:f>
              <c:strCache>
                <c:ptCount val="1"/>
                <c:pt idx="0">
                  <c:v>2024</c:v>
                </c:pt>
              </c:strCache>
            </c:strRef>
          </c:tx>
          <c:spPr>
            <a:ln w="28575" cap="rnd">
              <a:solidFill>
                <a:schemeClr val="tx1"/>
              </a:solidFill>
              <a:round/>
            </a:ln>
            <a:effectLst/>
          </c:spPr>
          <c:marker>
            <c:symbol val="none"/>
          </c:marker>
          <c:cat>
            <c:strRef>
              <c:f>主流省份电价!$CK$6:$CK$371</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流省份电价!$CR$6:$CR$371</c:f>
              <c:numCache>
                <c:formatCode>#,##0.00_);[Red]\(#,##0.00\)</c:formatCode>
                <c:ptCount val="366"/>
                <c:pt idx="0">
                  <c:v>0.37</c:v>
                </c:pt>
                <c:pt idx="1">
                  <c:v>0.37</c:v>
                </c:pt>
                <c:pt idx="2">
                  <c:v>0.37</c:v>
                </c:pt>
                <c:pt idx="3">
                  <c:v>0.37</c:v>
                </c:pt>
                <c:pt idx="4">
                  <c:v>0.37</c:v>
                </c:pt>
                <c:pt idx="5">
                  <c:v>0.37</c:v>
                </c:pt>
                <c:pt idx="6">
                  <c:v>0.37</c:v>
                </c:pt>
                <c:pt idx="7">
                  <c:v>0.37</c:v>
                </c:pt>
                <c:pt idx="8">
                  <c:v>0.37</c:v>
                </c:pt>
                <c:pt idx="9">
                  <c:v>0.37</c:v>
                </c:pt>
                <c:pt idx="10">
                  <c:v>0.37</c:v>
                </c:pt>
                <c:pt idx="11">
                  <c:v>0.37</c:v>
                </c:pt>
                <c:pt idx="12">
                  <c:v>0.37</c:v>
                </c:pt>
                <c:pt idx="13">
                  <c:v>0.37</c:v>
                </c:pt>
                <c:pt idx="14">
                  <c:v>0.37</c:v>
                </c:pt>
                <c:pt idx="15">
                  <c:v>0.37</c:v>
                </c:pt>
                <c:pt idx="16">
                  <c:v>0.37</c:v>
                </c:pt>
                <c:pt idx="17">
                  <c:v>0.37</c:v>
                </c:pt>
                <c:pt idx="18">
                  <c:v>0.37</c:v>
                </c:pt>
                <c:pt idx="19">
                  <c:v>0.37</c:v>
                </c:pt>
                <c:pt idx="20">
                  <c:v>0.37</c:v>
                </c:pt>
                <c:pt idx="21">
                  <c:v>0.37</c:v>
                </c:pt>
                <c:pt idx="22">
                  <c:v>0.37</c:v>
                </c:pt>
                <c:pt idx="23">
                  <c:v>0.37</c:v>
                </c:pt>
                <c:pt idx="24">
                  <c:v>0.37</c:v>
                </c:pt>
                <c:pt idx="25">
                  <c:v>0.37</c:v>
                </c:pt>
                <c:pt idx="26">
                  <c:v>0.37</c:v>
                </c:pt>
                <c:pt idx="27">
                  <c:v>0.37</c:v>
                </c:pt>
                <c:pt idx="28">
                  <c:v>0.37</c:v>
                </c:pt>
                <c:pt idx="29">
                  <c:v>0.37</c:v>
                </c:pt>
                <c:pt idx="30">
                  <c:v>0.37</c:v>
                </c:pt>
                <c:pt idx="31">
                  <c:v>0.37</c:v>
                </c:pt>
                <c:pt idx="32">
                  <c:v>0.37</c:v>
                </c:pt>
                <c:pt idx="33">
                  <c:v>0.37</c:v>
                </c:pt>
                <c:pt idx="34">
                  <c:v>0.37</c:v>
                </c:pt>
                <c:pt idx="35">
                  <c:v>0.37</c:v>
                </c:pt>
                <c:pt idx="36">
                  <c:v>0.37</c:v>
                </c:pt>
                <c:pt idx="37">
                  <c:v>0.37</c:v>
                </c:pt>
                <c:pt idx="38">
                  <c:v>0.37</c:v>
                </c:pt>
                <c:pt idx="39">
                  <c:v>0.37</c:v>
                </c:pt>
                <c:pt idx="40">
                  <c:v>0.37</c:v>
                </c:pt>
                <c:pt idx="41">
                  <c:v>0.37</c:v>
                </c:pt>
                <c:pt idx="42">
                  <c:v>0.37</c:v>
                </c:pt>
                <c:pt idx="43">
                  <c:v>0.37</c:v>
                </c:pt>
                <c:pt idx="44">
                  <c:v>0.37</c:v>
                </c:pt>
                <c:pt idx="45">
                  <c:v>0.37</c:v>
                </c:pt>
                <c:pt idx="46">
                  <c:v>0.37</c:v>
                </c:pt>
                <c:pt idx="47">
                  <c:v>0.37</c:v>
                </c:pt>
                <c:pt idx="48">
                  <c:v>0.37</c:v>
                </c:pt>
                <c:pt idx="49">
                  <c:v>0.37</c:v>
                </c:pt>
                <c:pt idx="50">
                  <c:v>0.37</c:v>
                </c:pt>
                <c:pt idx="51">
                  <c:v>0.37</c:v>
                </c:pt>
                <c:pt idx="52">
                  <c:v>0.37</c:v>
                </c:pt>
                <c:pt idx="53">
                  <c:v>0.37</c:v>
                </c:pt>
                <c:pt idx="54">
                  <c:v>0.37</c:v>
                </c:pt>
                <c:pt idx="55">
                  <c:v>0.37</c:v>
                </c:pt>
                <c:pt idx="56">
                  <c:v>0.37</c:v>
                </c:pt>
                <c:pt idx="57">
                  <c:v>0.37</c:v>
                </c:pt>
                <c:pt idx="58">
                  <c:v>0.37</c:v>
                </c:pt>
                <c:pt idx="59">
                  <c:v>0.37</c:v>
                </c:pt>
                <c:pt idx="60">
                  <c:v>0.37</c:v>
                </c:pt>
                <c:pt idx="61">
                  <c:v>0.37</c:v>
                </c:pt>
                <c:pt idx="62">
                  <c:v>0.37</c:v>
                </c:pt>
                <c:pt idx="63">
                  <c:v>0.37</c:v>
                </c:pt>
                <c:pt idx="64">
                  <c:v>0.37</c:v>
                </c:pt>
                <c:pt idx="65">
                  <c:v>0.37</c:v>
                </c:pt>
                <c:pt idx="66">
                  <c:v>0.37</c:v>
                </c:pt>
                <c:pt idx="67">
                  <c:v>0.37</c:v>
                </c:pt>
                <c:pt idx="68">
                  <c:v>0.37</c:v>
                </c:pt>
                <c:pt idx="69">
                  <c:v>0.37</c:v>
                </c:pt>
                <c:pt idx="70">
                  <c:v>0.37</c:v>
                </c:pt>
                <c:pt idx="71">
                  <c:v>0.37</c:v>
                </c:pt>
                <c:pt idx="72">
                  <c:v>0.37</c:v>
                </c:pt>
                <c:pt idx="73">
                  <c:v>0.37</c:v>
                </c:pt>
                <c:pt idx="74">
                  <c:v>0.37</c:v>
                </c:pt>
                <c:pt idx="75">
                  <c:v>0.37</c:v>
                </c:pt>
                <c:pt idx="76">
                  <c:v>0.37</c:v>
                </c:pt>
                <c:pt idx="77">
                  <c:v>0.37</c:v>
                </c:pt>
                <c:pt idx="78">
                  <c:v>0.37</c:v>
                </c:pt>
                <c:pt idx="79">
                  <c:v>0.37</c:v>
                </c:pt>
                <c:pt idx="80">
                  <c:v>0.37</c:v>
                </c:pt>
                <c:pt idx="81">
                  <c:v>0.37</c:v>
                </c:pt>
                <c:pt idx="82">
                  <c:v>0.37</c:v>
                </c:pt>
                <c:pt idx="83">
                  <c:v>0.37</c:v>
                </c:pt>
                <c:pt idx="84">
                  <c:v>0.37</c:v>
                </c:pt>
                <c:pt idx="85">
                  <c:v>0.37</c:v>
                </c:pt>
                <c:pt idx="86">
                  <c:v>0.37</c:v>
                </c:pt>
                <c:pt idx="87">
                  <c:v>0.37</c:v>
                </c:pt>
                <c:pt idx="88">
                  <c:v>0.37</c:v>
                </c:pt>
                <c:pt idx="89">
                  <c:v>0.37</c:v>
                </c:pt>
                <c:pt idx="90">
                  <c:v>0.37</c:v>
                </c:pt>
                <c:pt idx="91">
                  <c:v>0.37</c:v>
                </c:pt>
                <c:pt idx="92">
                  <c:v>0.37</c:v>
                </c:pt>
                <c:pt idx="93">
                  <c:v>0.37</c:v>
                </c:pt>
                <c:pt idx="94">
                  <c:v>0.37</c:v>
                </c:pt>
                <c:pt idx="95">
                  <c:v>0.37</c:v>
                </c:pt>
                <c:pt idx="96">
                  <c:v>0.37</c:v>
                </c:pt>
                <c:pt idx="97">
                  <c:v>0.37</c:v>
                </c:pt>
                <c:pt idx="98">
                  <c:v>0.37</c:v>
                </c:pt>
                <c:pt idx="99">
                  <c:v>0.37</c:v>
                </c:pt>
                <c:pt idx="100">
                  <c:v>0.37</c:v>
                </c:pt>
                <c:pt idx="101">
                  <c:v>0.37</c:v>
                </c:pt>
                <c:pt idx="102">
                  <c:v>0.37</c:v>
                </c:pt>
                <c:pt idx="103">
                  <c:v>0.37</c:v>
                </c:pt>
                <c:pt idx="104">
                  <c:v>0.37</c:v>
                </c:pt>
                <c:pt idx="105">
                  <c:v>0.37</c:v>
                </c:pt>
                <c:pt idx="106">
                  <c:v>0.37</c:v>
                </c:pt>
                <c:pt idx="107">
                  <c:v>0.37</c:v>
                </c:pt>
                <c:pt idx="108">
                  <c:v>0.37</c:v>
                </c:pt>
                <c:pt idx="109">
                  <c:v>0.37</c:v>
                </c:pt>
                <c:pt idx="110">
                  <c:v>0.37</c:v>
                </c:pt>
                <c:pt idx="111">
                  <c:v>0.37</c:v>
                </c:pt>
                <c:pt idx="112">
                  <c:v>0.37</c:v>
                </c:pt>
                <c:pt idx="113">
                  <c:v>0.37</c:v>
                </c:pt>
                <c:pt idx="114">
                  <c:v>0.37</c:v>
                </c:pt>
                <c:pt idx="115">
                  <c:v>0.37</c:v>
                </c:pt>
                <c:pt idx="116">
                  <c:v>0.37</c:v>
                </c:pt>
                <c:pt idx="117">
                  <c:v>0.37</c:v>
                </c:pt>
                <c:pt idx="118">
                  <c:v>0.37</c:v>
                </c:pt>
                <c:pt idx="119">
                  <c:v>0.37</c:v>
                </c:pt>
                <c:pt idx="120">
                  <c:v>0.37</c:v>
                </c:pt>
                <c:pt idx="121">
                  <c:v>0.37</c:v>
                </c:pt>
                <c:pt idx="122">
                  <c:v>0.37</c:v>
                </c:pt>
                <c:pt idx="123">
                  <c:v>0.37</c:v>
                </c:pt>
                <c:pt idx="124">
                  <c:v>0.37</c:v>
                </c:pt>
                <c:pt idx="125">
                  <c:v>0.37</c:v>
                </c:pt>
                <c:pt idx="126">
                  <c:v>0.37</c:v>
                </c:pt>
                <c:pt idx="127">
                  <c:v>0.37</c:v>
                </c:pt>
                <c:pt idx="128">
                  <c:v>0.37</c:v>
                </c:pt>
                <c:pt idx="129">
                  <c:v>0.37</c:v>
                </c:pt>
                <c:pt idx="130">
                  <c:v>0.37</c:v>
                </c:pt>
                <c:pt idx="131">
                  <c:v>0.37</c:v>
                </c:pt>
                <c:pt idx="132">
                  <c:v>0.37</c:v>
                </c:pt>
                <c:pt idx="133">
                  <c:v>0.37</c:v>
                </c:pt>
                <c:pt idx="134">
                  <c:v>0.37</c:v>
                </c:pt>
                <c:pt idx="135">
                  <c:v>0.37</c:v>
                </c:pt>
                <c:pt idx="136">
                  <c:v>0.37</c:v>
                </c:pt>
                <c:pt idx="137">
                  <c:v>0.37</c:v>
                </c:pt>
                <c:pt idx="138">
                  <c:v>0.37</c:v>
                </c:pt>
                <c:pt idx="139">
                  <c:v>0.37</c:v>
                </c:pt>
                <c:pt idx="140">
                  <c:v>0.37</c:v>
                </c:pt>
                <c:pt idx="141">
                  <c:v>0.37</c:v>
                </c:pt>
                <c:pt idx="142">
                  <c:v>0.37</c:v>
                </c:pt>
                <c:pt idx="143">
                  <c:v>0.37</c:v>
                </c:pt>
                <c:pt idx="144">
                  <c:v>0.37</c:v>
                </c:pt>
                <c:pt idx="145">
                  <c:v>0.37</c:v>
                </c:pt>
                <c:pt idx="146">
                  <c:v>0.37</c:v>
                </c:pt>
                <c:pt idx="147">
                  <c:v>0.37</c:v>
                </c:pt>
                <c:pt idx="148">
                  <c:v>0.37</c:v>
                </c:pt>
                <c:pt idx="149">
                  <c:v>0.37</c:v>
                </c:pt>
                <c:pt idx="150">
                  <c:v>0.37</c:v>
                </c:pt>
                <c:pt idx="151">
                  <c:v>0.37</c:v>
                </c:pt>
                <c:pt idx="152">
                  <c:v>0.37</c:v>
                </c:pt>
                <c:pt idx="153">
                  <c:v>0.37</c:v>
                </c:pt>
                <c:pt idx="154">
                  <c:v>0.37</c:v>
                </c:pt>
                <c:pt idx="155">
                  <c:v>0.37</c:v>
                </c:pt>
                <c:pt idx="156">
                  <c:v>0.37</c:v>
                </c:pt>
                <c:pt idx="157">
                  <c:v>0.37</c:v>
                </c:pt>
                <c:pt idx="158">
                  <c:v>0.37</c:v>
                </c:pt>
                <c:pt idx="159">
                  <c:v>0.37</c:v>
                </c:pt>
                <c:pt idx="160">
                  <c:v>0.37</c:v>
                </c:pt>
                <c:pt idx="161">
                  <c:v>0.37</c:v>
                </c:pt>
                <c:pt idx="162">
                  <c:v>0.37</c:v>
                </c:pt>
                <c:pt idx="163">
                  <c:v>0.37</c:v>
                </c:pt>
                <c:pt idx="164">
                  <c:v>0.37</c:v>
                </c:pt>
                <c:pt idx="165">
                  <c:v>0.37</c:v>
                </c:pt>
                <c:pt idx="166">
                  <c:v>0.37</c:v>
                </c:pt>
                <c:pt idx="167">
                  <c:v>0.37</c:v>
                </c:pt>
                <c:pt idx="168">
                  <c:v>0.37</c:v>
                </c:pt>
                <c:pt idx="169">
                  <c:v>0.37</c:v>
                </c:pt>
                <c:pt idx="170">
                  <c:v>0.37</c:v>
                </c:pt>
                <c:pt idx="171">
                  <c:v>0.37</c:v>
                </c:pt>
                <c:pt idx="172">
                  <c:v>0.37</c:v>
                </c:pt>
                <c:pt idx="173">
                  <c:v>0.37</c:v>
                </c:pt>
                <c:pt idx="174">
                  <c:v>0.37</c:v>
                </c:pt>
                <c:pt idx="175">
                  <c:v>0.37</c:v>
                </c:pt>
                <c:pt idx="176">
                  <c:v>0.37</c:v>
                </c:pt>
                <c:pt idx="177">
                  <c:v>0.37</c:v>
                </c:pt>
                <c:pt idx="178">
                  <c:v>0.37</c:v>
                </c:pt>
                <c:pt idx="179">
                  <c:v>0.37</c:v>
                </c:pt>
                <c:pt idx="180">
                  <c:v>0.37</c:v>
                </c:pt>
                <c:pt idx="181">
                  <c:v>0.37</c:v>
                </c:pt>
                <c:pt idx="182">
                  <c:v>0.37</c:v>
                </c:pt>
                <c:pt idx="183">
                  <c:v>0.37</c:v>
                </c:pt>
                <c:pt idx="184">
                  <c:v>0.37</c:v>
                </c:pt>
                <c:pt idx="185">
                  <c:v>0.37</c:v>
                </c:pt>
                <c:pt idx="186">
                  <c:v>0.37</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4-0D42-4F1F-8927-9002649D2FFF}"/>
            </c:ext>
          </c:extLst>
        </c:ser>
        <c:dLbls>
          <c:showLegendKey val="0"/>
          <c:showVal val="0"/>
          <c:showCatName val="0"/>
          <c:showSerName val="0"/>
          <c:showPercent val="0"/>
          <c:showBubbleSize val="0"/>
        </c:dLbls>
        <c:smooth val="0"/>
        <c:axId val="834278431"/>
        <c:axId val="834284671"/>
      </c:lineChart>
      <c:catAx>
        <c:axId val="834278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834284671"/>
        <c:crosses val="autoZero"/>
        <c:auto val="1"/>
        <c:lblAlgn val="ctr"/>
        <c:lblOffset val="100"/>
        <c:noMultiLvlLbl val="0"/>
      </c:catAx>
      <c:valAx>
        <c:axId val="834284671"/>
        <c:scaling>
          <c:orientation val="minMax"/>
          <c:min val="0.2"/>
        </c:scaling>
        <c:delete val="0"/>
        <c:axPos val="l"/>
        <c:majorGridlines>
          <c:spPr>
            <a:ln w="9525" cap="flat" cmpd="sng" algn="ctr">
              <a:solidFill>
                <a:schemeClr val="tx1">
                  <a:lumMod val="15000"/>
                  <a:lumOff val="85000"/>
                </a:schemeClr>
              </a:solidFill>
              <a:round/>
            </a:ln>
            <a:effectLst/>
          </c:spPr>
        </c:majorGridlines>
        <c:numFmt formatCode="#,##0.00_);[Red]\(#,##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8342784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金属硅周度图表!$AX$1</c:f>
          <c:strCache>
            <c:ptCount val="1"/>
            <c:pt idx="0">
              <c:v>周度成本</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manualLayout>
          <c:layoutTarget val="inner"/>
          <c:xMode val="edge"/>
          <c:yMode val="edge"/>
          <c:x val="0.12326412037037036"/>
          <c:y val="0.1583872984757459"/>
          <c:w val="0.84439791666666664"/>
          <c:h val="0.54889054433751361"/>
        </c:manualLayout>
      </c:layout>
      <c:lineChart>
        <c:grouping val="standard"/>
        <c:varyColors val="0"/>
        <c:ser>
          <c:idx val="0"/>
          <c:order val="0"/>
          <c:tx>
            <c:strRef>
              <c:f>金属硅周度图表!$AY$2</c:f>
              <c:strCache>
                <c:ptCount val="1"/>
                <c:pt idx="0">
                  <c:v>2020</c:v>
                </c:pt>
              </c:strCache>
            </c:strRef>
          </c:tx>
          <c:spPr>
            <a:ln w="19050" cap="rnd">
              <a:solidFill>
                <a:srgbClr val="7030A0">
                  <a:alpha val="60000"/>
                </a:srgbClr>
              </a:solidFill>
              <a:round/>
            </a:ln>
            <a:effectLst/>
          </c:spPr>
          <c:marker>
            <c:symbol val="none"/>
          </c:marker>
          <c:cat>
            <c:strRef>
              <c:f>金属硅周度图表!$AX$3:$AX$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AY$3:$AY$368</c:f>
              <c:numCache>
                <c:formatCode>General</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10601.82</c:v>
                </c:pt>
                <c:pt idx="17">
                  <c:v>#N/A</c:v>
                </c:pt>
                <c:pt idx="18">
                  <c:v>#N/A</c:v>
                </c:pt>
                <c:pt idx="19">
                  <c:v>#N/A</c:v>
                </c:pt>
                <c:pt idx="20">
                  <c:v>#N/A</c:v>
                </c:pt>
                <c:pt idx="21">
                  <c:v>#N/A</c:v>
                </c:pt>
                <c:pt idx="22">
                  <c:v>#N/A</c:v>
                </c:pt>
                <c:pt idx="23">
                  <c:v>10565.29</c:v>
                </c:pt>
                <c:pt idx="24">
                  <c:v>#N/A</c:v>
                </c:pt>
                <c:pt idx="25">
                  <c:v>#N/A</c:v>
                </c:pt>
                <c:pt idx="26">
                  <c:v>#N/A</c:v>
                </c:pt>
                <c:pt idx="27">
                  <c:v>#N/A</c:v>
                </c:pt>
                <c:pt idx="28">
                  <c:v>#N/A</c:v>
                </c:pt>
                <c:pt idx="29">
                  <c:v>#N/A</c:v>
                </c:pt>
                <c:pt idx="30">
                  <c:v>10565.29</c:v>
                </c:pt>
                <c:pt idx="31">
                  <c:v>#N/A</c:v>
                </c:pt>
                <c:pt idx="32">
                  <c:v>#N/A</c:v>
                </c:pt>
                <c:pt idx="33">
                  <c:v>#N/A</c:v>
                </c:pt>
                <c:pt idx="34">
                  <c:v>#N/A</c:v>
                </c:pt>
                <c:pt idx="35">
                  <c:v>#N/A</c:v>
                </c:pt>
                <c:pt idx="36">
                  <c:v>#N/A</c:v>
                </c:pt>
                <c:pt idx="37">
                  <c:v>10565.29</c:v>
                </c:pt>
                <c:pt idx="38">
                  <c:v>#N/A</c:v>
                </c:pt>
                <c:pt idx="39">
                  <c:v>#N/A</c:v>
                </c:pt>
                <c:pt idx="40">
                  <c:v>#N/A</c:v>
                </c:pt>
                <c:pt idx="41">
                  <c:v>#N/A</c:v>
                </c:pt>
                <c:pt idx="42">
                  <c:v>#N/A</c:v>
                </c:pt>
                <c:pt idx="43">
                  <c:v>#N/A</c:v>
                </c:pt>
                <c:pt idx="44">
                  <c:v>10615.29</c:v>
                </c:pt>
                <c:pt idx="45">
                  <c:v>#N/A</c:v>
                </c:pt>
                <c:pt idx="46">
                  <c:v>#N/A</c:v>
                </c:pt>
                <c:pt idx="47">
                  <c:v>#N/A</c:v>
                </c:pt>
                <c:pt idx="48">
                  <c:v>#N/A</c:v>
                </c:pt>
                <c:pt idx="49">
                  <c:v>#N/A</c:v>
                </c:pt>
                <c:pt idx="50">
                  <c:v>#N/A</c:v>
                </c:pt>
                <c:pt idx="51">
                  <c:v>10615.29</c:v>
                </c:pt>
                <c:pt idx="52">
                  <c:v>#N/A</c:v>
                </c:pt>
                <c:pt idx="53">
                  <c:v>#N/A</c:v>
                </c:pt>
                <c:pt idx="54">
                  <c:v>#N/A</c:v>
                </c:pt>
                <c:pt idx="55">
                  <c:v>#N/A</c:v>
                </c:pt>
                <c:pt idx="56">
                  <c:v>#N/A</c:v>
                </c:pt>
                <c:pt idx="57">
                  <c:v>#N/A</c:v>
                </c:pt>
                <c:pt idx="58">
                  <c:v>10716.43</c:v>
                </c:pt>
                <c:pt idx="59">
                  <c:v>#N/A</c:v>
                </c:pt>
                <c:pt idx="60">
                  <c:v>#N/A</c:v>
                </c:pt>
                <c:pt idx="61">
                  <c:v>#N/A</c:v>
                </c:pt>
                <c:pt idx="62">
                  <c:v>#N/A</c:v>
                </c:pt>
                <c:pt idx="63">
                  <c:v>#N/A</c:v>
                </c:pt>
                <c:pt idx="64">
                  <c:v>#N/A</c:v>
                </c:pt>
                <c:pt idx="65">
                  <c:v>10716.43</c:v>
                </c:pt>
                <c:pt idx="66">
                  <c:v>#N/A</c:v>
                </c:pt>
                <c:pt idx="67">
                  <c:v>#N/A</c:v>
                </c:pt>
                <c:pt idx="68">
                  <c:v>#N/A</c:v>
                </c:pt>
                <c:pt idx="69">
                  <c:v>#N/A</c:v>
                </c:pt>
                <c:pt idx="70">
                  <c:v>#N/A</c:v>
                </c:pt>
                <c:pt idx="71">
                  <c:v>#N/A</c:v>
                </c:pt>
                <c:pt idx="72">
                  <c:v>10707.58</c:v>
                </c:pt>
                <c:pt idx="73">
                  <c:v>#N/A</c:v>
                </c:pt>
                <c:pt idx="74">
                  <c:v>#N/A</c:v>
                </c:pt>
                <c:pt idx="75">
                  <c:v>#N/A</c:v>
                </c:pt>
                <c:pt idx="76">
                  <c:v>#N/A</c:v>
                </c:pt>
                <c:pt idx="77">
                  <c:v>#N/A</c:v>
                </c:pt>
                <c:pt idx="78">
                  <c:v>#N/A</c:v>
                </c:pt>
                <c:pt idx="79">
                  <c:v>10703.13</c:v>
                </c:pt>
                <c:pt idx="80">
                  <c:v>#N/A</c:v>
                </c:pt>
                <c:pt idx="81">
                  <c:v>#N/A</c:v>
                </c:pt>
                <c:pt idx="82">
                  <c:v>#N/A</c:v>
                </c:pt>
                <c:pt idx="83">
                  <c:v>#N/A</c:v>
                </c:pt>
                <c:pt idx="84">
                  <c:v>#N/A</c:v>
                </c:pt>
                <c:pt idx="85">
                  <c:v>#N/A</c:v>
                </c:pt>
                <c:pt idx="86">
                  <c:v>10703.13</c:v>
                </c:pt>
                <c:pt idx="87">
                  <c:v>#N/A</c:v>
                </c:pt>
                <c:pt idx="88">
                  <c:v>#N/A</c:v>
                </c:pt>
                <c:pt idx="89">
                  <c:v>#N/A</c:v>
                </c:pt>
                <c:pt idx="90">
                  <c:v>#N/A</c:v>
                </c:pt>
                <c:pt idx="91">
                  <c:v>#N/A</c:v>
                </c:pt>
                <c:pt idx="92">
                  <c:v>#N/A</c:v>
                </c:pt>
                <c:pt idx="93">
                  <c:v>10700.56</c:v>
                </c:pt>
                <c:pt idx="94">
                  <c:v>#N/A</c:v>
                </c:pt>
                <c:pt idx="95">
                  <c:v>#N/A</c:v>
                </c:pt>
                <c:pt idx="96">
                  <c:v>#N/A</c:v>
                </c:pt>
                <c:pt idx="97">
                  <c:v>#N/A</c:v>
                </c:pt>
                <c:pt idx="98">
                  <c:v>#N/A</c:v>
                </c:pt>
                <c:pt idx="99">
                  <c:v>#N/A</c:v>
                </c:pt>
                <c:pt idx="100">
                  <c:v>10667.1</c:v>
                </c:pt>
                <c:pt idx="101">
                  <c:v>#N/A</c:v>
                </c:pt>
                <c:pt idx="102">
                  <c:v>#N/A</c:v>
                </c:pt>
                <c:pt idx="103">
                  <c:v>#N/A</c:v>
                </c:pt>
                <c:pt idx="104">
                  <c:v>#N/A</c:v>
                </c:pt>
                <c:pt idx="105">
                  <c:v>#N/A</c:v>
                </c:pt>
                <c:pt idx="106">
                  <c:v>#N/A</c:v>
                </c:pt>
                <c:pt idx="107">
                  <c:v>10664.18</c:v>
                </c:pt>
                <c:pt idx="108">
                  <c:v>#N/A</c:v>
                </c:pt>
                <c:pt idx="109">
                  <c:v>#N/A</c:v>
                </c:pt>
                <c:pt idx="110">
                  <c:v>#N/A</c:v>
                </c:pt>
                <c:pt idx="111">
                  <c:v>#N/A</c:v>
                </c:pt>
                <c:pt idx="112">
                  <c:v>#N/A</c:v>
                </c:pt>
                <c:pt idx="113">
                  <c:v>#N/A</c:v>
                </c:pt>
                <c:pt idx="114">
                  <c:v>10661.44</c:v>
                </c:pt>
                <c:pt idx="115">
                  <c:v>#N/A</c:v>
                </c:pt>
                <c:pt idx="116">
                  <c:v>#N/A</c:v>
                </c:pt>
                <c:pt idx="117">
                  <c:v>#N/A</c:v>
                </c:pt>
                <c:pt idx="118">
                  <c:v>#N/A</c:v>
                </c:pt>
                <c:pt idx="119">
                  <c:v>#N/A</c:v>
                </c:pt>
                <c:pt idx="120">
                  <c:v>#N/A</c:v>
                </c:pt>
                <c:pt idx="121">
                  <c:v>10637.77</c:v>
                </c:pt>
                <c:pt idx="122">
                  <c:v>#N/A</c:v>
                </c:pt>
                <c:pt idx="123">
                  <c:v>#N/A</c:v>
                </c:pt>
                <c:pt idx="124">
                  <c:v>#N/A</c:v>
                </c:pt>
                <c:pt idx="125">
                  <c:v>#N/A</c:v>
                </c:pt>
                <c:pt idx="126">
                  <c:v>#N/A</c:v>
                </c:pt>
                <c:pt idx="127">
                  <c:v>#N/A</c:v>
                </c:pt>
                <c:pt idx="128">
                  <c:v>10630.1</c:v>
                </c:pt>
                <c:pt idx="129">
                  <c:v>#N/A</c:v>
                </c:pt>
                <c:pt idx="130">
                  <c:v>#N/A</c:v>
                </c:pt>
                <c:pt idx="131">
                  <c:v>#N/A</c:v>
                </c:pt>
                <c:pt idx="132">
                  <c:v>#N/A</c:v>
                </c:pt>
                <c:pt idx="133">
                  <c:v>#N/A</c:v>
                </c:pt>
                <c:pt idx="134">
                  <c:v>#N/A</c:v>
                </c:pt>
                <c:pt idx="135">
                  <c:v>10558.06</c:v>
                </c:pt>
                <c:pt idx="136">
                  <c:v>#N/A</c:v>
                </c:pt>
                <c:pt idx="137">
                  <c:v>#N/A</c:v>
                </c:pt>
                <c:pt idx="138">
                  <c:v>#N/A</c:v>
                </c:pt>
                <c:pt idx="139">
                  <c:v>#N/A</c:v>
                </c:pt>
                <c:pt idx="140">
                  <c:v>#N/A</c:v>
                </c:pt>
                <c:pt idx="141">
                  <c:v>#N/A</c:v>
                </c:pt>
                <c:pt idx="142">
                  <c:v>10503.17</c:v>
                </c:pt>
                <c:pt idx="143">
                  <c:v>#N/A</c:v>
                </c:pt>
                <c:pt idx="144">
                  <c:v>#N/A</c:v>
                </c:pt>
                <c:pt idx="145">
                  <c:v>#N/A</c:v>
                </c:pt>
                <c:pt idx="146">
                  <c:v>#N/A</c:v>
                </c:pt>
                <c:pt idx="147">
                  <c:v>#N/A</c:v>
                </c:pt>
                <c:pt idx="148">
                  <c:v>#N/A</c:v>
                </c:pt>
                <c:pt idx="149">
                  <c:v>10485.82</c:v>
                </c:pt>
                <c:pt idx="150">
                  <c:v>#N/A</c:v>
                </c:pt>
                <c:pt idx="151">
                  <c:v>#N/A</c:v>
                </c:pt>
                <c:pt idx="152">
                  <c:v>#N/A</c:v>
                </c:pt>
                <c:pt idx="153">
                  <c:v>#N/A</c:v>
                </c:pt>
                <c:pt idx="154">
                  <c:v>#N/A</c:v>
                </c:pt>
                <c:pt idx="155">
                  <c:v>#N/A</c:v>
                </c:pt>
                <c:pt idx="156">
                  <c:v>9842.44</c:v>
                </c:pt>
                <c:pt idx="157">
                  <c:v>#N/A</c:v>
                </c:pt>
                <c:pt idx="158">
                  <c:v>#N/A</c:v>
                </c:pt>
                <c:pt idx="159">
                  <c:v>#N/A</c:v>
                </c:pt>
                <c:pt idx="160">
                  <c:v>#N/A</c:v>
                </c:pt>
                <c:pt idx="161">
                  <c:v>#N/A</c:v>
                </c:pt>
                <c:pt idx="162">
                  <c:v>#N/A</c:v>
                </c:pt>
                <c:pt idx="163">
                  <c:v>9845.0300000000007</c:v>
                </c:pt>
                <c:pt idx="164">
                  <c:v>#N/A</c:v>
                </c:pt>
                <c:pt idx="165">
                  <c:v>#N/A</c:v>
                </c:pt>
                <c:pt idx="166">
                  <c:v>#N/A</c:v>
                </c:pt>
                <c:pt idx="167">
                  <c:v>#N/A</c:v>
                </c:pt>
                <c:pt idx="168">
                  <c:v>#N/A</c:v>
                </c:pt>
                <c:pt idx="169">
                  <c:v>#N/A</c:v>
                </c:pt>
                <c:pt idx="170">
                  <c:v>9833.18</c:v>
                </c:pt>
                <c:pt idx="171">
                  <c:v>#N/A</c:v>
                </c:pt>
                <c:pt idx="172">
                  <c:v>#N/A</c:v>
                </c:pt>
                <c:pt idx="173">
                  <c:v>#N/A</c:v>
                </c:pt>
                <c:pt idx="174">
                  <c:v>#N/A</c:v>
                </c:pt>
                <c:pt idx="175">
                  <c:v>#N/A</c:v>
                </c:pt>
                <c:pt idx="176">
                  <c:v>#N/A</c:v>
                </c:pt>
                <c:pt idx="177">
                  <c:v>9833.18</c:v>
                </c:pt>
                <c:pt idx="178">
                  <c:v>#N/A</c:v>
                </c:pt>
                <c:pt idx="179">
                  <c:v>#N/A</c:v>
                </c:pt>
                <c:pt idx="180">
                  <c:v>#N/A</c:v>
                </c:pt>
                <c:pt idx="181">
                  <c:v>#N/A</c:v>
                </c:pt>
                <c:pt idx="182">
                  <c:v>#N/A</c:v>
                </c:pt>
                <c:pt idx="183">
                  <c:v>#N/A</c:v>
                </c:pt>
                <c:pt idx="184">
                  <c:v>9833.18</c:v>
                </c:pt>
                <c:pt idx="185">
                  <c:v>#N/A</c:v>
                </c:pt>
                <c:pt idx="186">
                  <c:v>#N/A</c:v>
                </c:pt>
                <c:pt idx="187">
                  <c:v>#N/A</c:v>
                </c:pt>
                <c:pt idx="188">
                  <c:v>#N/A</c:v>
                </c:pt>
                <c:pt idx="189">
                  <c:v>#N/A</c:v>
                </c:pt>
                <c:pt idx="190">
                  <c:v>#N/A</c:v>
                </c:pt>
                <c:pt idx="191">
                  <c:v>9827.99</c:v>
                </c:pt>
                <c:pt idx="192">
                  <c:v>#N/A</c:v>
                </c:pt>
                <c:pt idx="193">
                  <c:v>#N/A</c:v>
                </c:pt>
                <c:pt idx="194">
                  <c:v>#N/A</c:v>
                </c:pt>
                <c:pt idx="195">
                  <c:v>#N/A</c:v>
                </c:pt>
                <c:pt idx="196">
                  <c:v>#N/A</c:v>
                </c:pt>
                <c:pt idx="197">
                  <c:v>#N/A</c:v>
                </c:pt>
                <c:pt idx="198">
                  <c:v>9827.99</c:v>
                </c:pt>
                <c:pt idx="199">
                  <c:v>#N/A</c:v>
                </c:pt>
                <c:pt idx="200">
                  <c:v>#N/A</c:v>
                </c:pt>
                <c:pt idx="201">
                  <c:v>#N/A</c:v>
                </c:pt>
                <c:pt idx="202">
                  <c:v>#N/A</c:v>
                </c:pt>
                <c:pt idx="203">
                  <c:v>#N/A</c:v>
                </c:pt>
                <c:pt idx="204">
                  <c:v>#N/A</c:v>
                </c:pt>
                <c:pt idx="205">
                  <c:v>9845.4</c:v>
                </c:pt>
                <c:pt idx="206">
                  <c:v>#N/A</c:v>
                </c:pt>
                <c:pt idx="207">
                  <c:v>#N/A</c:v>
                </c:pt>
                <c:pt idx="208">
                  <c:v>#N/A</c:v>
                </c:pt>
                <c:pt idx="209">
                  <c:v>#N/A</c:v>
                </c:pt>
                <c:pt idx="210">
                  <c:v>#N/A</c:v>
                </c:pt>
                <c:pt idx="211">
                  <c:v>#N/A</c:v>
                </c:pt>
                <c:pt idx="212">
                  <c:v>9845.4</c:v>
                </c:pt>
                <c:pt idx="213">
                  <c:v>#N/A</c:v>
                </c:pt>
                <c:pt idx="214">
                  <c:v>#N/A</c:v>
                </c:pt>
                <c:pt idx="215">
                  <c:v>#N/A</c:v>
                </c:pt>
                <c:pt idx="216">
                  <c:v>#N/A</c:v>
                </c:pt>
                <c:pt idx="217">
                  <c:v>#N/A</c:v>
                </c:pt>
                <c:pt idx="218">
                  <c:v>#N/A</c:v>
                </c:pt>
                <c:pt idx="219">
                  <c:v>9844.2900000000009</c:v>
                </c:pt>
                <c:pt idx="220">
                  <c:v>#N/A</c:v>
                </c:pt>
                <c:pt idx="221">
                  <c:v>#N/A</c:v>
                </c:pt>
                <c:pt idx="222">
                  <c:v>#N/A</c:v>
                </c:pt>
                <c:pt idx="223">
                  <c:v>#N/A</c:v>
                </c:pt>
                <c:pt idx="224">
                  <c:v>#N/A</c:v>
                </c:pt>
                <c:pt idx="225">
                  <c:v>#N/A</c:v>
                </c:pt>
                <c:pt idx="226">
                  <c:v>9845.0300000000007</c:v>
                </c:pt>
                <c:pt idx="227">
                  <c:v>#N/A</c:v>
                </c:pt>
                <c:pt idx="228">
                  <c:v>#N/A</c:v>
                </c:pt>
                <c:pt idx="229">
                  <c:v>#N/A</c:v>
                </c:pt>
                <c:pt idx="230">
                  <c:v>#N/A</c:v>
                </c:pt>
                <c:pt idx="231">
                  <c:v>#N/A</c:v>
                </c:pt>
                <c:pt idx="232">
                  <c:v>#N/A</c:v>
                </c:pt>
                <c:pt idx="233">
                  <c:v>9957.6200000000008</c:v>
                </c:pt>
                <c:pt idx="234">
                  <c:v>#N/A</c:v>
                </c:pt>
                <c:pt idx="235">
                  <c:v>#N/A</c:v>
                </c:pt>
                <c:pt idx="236">
                  <c:v>#N/A</c:v>
                </c:pt>
                <c:pt idx="237">
                  <c:v>#N/A</c:v>
                </c:pt>
                <c:pt idx="238">
                  <c:v>#N/A</c:v>
                </c:pt>
                <c:pt idx="239">
                  <c:v>#N/A</c:v>
                </c:pt>
                <c:pt idx="240">
                  <c:v>9957.6200000000008</c:v>
                </c:pt>
                <c:pt idx="241">
                  <c:v>#N/A</c:v>
                </c:pt>
                <c:pt idx="242">
                  <c:v>#N/A</c:v>
                </c:pt>
                <c:pt idx="243">
                  <c:v>#N/A</c:v>
                </c:pt>
                <c:pt idx="244">
                  <c:v>#N/A</c:v>
                </c:pt>
                <c:pt idx="245">
                  <c:v>#N/A</c:v>
                </c:pt>
                <c:pt idx="246">
                  <c:v>#N/A</c:v>
                </c:pt>
                <c:pt idx="247">
                  <c:v>9957.6200000000008</c:v>
                </c:pt>
                <c:pt idx="248">
                  <c:v>#N/A</c:v>
                </c:pt>
                <c:pt idx="249">
                  <c:v>#N/A</c:v>
                </c:pt>
                <c:pt idx="250">
                  <c:v>#N/A</c:v>
                </c:pt>
                <c:pt idx="251">
                  <c:v>#N/A</c:v>
                </c:pt>
                <c:pt idx="252">
                  <c:v>#N/A</c:v>
                </c:pt>
                <c:pt idx="253">
                  <c:v>#N/A</c:v>
                </c:pt>
                <c:pt idx="254">
                  <c:v>9977.6200000000008</c:v>
                </c:pt>
                <c:pt idx="255">
                  <c:v>#N/A</c:v>
                </c:pt>
                <c:pt idx="256">
                  <c:v>#N/A</c:v>
                </c:pt>
                <c:pt idx="257">
                  <c:v>#N/A</c:v>
                </c:pt>
                <c:pt idx="258">
                  <c:v>#N/A</c:v>
                </c:pt>
                <c:pt idx="259">
                  <c:v>#N/A</c:v>
                </c:pt>
                <c:pt idx="260">
                  <c:v>#N/A</c:v>
                </c:pt>
                <c:pt idx="261">
                  <c:v>9979.84</c:v>
                </c:pt>
                <c:pt idx="262">
                  <c:v>#N/A</c:v>
                </c:pt>
                <c:pt idx="263">
                  <c:v>#N/A</c:v>
                </c:pt>
                <c:pt idx="264">
                  <c:v>#N/A</c:v>
                </c:pt>
                <c:pt idx="265">
                  <c:v>#N/A</c:v>
                </c:pt>
                <c:pt idx="266">
                  <c:v>#N/A</c:v>
                </c:pt>
                <c:pt idx="267">
                  <c:v>#N/A</c:v>
                </c:pt>
                <c:pt idx="268">
                  <c:v>10101.33</c:v>
                </c:pt>
                <c:pt idx="269">
                  <c:v>#N/A</c:v>
                </c:pt>
                <c:pt idx="270">
                  <c:v>#N/A</c:v>
                </c:pt>
                <c:pt idx="271">
                  <c:v>#N/A</c:v>
                </c:pt>
                <c:pt idx="272">
                  <c:v>#N/A</c:v>
                </c:pt>
                <c:pt idx="273">
                  <c:v>#N/A</c:v>
                </c:pt>
                <c:pt idx="274">
                  <c:v>#N/A</c:v>
                </c:pt>
                <c:pt idx="275">
                  <c:v>10130.209999999999</c:v>
                </c:pt>
                <c:pt idx="276">
                  <c:v>#N/A</c:v>
                </c:pt>
                <c:pt idx="277">
                  <c:v>#N/A</c:v>
                </c:pt>
                <c:pt idx="278">
                  <c:v>#N/A</c:v>
                </c:pt>
                <c:pt idx="279">
                  <c:v>#N/A</c:v>
                </c:pt>
                <c:pt idx="280">
                  <c:v>#N/A</c:v>
                </c:pt>
                <c:pt idx="281">
                  <c:v>#N/A</c:v>
                </c:pt>
                <c:pt idx="282">
                  <c:v>10136.879999999999</c:v>
                </c:pt>
                <c:pt idx="283">
                  <c:v>#N/A</c:v>
                </c:pt>
                <c:pt idx="284">
                  <c:v>#N/A</c:v>
                </c:pt>
                <c:pt idx="285">
                  <c:v>#N/A</c:v>
                </c:pt>
                <c:pt idx="286">
                  <c:v>#N/A</c:v>
                </c:pt>
                <c:pt idx="287">
                  <c:v>#N/A</c:v>
                </c:pt>
                <c:pt idx="288">
                  <c:v>#N/A</c:v>
                </c:pt>
                <c:pt idx="289">
                  <c:v>10173.549999999999</c:v>
                </c:pt>
                <c:pt idx="290">
                  <c:v>#N/A</c:v>
                </c:pt>
                <c:pt idx="291">
                  <c:v>#N/A</c:v>
                </c:pt>
                <c:pt idx="292">
                  <c:v>#N/A</c:v>
                </c:pt>
                <c:pt idx="293">
                  <c:v>#N/A</c:v>
                </c:pt>
                <c:pt idx="294">
                  <c:v>#N/A</c:v>
                </c:pt>
                <c:pt idx="295">
                  <c:v>#N/A</c:v>
                </c:pt>
                <c:pt idx="296">
                  <c:v>10176.14</c:v>
                </c:pt>
                <c:pt idx="297">
                  <c:v>#N/A</c:v>
                </c:pt>
                <c:pt idx="298">
                  <c:v>#N/A</c:v>
                </c:pt>
                <c:pt idx="299">
                  <c:v>#N/A</c:v>
                </c:pt>
                <c:pt idx="300">
                  <c:v>#N/A</c:v>
                </c:pt>
                <c:pt idx="301">
                  <c:v>#N/A</c:v>
                </c:pt>
                <c:pt idx="302">
                  <c:v>#N/A</c:v>
                </c:pt>
                <c:pt idx="303">
                  <c:v>10176.14</c:v>
                </c:pt>
                <c:pt idx="304">
                  <c:v>#N/A</c:v>
                </c:pt>
                <c:pt idx="305">
                  <c:v>#N/A</c:v>
                </c:pt>
                <c:pt idx="306">
                  <c:v>#N/A</c:v>
                </c:pt>
                <c:pt idx="307">
                  <c:v>#N/A</c:v>
                </c:pt>
                <c:pt idx="308">
                  <c:v>#N/A</c:v>
                </c:pt>
                <c:pt idx="309">
                  <c:v>#N/A</c:v>
                </c:pt>
                <c:pt idx="310">
                  <c:v>10176.14</c:v>
                </c:pt>
                <c:pt idx="311">
                  <c:v>#N/A</c:v>
                </c:pt>
                <c:pt idx="312">
                  <c:v>#N/A</c:v>
                </c:pt>
                <c:pt idx="313">
                  <c:v>#N/A</c:v>
                </c:pt>
                <c:pt idx="314">
                  <c:v>#N/A</c:v>
                </c:pt>
                <c:pt idx="315">
                  <c:v>#N/A</c:v>
                </c:pt>
                <c:pt idx="316">
                  <c:v>#N/A</c:v>
                </c:pt>
                <c:pt idx="317">
                  <c:v>10241.1</c:v>
                </c:pt>
                <c:pt idx="318">
                  <c:v>#N/A</c:v>
                </c:pt>
                <c:pt idx="319">
                  <c:v>#N/A</c:v>
                </c:pt>
                <c:pt idx="320">
                  <c:v>#N/A</c:v>
                </c:pt>
                <c:pt idx="321">
                  <c:v>#N/A</c:v>
                </c:pt>
                <c:pt idx="322">
                  <c:v>#N/A</c:v>
                </c:pt>
                <c:pt idx="323">
                  <c:v>#N/A</c:v>
                </c:pt>
                <c:pt idx="324">
                  <c:v>10256.24</c:v>
                </c:pt>
                <c:pt idx="325">
                  <c:v>#N/A</c:v>
                </c:pt>
                <c:pt idx="326">
                  <c:v>#N/A</c:v>
                </c:pt>
                <c:pt idx="327">
                  <c:v>#N/A</c:v>
                </c:pt>
                <c:pt idx="328">
                  <c:v>#N/A</c:v>
                </c:pt>
                <c:pt idx="329">
                  <c:v>#N/A</c:v>
                </c:pt>
                <c:pt idx="330">
                  <c:v>#N/A</c:v>
                </c:pt>
                <c:pt idx="331">
                  <c:v>10354.370000000001</c:v>
                </c:pt>
                <c:pt idx="332">
                  <c:v>#N/A</c:v>
                </c:pt>
                <c:pt idx="333">
                  <c:v>#N/A</c:v>
                </c:pt>
                <c:pt idx="334">
                  <c:v>#N/A</c:v>
                </c:pt>
                <c:pt idx="335">
                  <c:v>#N/A</c:v>
                </c:pt>
                <c:pt idx="336">
                  <c:v>#N/A</c:v>
                </c:pt>
                <c:pt idx="337">
                  <c:v>#N/A</c:v>
                </c:pt>
                <c:pt idx="338">
                  <c:v>10441.959999999999</c:v>
                </c:pt>
                <c:pt idx="339">
                  <c:v>#N/A</c:v>
                </c:pt>
                <c:pt idx="340">
                  <c:v>#N/A</c:v>
                </c:pt>
                <c:pt idx="341">
                  <c:v>#N/A</c:v>
                </c:pt>
                <c:pt idx="342">
                  <c:v>#N/A</c:v>
                </c:pt>
                <c:pt idx="343">
                  <c:v>#N/A</c:v>
                </c:pt>
                <c:pt idx="344">
                  <c:v>#N/A</c:v>
                </c:pt>
                <c:pt idx="345">
                  <c:v>10441.959999999999</c:v>
                </c:pt>
                <c:pt idx="346">
                  <c:v>#N/A</c:v>
                </c:pt>
                <c:pt idx="347">
                  <c:v>#N/A</c:v>
                </c:pt>
                <c:pt idx="348">
                  <c:v>#N/A</c:v>
                </c:pt>
                <c:pt idx="349">
                  <c:v>#N/A</c:v>
                </c:pt>
                <c:pt idx="350">
                  <c:v>#N/A</c:v>
                </c:pt>
                <c:pt idx="351">
                  <c:v>#N/A</c:v>
                </c:pt>
                <c:pt idx="352">
                  <c:v>10441.959999999999</c:v>
                </c:pt>
                <c:pt idx="353">
                  <c:v>#N/A</c:v>
                </c:pt>
                <c:pt idx="354">
                  <c:v>#N/A</c:v>
                </c:pt>
                <c:pt idx="355">
                  <c:v>#N/A</c:v>
                </c:pt>
                <c:pt idx="356">
                  <c:v>#N/A</c:v>
                </c:pt>
                <c:pt idx="357">
                  <c:v>#N/A</c:v>
                </c:pt>
                <c:pt idx="358">
                  <c:v>#N/A</c:v>
                </c:pt>
                <c:pt idx="359">
                  <c:v>10442.69</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0-3A13-4F80-A1C3-20DC9089A29D}"/>
            </c:ext>
          </c:extLst>
        </c:ser>
        <c:ser>
          <c:idx val="1"/>
          <c:order val="1"/>
          <c:tx>
            <c:strRef>
              <c:f>金属硅周度图表!$AZ$2</c:f>
              <c:strCache>
                <c:ptCount val="1"/>
                <c:pt idx="0">
                  <c:v>2021</c:v>
                </c:pt>
              </c:strCache>
            </c:strRef>
          </c:tx>
          <c:spPr>
            <a:ln w="19050" cap="rnd">
              <a:solidFill>
                <a:srgbClr val="B57222">
                  <a:alpha val="60000"/>
                </a:srgbClr>
              </a:solidFill>
              <a:round/>
            </a:ln>
            <a:effectLst/>
          </c:spPr>
          <c:marker>
            <c:symbol val="none"/>
          </c:marker>
          <c:cat>
            <c:strRef>
              <c:f>金属硅周度图表!$AX$3:$AX$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AZ$3:$AZ$368</c:f>
              <c:numCache>
                <c:formatCode>General</c:formatCode>
                <c:ptCount val="366"/>
                <c:pt idx="0">
                  <c:v>10442.69</c:v>
                </c:pt>
                <c:pt idx="1">
                  <c:v>#N/A</c:v>
                </c:pt>
                <c:pt idx="2">
                  <c:v>#N/A</c:v>
                </c:pt>
                <c:pt idx="3">
                  <c:v>#N/A</c:v>
                </c:pt>
                <c:pt idx="4">
                  <c:v>#N/A</c:v>
                </c:pt>
                <c:pt idx="5">
                  <c:v>#N/A</c:v>
                </c:pt>
                <c:pt idx="6">
                  <c:v>#N/A</c:v>
                </c:pt>
                <c:pt idx="7">
                  <c:v>10436.59</c:v>
                </c:pt>
                <c:pt idx="8">
                  <c:v>#N/A</c:v>
                </c:pt>
                <c:pt idx="9">
                  <c:v>#N/A</c:v>
                </c:pt>
                <c:pt idx="10">
                  <c:v>#N/A</c:v>
                </c:pt>
                <c:pt idx="11">
                  <c:v>#N/A</c:v>
                </c:pt>
                <c:pt idx="12">
                  <c:v>#N/A</c:v>
                </c:pt>
                <c:pt idx="13">
                  <c:v>#N/A</c:v>
                </c:pt>
                <c:pt idx="14">
                  <c:v>10442.530000000001</c:v>
                </c:pt>
                <c:pt idx="15">
                  <c:v>#N/A</c:v>
                </c:pt>
                <c:pt idx="16">
                  <c:v>#N/A</c:v>
                </c:pt>
                <c:pt idx="17">
                  <c:v>#N/A</c:v>
                </c:pt>
                <c:pt idx="18">
                  <c:v>#N/A</c:v>
                </c:pt>
                <c:pt idx="19">
                  <c:v>#N/A</c:v>
                </c:pt>
                <c:pt idx="20">
                  <c:v>#N/A</c:v>
                </c:pt>
                <c:pt idx="21">
                  <c:v>10420.56</c:v>
                </c:pt>
                <c:pt idx="22">
                  <c:v>#N/A</c:v>
                </c:pt>
                <c:pt idx="23">
                  <c:v>#N/A</c:v>
                </c:pt>
                <c:pt idx="24">
                  <c:v>#N/A</c:v>
                </c:pt>
                <c:pt idx="25">
                  <c:v>#N/A</c:v>
                </c:pt>
                <c:pt idx="26">
                  <c:v>#N/A</c:v>
                </c:pt>
                <c:pt idx="27">
                  <c:v>#N/A</c:v>
                </c:pt>
                <c:pt idx="28">
                  <c:v>10423.4</c:v>
                </c:pt>
                <c:pt idx="29">
                  <c:v>#N/A</c:v>
                </c:pt>
                <c:pt idx="30">
                  <c:v>#N/A</c:v>
                </c:pt>
                <c:pt idx="31">
                  <c:v>#N/A</c:v>
                </c:pt>
                <c:pt idx="32">
                  <c:v>#N/A</c:v>
                </c:pt>
                <c:pt idx="33">
                  <c:v>#N/A</c:v>
                </c:pt>
                <c:pt idx="34">
                  <c:v>#N/A</c:v>
                </c:pt>
                <c:pt idx="35">
                  <c:v>10423.4</c:v>
                </c:pt>
                <c:pt idx="36">
                  <c:v>#N/A</c:v>
                </c:pt>
                <c:pt idx="37">
                  <c:v>#N/A</c:v>
                </c:pt>
                <c:pt idx="38">
                  <c:v>#N/A</c:v>
                </c:pt>
                <c:pt idx="39">
                  <c:v>#N/A</c:v>
                </c:pt>
                <c:pt idx="40">
                  <c:v>#N/A</c:v>
                </c:pt>
                <c:pt idx="41">
                  <c:v>#N/A</c:v>
                </c:pt>
                <c:pt idx="42">
                  <c:v>10430.49</c:v>
                </c:pt>
                <c:pt idx="43">
                  <c:v>#N/A</c:v>
                </c:pt>
                <c:pt idx="44">
                  <c:v>#N/A</c:v>
                </c:pt>
                <c:pt idx="45">
                  <c:v>#N/A</c:v>
                </c:pt>
                <c:pt idx="46">
                  <c:v>#N/A</c:v>
                </c:pt>
                <c:pt idx="47">
                  <c:v>#N/A</c:v>
                </c:pt>
                <c:pt idx="48">
                  <c:v>#N/A</c:v>
                </c:pt>
                <c:pt idx="49">
                  <c:v>10438.120000000001</c:v>
                </c:pt>
                <c:pt idx="50">
                  <c:v>#N/A</c:v>
                </c:pt>
                <c:pt idx="51">
                  <c:v>#N/A</c:v>
                </c:pt>
                <c:pt idx="52">
                  <c:v>#N/A</c:v>
                </c:pt>
                <c:pt idx="53">
                  <c:v>#N/A</c:v>
                </c:pt>
                <c:pt idx="54">
                  <c:v>#N/A</c:v>
                </c:pt>
                <c:pt idx="55">
                  <c:v>#N/A</c:v>
                </c:pt>
                <c:pt idx="56">
                  <c:v>10438.120000000001</c:v>
                </c:pt>
                <c:pt idx="57">
                  <c:v>#N/A</c:v>
                </c:pt>
                <c:pt idx="58">
                  <c:v>#N/A</c:v>
                </c:pt>
                <c:pt idx="60">
                  <c:v>#N/A</c:v>
                </c:pt>
                <c:pt idx="61">
                  <c:v>#N/A</c:v>
                </c:pt>
                <c:pt idx="62">
                  <c:v>#N/A</c:v>
                </c:pt>
                <c:pt idx="63">
                  <c:v>#N/A</c:v>
                </c:pt>
                <c:pt idx="64">
                  <c:v>10458.39</c:v>
                </c:pt>
                <c:pt idx="65">
                  <c:v>#N/A</c:v>
                </c:pt>
                <c:pt idx="66">
                  <c:v>#N/A</c:v>
                </c:pt>
                <c:pt idx="67">
                  <c:v>#N/A</c:v>
                </c:pt>
                <c:pt idx="68">
                  <c:v>#N/A</c:v>
                </c:pt>
                <c:pt idx="69">
                  <c:v>#N/A</c:v>
                </c:pt>
                <c:pt idx="70">
                  <c:v>#N/A</c:v>
                </c:pt>
                <c:pt idx="71">
                  <c:v>10502.91</c:v>
                </c:pt>
                <c:pt idx="72">
                  <c:v>#N/A</c:v>
                </c:pt>
                <c:pt idx="73">
                  <c:v>#N/A</c:v>
                </c:pt>
                <c:pt idx="74">
                  <c:v>#N/A</c:v>
                </c:pt>
                <c:pt idx="75">
                  <c:v>#N/A</c:v>
                </c:pt>
                <c:pt idx="76">
                  <c:v>#N/A</c:v>
                </c:pt>
                <c:pt idx="77">
                  <c:v>#N/A</c:v>
                </c:pt>
                <c:pt idx="78">
                  <c:v>10502.91</c:v>
                </c:pt>
                <c:pt idx="79">
                  <c:v>#N/A</c:v>
                </c:pt>
                <c:pt idx="80">
                  <c:v>#N/A</c:v>
                </c:pt>
                <c:pt idx="81">
                  <c:v>#N/A</c:v>
                </c:pt>
                <c:pt idx="82">
                  <c:v>#N/A</c:v>
                </c:pt>
                <c:pt idx="83">
                  <c:v>#N/A</c:v>
                </c:pt>
                <c:pt idx="84">
                  <c:v>#N/A</c:v>
                </c:pt>
                <c:pt idx="85">
                  <c:v>10542.53</c:v>
                </c:pt>
                <c:pt idx="86">
                  <c:v>#N/A</c:v>
                </c:pt>
                <c:pt idx="87">
                  <c:v>#N/A</c:v>
                </c:pt>
                <c:pt idx="88">
                  <c:v>#N/A</c:v>
                </c:pt>
                <c:pt idx="89">
                  <c:v>#N/A</c:v>
                </c:pt>
                <c:pt idx="90">
                  <c:v>#N/A</c:v>
                </c:pt>
                <c:pt idx="91">
                  <c:v>#N/A</c:v>
                </c:pt>
                <c:pt idx="92">
                  <c:v>10542.53</c:v>
                </c:pt>
                <c:pt idx="93">
                  <c:v>#N/A</c:v>
                </c:pt>
                <c:pt idx="94">
                  <c:v>#N/A</c:v>
                </c:pt>
                <c:pt idx="95">
                  <c:v>#N/A</c:v>
                </c:pt>
                <c:pt idx="96">
                  <c:v>#N/A</c:v>
                </c:pt>
                <c:pt idx="97">
                  <c:v>#N/A</c:v>
                </c:pt>
                <c:pt idx="98">
                  <c:v>#N/A</c:v>
                </c:pt>
                <c:pt idx="99">
                  <c:v>10536.88</c:v>
                </c:pt>
                <c:pt idx="100">
                  <c:v>#N/A</c:v>
                </c:pt>
                <c:pt idx="101">
                  <c:v>#N/A</c:v>
                </c:pt>
                <c:pt idx="102">
                  <c:v>#N/A</c:v>
                </c:pt>
                <c:pt idx="103">
                  <c:v>#N/A</c:v>
                </c:pt>
                <c:pt idx="104">
                  <c:v>#N/A</c:v>
                </c:pt>
                <c:pt idx="105">
                  <c:v>#N/A</c:v>
                </c:pt>
                <c:pt idx="106">
                  <c:v>10520.68</c:v>
                </c:pt>
                <c:pt idx="107">
                  <c:v>#N/A</c:v>
                </c:pt>
                <c:pt idx="108">
                  <c:v>#N/A</c:v>
                </c:pt>
                <c:pt idx="109">
                  <c:v>#N/A</c:v>
                </c:pt>
                <c:pt idx="110">
                  <c:v>#N/A</c:v>
                </c:pt>
                <c:pt idx="111">
                  <c:v>#N/A</c:v>
                </c:pt>
                <c:pt idx="112">
                  <c:v>#N/A</c:v>
                </c:pt>
                <c:pt idx="113">
                  <c:v>10513.03</c:v>
                </c:pt>
                <c:pt idx="114">
                  <c:v>#N/A</c:v>
                </c:pt>
                <c:pt idx="115">
                  <c:v>#N/A</c:v>
                </c:pt>
                <c:pt idx="116">
                  <c:v>#N/A</c:v>
                </c:pt>
                <c:pt idx="117">
                  <c:v>#N/A</c:v>
                </c:pt>
                <c:pt idx="118">
                  <c:v>#N/A</c:v>
                </c:pt>
                <c:pt idx="119">
                  <c:v>#N/A</c:v>
                </c:pt>
                <c:pt idx="120">
                  <c:v>10508.61</c:v>
                </c:pt>
                <c:pt idx="121">
                  <c:v>#N/A</c:v>
                </c:pt>
                <c:pt idx="122">
                  <c:v>#N/A</c:v>
                </c:pt>
                <c:pt idx="123">
                  <c:v>#N/A</c:v>
                </c:pt>
                <c:pt idx="124">
                  <c:v>#N/A</c:v>
                </c:pt>
                <c:pt idx="125">
                  <c:v>#N/A</c:v>
                </c:pt>
                <c:pt idx="126">
                  <c:v>#N/A</c:v>
                </c:pt>
                <c:pt idx="127">
                  <c:v>10513.78</c:v>
                </c:pt>
                <c:pt idx="128">
                  <c:v>#N/A</c:v>
                </c:pt>
                <c:pt idx="129">
                  <c:v>#N/A</c:v>
                </c:pt>
                <c:pt idx="130">
                  <c:v>#N/A</c:v>
                </c:pt>
                <c:pt idx="131">
                  <c:v>#N/A</c:v>
                </c:pt>
                <c:pt idx="132">
                  <c:v>#N/A</c:v>
                </c:pt>
                <c:pt idx="133">
                  <c:v>#N/A</c:v>
                </c:pt>
                <c:pt idx="134">
                  <c:v>10586.2</c:v>
                </c:pt>
                <c:pt idx="135">
                  <c:v>#N/A</c:v>
                </c:pt>
                <c:pt idx="136">
                  <c:v>#N/A</c:v>
                </c:pt>
                <c:pt idx="137">
                  <c:v>#N/A</c:v>
                </c:pt>
                <c:pt idx="138">
                  <c:v>#N/A</c:v>
                </c:pt>
                <c:pt idx="139">
                  <c:v>#N/A</c:v>
                </c:pt>
                <c:pt idx="140">
                  <c:v>#N/A</c:v>
                </c:pt>
                <c:pt idx="141">
                  <c:v>10588.78</c:v>
                </c:pt>
                <c:pt idx="142">
                  <c:v>#N/A</c:v>
                </c:pt>
                <c:pt idx="143">
                  <c:v>#N/A</c:v>
                </c:pt>
                <c:pt idx="144">
                  <c:v>#N/A</c:v>
                </c:pt>
                <c:pt idx="145">
                  <c:v>#N/A</c:v>
                </c:pt>
                <c:pt idx="146">
                  <c:v>#N/A</c:v>
                </c:pt>
                <c:pt idx="147">
                  <c:v>#N/A</c:v>
                </c:pt>
                <c:pt idx="148">
                  <c:v>10588.78</c:v>
                </c:pt>
                <c:pt idx="149">
                  <c:v>#N/A</c:v>
                </c:pt>
                <c:pt idx="150">
                  <c:v>#N/A</c:v>
                </c:pt>
                <c:pt idx="151">
                  <c:v>#N/A</c:v>
                </c:pt>
                <c:pt idx="152">
                  <c:v>#N/A</c:v>
                </c:pt>
                <c:pt idx="153">
                  <c:v>#N/A</c:v>
                </c:pt>
                <c:pt idx="154">
                  <c:v>#N/A</c:v>
                </c:pt>
                <c:pt idx="155">
                  <c:v>10592.23</c:v>
                </c:pt>
                <c:pt idx="156">
                  <c:v>#N/A</c:v>
                </c:pt>
                <c:pt idx="157">
                  <c:v>#N/A</c:v>
                </c:pt>
                <c:pt idx="158">
                  <c:v>#N/A</c:v>
                </c:pt>
                <c:pt idx="159">
                  <c:v>#N/A</c:v>
                </c:pt>
                <c:pt idx="160">
                  <c:v>#N/A</c:v>
                </c:pt>
                <c:pt idx="161">
                  <c:v>#N/A</c:v>
                </c:pt>
                <c:pt idx="162">
                  <c:v>10595.68</c:v>
                </c:pt>
                <c:pt idx="163">
                  <c:v>#N/A</c:v>
                </c:pt>
                <c:pt idx="164">
                  <c:v>#N/A</c:v>
                </c:pt>
                <c:pt idx="165">
                  <c:v>#N/A</c:v>
                </c:pt>
                <c:pt idx="166">
                  <c:v>#N/A</c:v>
                </c:pt>
                <c:pt idx="167">
                  <c:v>#N/A</c:v>
                </c:pt>
                <c:pt idx="168">
                  <c:v>#N/A</c:v>
                </c:pt>
                <c:pt idx="169">
                  <c:v>10599.99</c:v>
                </c:pt>
                <c:pt idx="170">
                  <c:v>#N/A</c:v>
                </c:pt>
                <c:pt idx="171">
                  <c:v>#N/A</c:v>
                </c:pt>
                <c:pt idx="172">
                  <c:v>#N/A</c:v>
                </c:pt>
                <c:pt idx="173">
                  <c:v>#N/A</c:v>
                </c:pt>
                <c:pt idx="174">
                  <c:v>#N/A</c:v>
                </c:pt>
                <c:pt idx="175">
                  <c:v>#N/A</c:v>
                </c:pt>
                <c:pt idx="176">
                  <c:v>10599.99</c:v>
                </c:pt>
                <c:pt idx="177">
                  <c:v>#N/A</c:v>
                </c:pt>
                <c:pt idx="178">
                  <c:v>#N/A</c:v>
                </c:pt>
                <c:pt idx="179">
                  <c:v>#N/A</c:v>
                </c:pt>
                <c:pt idx="180">
                  <c:v>#N/A</c:v>
                </c:pt>
                <c:pt idx="181">
                  <c:v>#N/A</c:v>
                </c:pt>
                <c:pt idx="182">
                  <c:v>#N/A</c:v>
                </c:pt>
                <c:pt idx="183">
                  <c:v>10599.99</c:v>
                </c:pt>
                <c:pt idx="184">
                  <c:v>#N/A</c:v>
                </c:pt>
                <c:pt idx="185">
                  <c:v>#N/A</c:v>
                </c:pt>
                <c:pt idx="186">
                  <c:v>#N/A</c:v>
                </c:pt>
                <c:pt idx="187">
                  <c:v>#N/A</c:v>
                </c:pt>
                <c:pt idx="188">
                  <c:v>#N/A</c:v>
                </c:pt>
                <c:pt idx="189">
                  <c:v>#N/A</c:v>
                </c:pt>
                <c:pt idx="190">
                  <c:v>10744.93</c:v>
                </c:pt>
                <c:pt idx="191">
                  <c:v>#N/A</c:v>
                </c:pt>
                <c:pt idx="192">
                  <c:v>#N/A</c:v>
                </c:pt>
                <c:pt idx="193">
                  <c:v>#N/A</c:v>
                </c:pt>
                <c:pt idx="194">
                  <c:v>#N/A</c:v>
                </c:pt>
                <c:pt idx="195">
                  <c:v>#N/A</c:v>
                </c:pt>
                <c:pt idx="196">
                  <c:v>#N/A</c:v>
                </c:pt>
                <c:pt idx="197">
                  <c:v>10748.55</c:v>
                </c:pt>
                <c:pt idx="198">
                  <c:v>#N/A</c:v>
                </c:pt>
                <c:pt idx="199">
                  <c:v>#N/A</c:v>
                </c:pt>
                <c:pt idx="200">
                  <c:v>#N/A</c:v>
                </c:pt>
                <c:pt idx="201">
                  <c:v>#N/A</c:v>
                </c:pt>
                <c:pt idx="202">
                  <c:v>#N/A</c:v>
                </c:pt>
                <c:pt idx="203">
                  <c:v>#N/A</c:v>
                </c:pt>
                <c:pt idx="204">
                  <c:v>10748.55</c:v>
                </c:pt>
                <c:pt idx="205">
                  <c:v>#N/A</c:v>
                </c:pt>
                <c:pt idx="206">
                  <c:v>#N/A</c:v>
                </c:pt>
                <c:pt idx="207">
                  <c:v>#N/A</c:v>
                </c:pt>
                <c:pt idx="208">
                  <c:v>#N/A</c:v>
                </c:pt>
                <c:pt idx="209">
                  <c:v>#N/A</c:v>
                </c:pt>
                <c:pt idx="210">
                  <c:v>#N/A</c:v>
                </c:pt>
                <c:pt idx="211">
                  <c:v>10997.08</c:v>
                </c:pt>
                <c:pt idx="212">
                  <c:v>#N/A</c:v>
                </c:pt>
                <c:pt idx="213">
                  <c:v>#N/A</c:v>
                </c:pt>
                <c:pt idx="214">
                  <c:v>#N/A</c:v>
                </c:pt>
                <c:pt idx="215">
                  <c:v>#N/A</c:v>
                </c:pt>
                <c:pt idx="216">
                  <c:v>#N/A</c:v>
                </c:pt>
                <c:pt idx="217">
                  <c:v>#N/A</c:v>
                </c:pt>
                <c:pt idx="218">
                  <c:v>11128.1</c:v>
                </c:pt>
                <c:pt idx="219">
                  <c:v>#N/A</c:v>
                </c:pt>
                <c:pt idx="220">
                  <c:v>#N/A</c:v>
                </c:pt>
                <c:pt idx="221">
                  <c:v>#N/A</c:v>
                </c:pt>
                <c:pt idx="222">
                  <c:v>#N/A</c:v>
                </c:pt>
                <c:pt idx="223">
                  <c:v>#N/A</c:v>
                </c:pt>
                <c:pt idx="224">
                  <c:v>#N/A</c:v>
                </c:pt>
                <c:pt idx="225">
                  <c:v>11541.61</c:v>
                </c:pt>
                <c:pt idx="226">
                  <c:v>#N/A</c:v>
                </c:pt>
                <c:pt idx="227">
                  <c:v>#N/A</c:v>
                </c:pt>
                <c:pt idx="228">
                  <c:v>#N/A</c:v>
                </c:pt>
                <c:pt idx="229">
                  <c:v>#N/A</c:v>
                </c:pt>
                <c:pt idx="230">
                  <c:v>#N/A</c:v>
                </c:pt>
                <c:pt idx="231">
                  <c:v>#N/A</c:v>
                </c:pt>
                <c:pt idx="232">
                  <c:v>12057.97</c:v>
                </c:pt>
                <c:pt idx="233">
                  <c:v>#N/A</c:v>
                </c:pt>
                <c:pt idx="234">
                  <c:v>#N/A</c:v>
                </c:pt>
                <c:pt idx="235">
                  <c:v>#N/A</c:v>
                </c:pt>
                <c:pt idx="236">
                  <c:v>#N/A</c:v>
                </c:pt>
                <c:pt idx="237">
                  <c:v>#N/A</c:v>
                </c:pt>
                <c:pt idx="238">
                  <c:v>#N/A</c:v>
                </c:pt>
                <c:pt idx="239">
                  <c:v>13057.97</c:v>
                </c:pt>
                <c:pt idx="240">
                  <c:v>#N/A</c:v>
                </c:pt>
                <c:pt idx="241">
                  <c:v>#N/A</c:v>
                </c:pt>
                <c:pt idx="242">
                  <c:v>#N/A</c:v>
                </c:pt>
                <c:pt idx="243">
                  <c:v>#N/A</c:v>
                </c:pt>
                <c:pt idx="244">
                  <c:v>#N/A</c:v>
                </c:pt>
                <c:pt idx="245">
                  <c:v>#N/A</c:v>
                </c:pt>
                <c:pt idx="246">
                  <c:v>13626.09</c:v>
                </c:pt>
                <c:pt idx="247">
                  <c:v>#N/A</c:v>
                </c:pt>
                <c:pt idx="248">
                  <c:v>#N/A</c:v>
                </c:pt>
                <c:pt idx="249">
                  <c:v>#N/A</c:v>
                </c:pt>
                <c:pt idx="250">
                  <c:v>#N/A</c:v>
                </c:pt>
                <c:pt idx="251">
                  <c:v>#N/A</c:v>
                </c:pt>
                <c:pt idx="252">
                  <c:v>#N/A</c:v>
                </c:pt>
                <c:pt idx="253">
                  <c:v>13692.81</c:v>
                </c:pt>
                <c:pt idx="254">
                  <c:v>#N/A</c:v>
                </c:pt>
                <c:pt idx="255">
                  <c:v>#N/A</c:v>
                </c:pt>
                <c:pt idx="256">
                  <c:v>#N/A</c:v>
                </c:pt>
                <c:pt idx="257">
                  <c:v>#N/A</c:v>
                </c:pt>
                <c:pt idx="258">
                  <c:v>#N/A</c:v>
                </c:pt>
                <c:pt idx="259">
                  <c:v>#N/A</c:v>
                </c:pt>
                <c:pt idx="260">
                  <c:v>14692.81</c:v>
                </c:pt>
                <c:pt idx="261">
                  <c:v>#N/A</c:v>
                </c:pt>
                <c:pt idx="262">
                  <c:v>#N/A</c:v>
                </c:pt>
                <c:pt idx="263">
                  <c:v>#N/A</c:v>
                </c:pt>
                <c:pt idx="264">
                  <c:v>#N/A</c:v>
                </c:pt>
                <c:pt idx="265">
                  <c:v>#N/A</c:v>
                </c:pt>
                <c:pt idx="266">
                  <c:v>#N/A</c:v>
                </c:pt>
                <c:pt idx="267">
                  <c:v>15292.81</c:v>
                </c:pt>
                <c:pt idx="268">
                  <c:v>#N/A</c:v>
                </c:pt>
                <c:pt idx="269">
                  <c:v>#N/A</c:v>
                </c:pt>
                <c:pt idx="270">
                  <c:v>#N/A</c:v>
                </c:pt>
                <c:pt idx="271">
                  <c:v>#N/A</c:v>
                </c:pt>
                <c:pt idx="272">
                  <c:v>#N/A</c:v>
                </c:pt>
                <c:pt idx="273">
                  <c:v>#N/A</c:v>
                </c:pt>
                <c:pt idx="274">
                  <c:v>15293.53</c:v>
                </c:pt>
                <c:pt idx="275">
                  <c:v>#N/A</c:v>
                </c:pt>
                <c:pt idx="276">
                  <c:v>#N/A</c:v>
                </c:pt>
                <c:pt idx="277">
                  <c:v>#N/A</c:v>
                </c:pt>
                <c:pt idx="278">
                  <c:v>#N/A</c:v>
                </c:pt>
                <c:pt idx="279">
                  <c:v>#N/A</c:v>
                </c:pt>
                <c:pt idx="280">
                  <c:v>#N/A</c:v>
                </c:pt>
                <c:pt idx="281">
                  <c:v>15366.19</c:v>
                </c:pt>
                <c:pt idx="282">
                  <c:v>#N/A</c:v>
                </c:pt>
                <c:pt idx="283">
                  <c:v>#N/A</c:v>
                </c:pt>
                <c:pt idx="284">
                  <c:v>#N/A</c:v>
                </c:pt>
                <c:pt idx="285">
                  <c:v>#N/A</c:v>
                </c:pt>
                <c:pt idx="286">
                  <c:v>#N/A</c:v>
                </c:pt>
                <c:pt idx="287">
                  <c:v>#N/A</c:v>
                </c:pt>
                <c:pt idx="288">
                  <c:v>15366.19</c:v>
                </c:pt>
                <c:pt idx="289">
                  <c:v>#N/A</c:v>
                </c:pt>
                <c:pt idx="290">
                  <c:v>#N/A</c:v>
                </c:pt>
                <c:pt idx="291">
                  <c:v>#N/A</c:v>
                </c:pt>
                <c:pt idx="292">
                  <c:v>#N/A</c:v>
                </c:pt>
                <c:pt idx="293">
                  <c:v>#N/A</c:v>
                </c:pt>
                <c:pt idx="294">
                  <c:v>#N/A</c:v>
                </c:pt>
                <c:pt idx="295">
                  <c:v>15648.63</c:v>
                </c:pt>
                <c:pt idx="296">
                  <c:v>#N/A</c:v>
                </c:pt>
                <c:pt idx="297">
                  <c:v>#N/A</c:v>
                </c:pt>
                <c:pt idx="298">
                  <c:v>#N/A</c:v>
                </c:pt>
                <c:pt idx="299">
                  <c:v>#N/A</c:v>
                </c:pt>
                <c:pt idx="300">
                  <c:v>#N/A</c:v>
                </c:pt>
                <c:pt idx="301">
                  <c:v>#N/A</c:v>
                </c:pt>
                <c:pt idx="302">
                  <c:v>15732.88</c:v>
                </c:pt>
                <c:pt idx="303">
                  <c:v>#N/A</c:v>
                </c:pt>
                <c:pt idx="304">
                  <c:v>#N/A</c:v>
                </c:pt>
                <c:pt idx="305">
                  <c:v>#N/A</c:v>
                </c:pt>
                <c:pt idx="306">
                  <c:v>#N/A</c:v>
                </c:pt>
                <c:pt idx="307">
                  <c:v>#N/A</c:v>
                </c:pt>
                <c:pt idx="308">
                  <c:v>#N/A</c:v>
                </c:pt>
                <c:pt idx="309">
                  <c:v>15717.81</c:v>
                </c:pt>
                <c:pt idx="310">
                  <c:v>#N/A</c:v>
                </c:pt>
                <c:pt idx="311">
                  <c:v>#N/A</c:v>
                </c:pt>
                <c:pt idx="312">
                  <c:v>#N/A</c:v>
                </c:pt>
                <c:pt idx="313">
                  <c:v>#N/A</c:v>
                </c:pt>
                <c:pt idx="314">
                  <c:v>#N/A</c:v>
                </c:pt>
                <c:pt idx="315">
                  <c:v>#N/A</c:v>
                </c:pt>
                <c:pt idx="316">
                  <c:v>15717.81</c:v>
                </c:pt>
                <c:pt idx="317">
                  <c:v>#N/A</c:v>
                </c:pt>
                <c:pt idx="318">
                  <c:v>#N/A</c:v>
                </c:pt>
                <c:pt idx="319">
                  <c:v>#N/A</c:v>
                </c:pt>
                <c:pt idx="320">
                  <c:v>#N/A</c:v>
                </c:pt>
                <c:pt idx="321">
                  <c:v>#N/A</c:v>
                </c:pt>
                <c:pt idx="322">
                  <c:v>#N/A</c:v>
                </c:pt>
                <c:pt idx="323">
                  <c:v>15747.26</c:v>
                </c:pt>
                <c:pt idx="324">
                  <c:v>#N/A</c:v>
                </c:pt>
                <c:pt idx="325">
                  <c:v>#N/A</c:v>
                </c:pt>
                <c:pt idx="326">
                  <c:v>#N/A</c:v>
                </c:pt>
                <c:pt idx="327">
                  <c:v>#N/A</c:v>
                </c:pt>
                <c:pt idx="328">
                  <c:v>#N/A</c:v>
                </c:pt>
                <c:pt idx="329">
                  <c:v>#N/A</c:v>
                </c:pt>
                <c:pt idx="330">
                  <c:v>15861.64</c:v>
                </c:pt>
                <c:pt idx="331">
                  <c:v>#N/A</c:v>
                </c:pt>
                <c:pt idx="332">
                  <c:v>#N/A</c:v>
                </c:pt>
                <c:pt idx="333">
                  <c:v>#N/A</c:v>
                </c:pt>
                <c:pt idx="334">
                  <c:v>#N/A</c:v>
                </c:pt>
                <c:pt idx="335">
                  <c:v>#N/A</c:v>
                </c:pt>
                <c:pt idx="336">
                  <c:v>#N/A</c:v>
                </c:pt>
                <c:pt idx="337">
                  <c:v>15861.64</c:v>
                </c:pt>
                <c:pt idx="338">
                  <c:v>#N/A</c:v>
                </c:pt>
                <c:pt idx="339">
                  <c:v>#N/A</c:v>
                </c:pt>
                <c:pt idx="340">
                  <c:v>#N/A</c:v>
                </c:pt>
                <c:pt idx="341">
                  <c:v>#N/A</c:v>
                </c:pt>
                <c:pt idx="342">
                  <c:v>#N/A</c:v>
                </c:pt>
                <c:pt idx="343">
                  <c:v>#N/A</c:v>
                </c:pt>
                <c:pt idx="344">
                  <c:v>15861.64</c:v>
                </c:pt>
                <c:pt idx="345">
                  <c:v>#N/A</c:v>
                </c:pt>
                <c:pt idx="346">
                  <c:v>#N/A</c:v>
                </c:pt>
                <c:pt idx="347">
                  <c:v>#N/A</c:v>
                </c:pt>
                <c:pt idx="348">
                  <c:v>#N/A</c:v>
                </c:pt>
                <c:pt idx="349">
                  <c:v>#N/A</c:v>
                </c:pt>
                <c:pt idx="350">
                  <c:v>#N/A</c:v>
                </c:pt>
                <c:pt idx="351">
                  <c:v>15947.26</c:v>
                </c:pt>
                <c:pt idx="352">
                  <c:v>#N/A</c:v>
                </c:pt>
                <c:pt idx="353">
                  <c:v>#N/A</c:v>
                </c:pt>
                <c:pt idx="354">
                  <c:v>#N/A</c:v>
                </c:pt>
                <c:pt idx="355">
                  <c:v>#N/A</c:v>
                </c:pt>
                <c:pt idx="356">
                  <c:v>#N/A</c:v>
                </c:pt>
                <c:pt idx="357">
                  <c:v>#N/A</c:v>
                </c:pt>
                <c:pt idx="358">
                  <c:v>16215.75</c:v>
                </c:pt>
                <c:pt idx="359">
                  <c:v>#N/A</c:v>
                </c:pt>
                <c:pt idx="360">
                  <c:v>#N/A</c:v>
                </c:pt>
                <c:pt idx="361">
                  <c:v>#N/A</c:v>
                </c:pt>
                <c:pt idx="362">
                  <c:v>#N/A</c:v>
                </c:pt>
                <c:pt idx="363">
                  <c:v>#N/A</c:v>
                </c:pt>
                <c:pt idx="364">
                  <c:v>#N/A</c:v>
                </c:pt>
                <c:pt idx="365">
                  <c:v>16266.44</c:v>
                </c:pt>
              </c:numCache>
            </c:numRef>
          </c:val>
          <c:smooth val="0"/>
          <c:extLst>
            <c:ext xmlns:c16="http://schemas.microsoft.com/office/drawing/2014/chart" uri="{C3380CC4-5D6E-409C-BE32-E72D297353CC}">
              <c16:uniqueId val="{00000001-3A13-4F80-A1C3-20DC9089A29D}"/>
            </c:ext>
          </c:extLst>
        </c:ser>
        <c:ser>
          <c:idx val="2"/>
          <c:order val="2"/>
          <c:tx>
            <c:strRef>
              <c:f>金属硅周度图表!$BA$2</c:f>
              <c:strCache>
                <c:ptCount val="1"/>
                <c:pt idx="0">
                  <c:v>2022</c:v>
                </c:pt>
              </c:strCache>
            </c:strRef>
          </c:tx>
          <c:spPr>
            <a:ln w="19050" cap="rnd">
              <a:solidFill>
                <a:schemeClr val="bg1">
                  <a:lumMod val="65000"/>
                </a:schemeClr>
              </a:solidFill>
              <a:round/>
            </a:ln>
            <a:effectLst/>
          </c:spPr>
          <c:marker>
            <c:symbol val="none"/>
          </c:marker>
          <c:cat>
            <c:strRef>
              <c:f>金属硅周度图表!$AX$3:$AX$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BA$3:$BA$368</c:f>
              <c:numCache>
                <c:formatCode>General</c:formatCode>
                <c:ptCount val="366"/>
                <c:pt idx="0">
                  <c:v>#N/A</c:v>
                </c:pt>
                <c:pt idx="1">
                  <c:v>#N/A</c:v>
                </c:pt>
                <c:pt idx="2">
                  <c:v>#N/A</c:v>
                </c:pt>
                <c:pt idx="3">
                  <c:v>#N/A</c:v>
                </c:pt>
                <c:pt idx="4">
                  <c:v>#N/A</c:v>
                </c:pt>
                <c:pt idx="5">
                  <c:v>#N/A</c:v>
                </c:pt>
                <c:pt idx="6">
                  <c:v>16266.44</c:v>
                </c:pt>
                <c:pt idx="7">
                  <c:v>#N/A</c:v>
                </c:pt>
                <c:pt idx="8">
                  <c:v>#N/A</c:v>
                </c:pt>
                <c:pt idx="9">
                  <c:v>#N/A</c:v>
                </c:pt>
                <c:pt idx="10">
                  <c:v>#N/A</c:v>
                </c:pt>
                <c:pt idx="11">
                  <c:v>#N/A</c:v>
                </c:pt>
                <c:pt idx="12">
                  <c:v>#N/A</c:v>
                </c:pt>
                <c:pt idx="13">
                  <c:v>16362.33</c:v>
                </c:pt>
                <c:pt idx="14">
                  <c:v>#N/A</c:v>
                </c:pt>
                <c:pt idx="15">
                  <c:v>#N/A</c:v>
                </c:pt>
                <c:pt idx="16">
                  <c:v>#N/A</c:v>
                </c:pt>
                <c:pt idx="17">
                  <c:v>#N/A</c:v>
                </c:pt>
                <c:pt idx="18">
                  <c:v>#N/A</c:v>
                </c:pt>
                <c:pt idx="19">
                  <c:v>#N/A</c:v>
                </c:pt>
                <c:pt idx="20">
                  <c:v>16355</c:v>
                </c:pt>
                <c:pt idx="21">
                  <c:v>#N/A</c:v>
                </c:pt>
                <c:pt idx="22">
                  <c:v>#N/A</c:v>
                </c:pt>
                <c:pt idx="23">
                  <c:v>#N/A</c:v>
                </c:pt>
                <c:pt idx="24">
                  <c:v>#N/A</c:v>
                </c:pt>
                <c:pt idx="25">
                  <c:v>#N/A</c:v>
                </c:pt>
                <c:pt idx="26">
                  <c:v>#N/A</c:v>
                </c:pt>
                <c:pt idx="27">
                  <c:v>16355</c:v>
                </c:pt>
                <c:pt idx="28">
                  <c:v>#N/A</c:v>
                </c:pt>
                <c:pt idx="29">
                  <c:v>#N/A</c:v>
                </c:pt>
                <c:pt idx="30">
                  <c:v>#N/A</c:v>
                </c:pt>
                <c:pt idx="31">
                  <c:v>#N/A</c:v>
                </c:pt>
                <c:pt idx="32">
                  <c:v>#N/A</c:v>
                </c:pt>
                <c:pt idx="33">
                  <c:v>#N/A</c:v>
                </c:pt>
                <c:pt idx="34">
                  <c:v>16355</c:v>
                </c:pt>
                <c:pt idx="35">
                  <c:v>#N/A</c:v>
                </c:pt>
                <c:pt idx="36">
                  <c:v>#N/A</c:v>
                </c:pt>
                <c:pt idx="37">
                  <c:v>#N/A</c:v>
                </c:pt>
                <c:pt idx="38">
                  <c:v>#N/A</c:v>
                </c:pt>
                <c:pt idx="39">
                  <c:v>#N/A</c:v>
                </c:pt>
                <c:pt idx="40">
                  <c:v>#N/A</c:v>
                </c:pt>
                <c:pt idx="41">
                  <c:v>16444.29</c:v>
                </c:pt>
                <c:pt idx="42">
                  <c:v>#N/A</c:v>
                </c:pt>
                <c:pt idx="43">
                  <c:v>#N/A</c:v>
                </c:pt>
                <c:pt idx="44">
                  <c:v>#N/A</c:v>
                </c:pt>
                <c:pt idx="45">
                  <c:v>#N/A</c:v>
                </c:pt>
                <c:pt idx="46">
                  <c:v>#N/A</c:v>
                </c:pt>
                <c:pt idx="47">
                  <c:v>#N/A</c:v>
                </c:pt>
                <c:pt idx="48">
                  <c:v>16769.29</c:v>
                </c:pt>
                <c:pt idx="49">
                  <c:v>#N/A</c:v>
                </c:pt>
                <c:pt idx="50">
                  <c:v>#N/A</c:v>
                </c:pt>
                <c:pt idx="51">
                  <c:v>#N/A</c:v>
                </c:pt>
                <c:pt idx="52">
                  <c:v>#N/A</c:v>
                </c:pt>
                <c:pt idx="53">
                  <c:v>#N/A</c:v>
                </c:pt>
                <c:pt idx="54">
                  <c:v>#N/A</c:v>
                </c:pt>
                <c:pt idx="55">
                  <c:v>16873.57</c:v>
                </c:pt>
                <c:pt idx="56">
                  <c:v>#N/A</c:v>
                </c:pt>
                <c:pt idx="57">
                  <c:v>#N/A</c:v>
                </c:pt>
                <c:pt idx="58">
                  <c:v>#N/A</c:v>
                </c:pt>
                <c:pt idx="60">
                  <c:v>#N/A</c:v>
                </c:pt>
                <c:pt idx="61">
                  <c:v>#N/A</c:v>
                </c:pt>
                <c:pt idx="62">
                  <c:v>#N/A</c:v>
                </c:pt>
                <c:pt idx="63">
                  <c:v>17021.43</c:v>
                </c:pt>
                <c:pt idx="64">
                  <c:v>#N/A</c:v>
                </c:pt>
                <c:pt idx="65">
                  <c:v>#N/A</c:v>
                </c:pt>
                <c:pt idx="66">
                  <c:v>#N/A</c:v>
                </c:pt>
                <c:pt idx="67">
                  <c:v>#N/A</c:v>
                </c:pt>
                <c:pt idx="68">
                  <c:v>#N/A</c:v>
                </c:pt>
                <c:pt idx="69">
                  <c:v>#N/A</c:v>
                </c:pt>
                <c:pt idx="70">
                  <c:v>17101.43</c:v>
                </c:pt>
                <c:pt idx="71">
                  <c:v>#N/A</c:v>
                </c:pt>
                <c:pt idx="72">
                  <c:v>#N/A</c:v>
                </c:pt>
                <c:pt idx="73">
                  <c:v>#N/A</c:v>
                </c:pt>
                <c:pt idx="74">
                  <c:v>#N/A</c:v>
                </c:pt>
                <c:pt idx="75">
                  <c:v>#N/A</c:v>
                </c:pt>
                <c:pt idx="76">
                  <c:v>#N/A</c:v>
                </c:pt>
                <c:pt idx="77">
                  <c:v>17155.71</c:v>
                </c:pt>
                <c:pt idx="78">
                  <c:v>#N/A</c:v>
                </c:pt>
                <c:pt idx="79">
                  <c:v>#N/A</c:v>
                </c:pt>
                <c:pt idx="80">
                  <c:v>#N/A</c:v>
                </c:pt>
                <c:pt idx="81">
                  <c:v>#N/A</c:v>
                </c:pt>
                <c:pt idx="82">
                  <c:v>#N/A</c:v>
                </c:pt>
                <c:pt idx="83">
                  <c:v>#N/A</c:v>
                </c:pt>
                <c:pt idx="84">
                  <c:v>17215.71</c:v>
                </c:pt>
                <c:pt idx="85">
                  <c:v>#N/A</c:v>
                </c:pt>
                <c:pt idx="86">
                  <c:v>#N/A</c:v>
                </c:pt>
                <c:pt idx="87">
                  <c:v>#N/A</c:v>
                </c:pt>
                <c:pt idx="88">
                  <c:v>#N/A</c:v>
                </c:pt>
                <c:pt idx="89">
                  <c:v>#N/A</c:v>
                </c:pt>
                <c:pt idx="90">
                  <c:v>#N/A</c:v>
                </c:pt>
                <c:pt idx="91">
                  <c:v>17273.91</c:v>
                </c:pt>
                <c:pt idx="92">
                  <c:v>#N/A</c:v>
                </c:pt>
                <c:pt idx="93">
                  <c:v>#N/A</c:v>
                </c:pt>
                <c:pt idx="94">
                  <c:v>#N/A</c:v>
                </c:pt>
                <c:pt idx="95">
                  <c:v>#N/A</c:v>
                </c:pt>
                <c:pt idx="96">
                  <c:v>#N/A</c:v>
                </c:pt>
                <c:pt idx="97">
                  <c:v>#N/A</c:v>
                </c:pt>
                <c:pt idx="98">
                  <c:v>17307.830000000002</c:v>
                </c:pt>
                <c:pt idx="99">
                  <c:v>#N/A</c:v>
                </c:pt>
                <c:pt idx="100">
                  <c:v>#N/A</c:v>
                </c:pt>
                <c:pt idx="101">
                  <c:v>#N/A</c:v>
                </c:pt>
                <c:pt idx="102">
                  <c:v>#N/A</c:v>
                </c:pt>
                <c:pt idx="103">
                  <c:v>#N/A</c:v>
                </c:pt>
                <c:pt idx="104">
                  <c:v>#N/A</c:v>
                </c:pt>
                <c:pt idx="105">
                  <c:v>17342.61</c:v>
                </c:pt>
                <c:pt idx="106">
                  <c:v>#N/A</c:v>
                </c:pt>
                <c:pt idx="107">
                  <c:v>#N/A</c:v>
                </c:pt>
                <c:pt idx="108">
                  <c:v>#N/A</c:v>
                </c:pt>
                <c:pt idx="109">
                  <c:v>#N/A</c:v>
                </c:pt>
                <c:pt idx="110">
                  <c:v>#N/A</c:v>
                </c:pt>
                <c:pt idx="111">
                  <c:v>#N/A</c:v>
                </c:pt>
                <c:pt idx="112">
                  <c:v>17350.43</c:v>
                </c:pt>
                <c:pt idx="113">
                  <c:v>#N/A</c:v>
                </c:pt>
                <c:pt idx="114">
                  <c:v>#N/A</c:v>
                </c:pt>
                <c:pt idx="115">
                  <c:v>#N/A</c:v>
                </c:pt>
                <c:pt idx="116">
                  <c:v>#N/A</c:v>
                </c:pt>
                <c:pt idx="117">
                  <c:v>#N/A</c:v>
                </c:pt>
                <c:pt idx="118">
                  <c:v>#N/A</c:v>
                </c:pt>
                <c:pt idx="119">
                  <c:v>17350.43</c:v>
                </c:pt>
                <c:pt idx="120">
                  <c:v>#N/A</c:v>
                </c:pt>
                <c:pt idx="121">
                  <c:v>#N/A</c:v>
                </c:pt>
                <c:pt idx="122">
                  <c:v>#N/A</c:v>
                </c:pt>
                <c:pt idx="123">
                  <c:v>#N/A</c:v>
                </c:pt>
                <c:pt idx="124">
                  <c:v>#N/A</c:v>
                </c:pt>
                <c:pt idx="125">
                  <c:v>#N/A</c:v>
                </c:pt>
                <c:pt idx="126">
                  <c:v>17350.43</c:v>
                </c:pt>
                <c:pt idx="127">
                  <c:v>#N/A</c:v>
                </c:pt>
                <c:pt idx="128">
                  <c:v>#N/A</c:v>
                </c:pt>
                <c:pt idx="129">
                  <c:v>#N/A</c:v>
                </c:pt>
                <c:pt idx="130">
                  <c:v>#N/A</c:v>
                </c:pt>
                <c:pt idx="131">
                  <c:v>#N/A</c:v>
                </c:pt>
                <c:pt idx="132">
                  <c:v>#N/A</c:v>
                </c:pt>
                <c:pt idx="133">
                  <c:v>17420</c:v>
                </c:pt>
                <c:pt idx="134">
                  <c:v>#N/A</c:v>
                </c:pt>
                <c:pt idx="135">
                  <c:v>#N/A</c:v>
                </c:pt>
                <c:pt idx="136">
                  <c:v>#N/A</c:v>
                </c:pt>
                <c:pt idx="137">
                  <c:v>#N/A</c:v>
                </c:pt>
                <c:pt idx="138">
                  <c:v>#N/A</c:v>
                </c:pt>
                <c:pt idx="139">
                  <c:v>#N/A</c:v>
                </c:pt>
                <c:pt idx="140">
                  <c:v>16936.439999999999</c:v>
                </c:pt>
                <c:pt idx="141">
                  <c:v>#N/A</c:v>
                </c:pt>
                <c:pt idx="142">
                  <c:v>#N/A</c:v>
                </c:pt>
                <c:pt idx="143">
                  <c:v>#N/A</c:v>
                </c:pt>
                <c:pt idx="144">
                  <c:v>#N/A</c:v>
                </c:pt>
                <c:pt idx="145">
                  <c:v>#N/A</c:v>
                </c:pt>
                <c:pt idx="146">
                  <c:v>#N/A</c:v>
                </c:pt>
                <c:pt idx="147">
                  <c:v>16833.05</c:v>
                </c:pt>
                <c:pt idx="148">
                  <c:v>#N/A</c:v>
                </c:pt>
                <c:pt idx="149">
                  <c:v>#N/A</c:v>
                </c:pt>
                <c:pt idx="150">
                  <c:v>#N/A</c:v>
                </c:pt>
                <c:pt idx="151">
                  <c:v>#N/A</c:v>
                </c:pt>
                <c:pt idx="152">
                  <c:v>#N/A</c:v>
                </c:pt>
                <c:pt idx="153">
                  <c:v>#N/A</c:v>
                </c:pt>
                <c:pt idx="154">
                  <c:v>16565.830000000002</c:v>
                </c:pt>
                <c:pt idx="155">
                  <c:v>#N/A</c:v>
                </c:pt>
                <c:pt idx="156">
                  <c:v>#N/A</c:v>
                </c:pt>
                <c:pt idx="157">
                  <c:v>#N/A</c:v>
                </c:pt>
                <c:pt idx="158">
                  <c:v>#N/A</c:v>
                </c:pt>
                <c:pt idx="159">
                  <c:v>#N/A</c:v>
                </c:pt>
                <c:pt idx="160">
                  <c:v>#N/A</c:v>
                </c:pt>
                <c:pt idx="161">
                  <c:v>16046.67</c:v>
                </c:pt>
                <c:pt idx="162">
                  <c:v>#N/A</c:v>
                </c:pt>
                <c:pt idx="163">
                  <c:v>#N/A</c:v>
                </c:pt>
                <c:pt idx="164">
                  <c:v>#N/A</c:v>
                </c:pt>
                <c:pt idx="165">
                  <c:v>#N/A</c:v>
                </c:pt>
                <c:pt idx="166">
                  <c:v>#N/A</c:v>
                </c:pt>
                <c:pt idx="167">
                  <c:v>#N/A</c:v>
                </c:pt>
                <c:pt idx="168">
                  <c:v>16179.17</c:v>
                </c:pt>
                <c:pt idx="169">
                  <c:v>#N/A</c:v>
                </c:pt>
                <c:pt idx="170">
                  <c:v>#N/A</c:v>
                </c:pt>
                <c:pt idx="171">
                  <c:v>#N/A</c:v>
                </c:pt>
                <c:pt idx="172">
                  <c:v>#N/A</c:v>
                </c:pt>
                <c:pt idx="173">
                  <c:v>#N/A</c:v>
                </c:pt>
                <c:pt idx="174">
                  <c:v>#N/A</c:v>
                </c:pt>
                <c:pt idx="175">
                  <c:v>16179.17</c:v>
                </c:pt>
                <c:pt idx="176">
                  <c:v>#N/A</c:v>
                </c:pt>
                <c:pt idx="177">
                  <c:v>#N/A</c:v>
                </c:pt>
                <c:pt idx="178">
                  <c:v>#N/A</c:v>
                </c:pt>
                <c:pt idx="179">
                  <c:v>#N/A</c:v>
                </c:pt>
                <c:pt idx="180">
                  <c:v>#N/A</c:v>
                </c:pt>
                <c:pt idx="181">
                  <c:v>#N/A</c:v>
                </c:pt>
                <c:pt idx="182">
                  <c:v>16065</c:v>
                </c:pt>
                <c:pt idx="183">
                  <c:v>#N/A</c:v>
                </c:pt>
                <c:pt idx="184">
                  <c:v>#N/A</c:v>
                </c:pt>
                <c:pt idx="185">
                  <c:v>#N/A</c:v>
                </c:pt>
                <c:pt idx="186">
                  <c:v>#N/A</c:v>
                </c:pt>
                <c:pt idx="187">
                  <c:v>#N/A</c:v>
                </c:pt>
                <c:pt idx="188">
                  <c:v>#N/A</c:v>
                </c:pt>
                <c:pt idx="189">
                  <c:v>15679.49</c:v>
                </c:pt>
                <c:pt idx="190">
                  <c:v>#N/A</c:v>
                </c:pt>
                <c:pt idx="191">
                  <c:v>#N/A</c:v>
                </c:pt>
                <c:pt idx="192">
                  <c:v>#N/A</c:v>
                </c:pt>
                <c:pt idx="193">
                  <c:v>#N/A</c:v>
                </c:pt>
                <c:pt idx="194">
                  <c:v>#N/A</c:v>
                </c:pt>
                <c:pt idx="195">
                  <c:v>#N/A</c:v>
                </c:pt>
                <c:pt idx="196">
                  <c:v>15679.49</c:v>
                </c:pt>
                <c:pt idx="197">
                  <c:v>#N/A</c:v>
                </c:pt>
                <c:pt idx="198">
                  <c:v>#N/A</c:v>
                </c:pt>
                <c:pt idx="199">
                  <c:v>#N/A</c:v>
                </c:pt>
                <c:pt idx="200">
                  <c:v>#N/A</c:v>
                </c:pt>
                <c:pt idx="201">
                  <c:v>#N/A</c:v>
                </c:pt>
                <c:pt idx="202">
                  <c:v>#N/A</c:v>
                </c:pt>
                <c:pt idx="203">
                  <c:v>15387.29</c:v>
                </c:pt>
                <c:pt idx="204">
                  <c:v>#N/A</c:v>
                </c:pt>
                <c:pt idx="205">
                  <c:v>#N/A</c:v>
                </c:pt>
                <c:pt idx="206">
                  <c:v>#N/A</c:v>
                </c:pt>
                <c:pt idx="207">
                  <c:v>#N/A</c:v>
                </c:pt>
                <c:pt idx="208">
                  <c:v>#N/A</c:v>
                </c:pt>
                <c:pt idx="209">
                  <c:v>#N/A</c:v>
                </c:pt>
                <c:pt idx="210">
                  <c:v>15357.85</c:v>
                </c:pt>
                <c:pt idx="211">
                  <c:v>#N/A</c:v>
                </c:pt>
                <c:pt idx="212">
                  <c:v>#N/A</c:v>
                </c:pt>
                <c:pt idx="213">
                  <c:v>#N/A</c:v>
                </c:pt>
                <c:pt idx="214">
                  <c:v>#N/A</c:v>
                </c:pt>
                <c:pt idx="215">
                  <c:v>#N/A</c:v>
                </c:pt>
                <c:pt idx="216">
                  <c:v>#N/A</c:v>
                </c:pt>
                <c:pt idx="217">
                  <c:v>15403.28</c:v>
                </c:pt>
                <c:pt idx="218">
                  <c:v>#N/A</c:v>
                </c:pt>
                <c:pt idx="219">
                  <c:v>#N/A</c:v>
                </c:pt>
                <c:pt idx="220">
                  <c:v>#N/A</c:v>
                </c:pt>
                <c:pt idx="221">
                  <c:v>#N/A</c:v>
                </c:pt>
                <c:pt idx="222">
                  <c:v>#N/A</c:v>
                </c:pt>
                <c:pt idx="223">
                  <c:v>#N/A</c:v>
                </c:pt>
                <c:pt idx="224">
                  <c:v>15568.59</c:v>
                </c:pt>
                <c:pt idx="225">
                  <c:v>#N/A</c:v>
                </c:pt>
                <c:pt idx="226">
                  <c:v>#N/A</c:v>
                </c:pt>
                <c:pt idx="227">
                  <c:v>#N/A</c:v>
                </c:pt>
                <c:pt idx="228">
                  <c:v>#N/A</c:v>
                </c:pt>
                <c:pt idx="229">
                  <c:v>#N/A</c:v>
                </c:pt>
                <c:pt idx="230">
                  <c:v>#N/A</c:v>
                </c:pt>
                <c:pt idx="231">
                  <c:v>15768.85</c:v>
                </c:pt>
                <c:pt idx="232">
                  <c:v>#N/A</c:v>
                </c:pt>
                <c:pt idx="233">
                  <c:v>#N/A</c:v>
                </c:pt>
                <c:pt idx="234">
                  <c:v>#N/A</c:v>
                </c:pt>
                <c:pt idx="235">
                  <c:v>#N/A</c:v>
                </c:pt>
                <c:pt idx="236">
                  <c:v>#N/A</c:v>
                </c:pt>
                <c:pt idx="237">
                  <c:v>#N/A</c:v>
                </c:pt>
                <c:pt idx="238">
                  <c:v>15790.98</c:v>
                </c:pt>
                <c:pt idx="239">
                  <c:v>#N/A</c:v>
                </c:pt>
                <c:pt idx="240">
                  <c:v>#N/A</c:v>
                </c:pt>
                <c:pt idx="241">
                  <c:v>#N/A</c:v>
                </c:pt>
                <c:pt idx="242">
                  <c:v>#N/A</c:v>
                </c:pt>
                <c:pt idx="243">
                  <c:v>#N/A</c:v>
                </c:pt>
                <c:pt idx="244">
                  <c:v>#N/A</c:v>
                </c:pt>
                <c:pt idx="245">
                  <c:v>15791.13</c:v>
                </c:pt>
                <c:pt idx="246">
                  <c:v>#N/A</c:v>
                </c:pt>
                <c:pt idx="247">
                  <c:v>#N/A</c:v>
                </c:pt>
                <c:pt idx="248">
                  <c:v>#N/A</c:v>
                </c:pt>
                <c:pt idx="249">
                  <c:v>#N/A</c:v>
                </c:pt>
                <c:pt idx="250">
                  <c:v>#N/A</c:v>
                </c:pt>
                <c:pt idx="251">
                  <c:v>#N/A</c:v>
                </c:pt>
                <c:pt idx="252">
                  <c:v>15794.4</c:v>
                </c:pt>
                <c:pt idx="253">
                  <c:v>#N/A</c:v>
                </c:pt>
                <c:pt idx="254">
                  <c:v>#N/A</c:v>
                </c:pt>
                <c:pt idx="255">
                  <c:v>#N/A</c:v>
                </c:pt>
                <c:pt idx="256">
                  <c:v>#N/A</c:v>
                </c:pt>
                <c:pt idx="257">
                  <c:v>#N/A</c:v>
                </c:pt>
                <c:pt idx="258">
                  <c:v>#N/A</c:v>
                </c:pt>
                <c:pt idx="259">
                  <c:v>15876.52</c:v>
                </c:pt>
                <c:pt idx="260">
                  <c:v>#N/A</c:v>
                </c:pt>
                <c:pt idx="261">
                  <c:v>#N/A</c:v>
                </c:pt>
                <c:pt idx="262">
                  <c:v>#N/A</c:v>
                </c:pt>
                <c:pt idx="263">
                  <c:v>#N/A</c:v>
                </c:pt>
                <c:pt idx="264">
                  <c:v>#N/A</c:v>
                </c:pt>
                <c:pt idx="265">
                  <c:v>#N/A</c:v>
                </c:pt>
                <c:pt idx="266">
                  <c:v>15876.52</c:v>
                </c:pt>
                <c:pt idx="267">
                  <c:v>#N/A</c:v>
                </c:pt>
                <c:pt idx="268">
                  <c:v>#N/A</c:v>
                </c:pt>
                <c:pt idx="269">
                  <c:v>#N/A</c:v>
                </c:pt>
                <c:pt idx="270">
                  <c:v>#N/A</c:v>
                </c:pt>
                <c:pt idx="271">
                  <c:v>#N/A</c:v>
                </c:pt>
                <c:pt idx="272">
                  <c:v>#N/A</c:v>
                </c:pt>
                <c:pt idx="273">
                  <c:v>15881.06</c:v>
                </c:pt>
                <c:pt idx="274">
                  <c:v>#N/A</c:v>
                </c:pt>
                <c:pt idx="275">
                  <c:v>#N/A</c:v>
                </c:pt>
                <c:pt idx="276">
                  <c:v>#N/A</c:v>
                </c:pt>
                <c:pt idx="277">
                  <c:v>#N/A</c:v>
                </c:pt>
                <c:pt idx="278">
                  <c:v>#N/A</c:v>
                </c:pt>
                <c:pt idx="279">
                  <c:v>#N/A</c:v>
                </c:pt>
                <c:pt idx="280">
                  <c:v>15881.06</c:v>
                </c:pt>
                <c:pt idx="281">
                  <c:v>#N/A</c:v>
                </c:pt>
                <c:pt idx="282">
                  <c:v>#N/A</c:v>
                </c:pt>
                <c:pt idx="283">
                  <c:v>#N/A</c:v>
                </c:pt>
                <c:pt idx="284">
                  <c:v>#N/A</c:v>
                </c:pt>
                <c:pt idx="285">
                  <c:v>#N/A</c:v>
                </c:pt>
                <c:pt idx="286">
                  <c:v>#N/A</c:v>
                </c:pt>
                <c:pt idx="287">
                  <c:v>16662.96</c:v>
                </c:pt>
                <c:pt idx="288">
                  <c:v>#N/A</c:v>
                </c:pt>
                <c:pt idx="289">
                  <c:v>#N/A</c:v>
                </c:pt>
                <c:pt idx="290">
                  <c:v>#N/A</c:v>
                </c:pt>
                <c:pt idx="291">
                  <c:v>#N/A</c:v>
                </c:pt>
                <c:pt idx="292">
                  <c:v>#N/A</c:v>
                </c:pt>
                <c:pt idx="293">
                  <c:v>#N/A</c:v>
                </c:pt>
                <c:pt idx="294">
                  <c:v>16662.96</c:v>
                </c:pt>
                <c:pt idx="295">
                  <c:v>#N/A</c:v>
                </c:pt>
                <c:pt idx="296">
                  <c:v>#N/A</c:v>
                </c:pt>
                <c:pt idx="297">
                  <c:v>#N/A</c:v>
                </c:pt>
                <c:pt idx="298">
                  <c:v>#N/A</c:v>
                </c:pt>
                <c:pt idx="299">
                  <c:v>#N/A</c:v>
                </c:pt>
                <c:pt idx="300">
                  <c:v>#N/A</c:v>
                </c:pt>
                <c:pt idx="301">
                  <c:v>16738.52</c:v>
                </c:pt>
                <c:pt idx="302">
                  <c:v>#N/A</c:v>
                </c:pt>
                <c:pt idx="303">
                  <c:v>#N/A</c:v>
                </c:pt>
                <c:pt idx="304">
                  <c:v>#N/A</c:v>
                </c:pt>
                <c:pt idx="305">
                  <c:v>#N/A</c:v>
                </c:pt>
                <c:pt idx="306">
                  <c:v>#N/A</c:v>
                </c:pt>
                <c:pt idx="307">
                  <c:v>#N/A</c:v>
                </c:pt>
                <c:pt idx="308">
                  <c:v>17436.990000000002</c:v>
                </c:pt>
                <c:pt idx="309">
                  <c:v>#N/A</c:v>
                </c:pt>
                <c:pt idx="310">
                  <c:v>#N/A</c:v>
                </c:pt>
                <c:pt idx="311">
                  <c:v>#N/A</c:v>
                </c:pt>
                <c:pt idx="312">
                  <c:v>#N/A</c:v>
                </c:pt>
                <c:pt idx="313">
                  <c:v>#N/A</c:v>
                </c:pt>
                <c:pt idx="314">
                  <c:v>#N/A</c:v>
                </c:pt>
                <c:pt idx="315">
                  <c:v>17538.36</c:v>
                </c:pt>
                <c:pt idx="316">
                  <c:v>#N/A</c:v>
                </c:pt>
                <c:pt idx="317">
                  <c:v>#N/A</c:v>
                </c:pt>
                <c:pt idx="318">
                  <c:v>#N/A</c:v>
                </c:pt>
                <c:pt idx="319">
                  <c:v>#N/A</c:v>
                </c:pt>
                <c:pt idx="320">
                  <c:v>#N/A</c:v>
                </c:pt>
                <c:pt idx="321">
                  <c:v>#N/A</c:v>
                </c:pt>
                <c:pt idx="322">
                  <c:v>17535.169999999998</c:v>
                </c:pt>
                <c:pt idx="323">
                  <c:v>#N/A</c:v>
                </c:pt>
                <c:pt idx="324">
                  <c:v>#N/A</c:v>
                </c:pt>
                <c:pt idx="325">
                  <c:v>#N/A</c:v>
                </c:pt>
                <c:pt idx="326">
                  <c:v>#N/A</c:v>
                </c:pt>
                <c:pt idx="327">
                  <c:v>#N/A</c:v>
                </c:pt>
                <c:pt idx="328">
                  <c:v>#N/A</c:v>
                </c:pt>
                <c:pt idx="329">
                  <c:v>17569.66</c:v>
                </c:pt>
                <c:pt idx="330">
                  <c:v>#N/A</c:v>
                </c:pt>
                <c:pt idx="331">
                  <c:v>#N/A</c:v>
                </c:pt>
                <c:pt idx="332">
                  <c:v>#N/A</c:v>
                </c:pt>
                <c:pt idx="333">
                  <c:v>#N/A</c:v>
                </c:pt>
                <c:pt idx="334">
                  <c:v>#N/A</c:v>
                </c:pt>
                <c:pt idx="335">
                  <c:v>#N/A</c:v>
                </c:pt>
                <c:pt idx="336">
                  <c:v>17673.099999999999</c:v>
                </c:pt>
                <c:pt idx="337">
                  <c:v>#N/A</c:v>
                </c:pt>
                <c:pt idx="338">
                  <c:v>#N/A</c:v>
                </c:pt>
                <c:pt idx="339">
                  <c:v>#N/A</c:v>
                </c:pt>
                <c:pt idx="340">
                  <c:v>#N/A</c:v>
                </c:pt>
                <c:pt idx="341">
                  <c:v>#N/A</c:v>
                </c:pt>
                <c:pt idx="342">
                  <c:v>#N/A</c:v>
                </c:pt>
                <c:pt idx="343">
                  <c:v>17782.07</c:v>
                </c:pt>
                <c:pt idx="344">
                  <c:v>#N/A</c:v>
                </c:pt>
                <c:pt idx="345">
                  <c:v>#N/A</c:v>
                </c:pt>
                <c:pt idx="346">
                  <c:v>#N/A</c:v>
                </c:pt>
                <c:pt idx="347">
                  <c:v>#N/A</c:v>
                </c:pt>
                <c:pt idx="348">
                  <c:v>#N/A</c:v>
                </c:pt>
                <c:pt idx="349">
                  <c:v>#N/A</c:v>
                </c:pt>
                <c:pt idx="350">
                  <c:v>17919.310000000001</c:v>
                </c:pt>
                <c:pt idx="351">
                  <c:v>#N/A</c:v>
                </c:pt>
                <c:pt idx="352">
                  <c:v>#N/A</c:v>
                </c:pt>
                <c:pt idx="353">
                  <c:v>#N/A</c:v>
                </c:pt>
                <c:pt idx="354">
                  <c:v>#N/A</c:v>
                </c:pt>
                <c:pt idx="355">
                  <c:v>#N/A</c:v>
                </c:pt>
                <c:pt idx="356">
                  <c:v>#N/A</c:v>
                </c:pt>
                <c:pt idx="357">
                  <c:v>17917.240000000002</c:v>
                </c:pt>
                <c:pt idx="358">
                  <c:v>#N/A</c:v>
                </c:pt>
                <c:pt idx="359">
                  <c:v>#N/A</c:v>
                </c:pt>
                <c:pt idx="360">
                  <c:v>#N/A</c:v>
                </c:pt>
                <c:pt idx="361">
                  <c:v>#N/A</c:v>
                </c:pt>
                <c:pt idx="362">
                  <c:v>#N/A</c:v>
                </c:pt>
                <c:pt idx="363">
                  <c:v>#N/A</c:v>
                </c:pt>
                <c:pt idx="364">
                  <c:v>17906.21</c:v>
                </c:pt>
                <c:pt idx="365">
                  <c:v>#N/A</c:v>
                </c:pt>
              </c:numCache>
            </c:numRef>
          </c:val>
          <c:smooth val="0"/>
          <c:extLst>
            <c:ext xmlns:c16="http://schemas.microsoft.com/office/drawing/2014/chart" uri="{C3380CC4-5D6E-409C-BE32-E72D297353CC}">
              <c16:uniqueId val="{00000002-3A13-4F80-A1C3-20DC9089A29D}"/>
            </c:ext>
          </c:extLst>
        </c:ser>
        <c:ser>
          <c:idx val="3"/>
          <c:order val="3"/>
          <c:tx>
            <c:strRef>
              <c:f>金属硅周度图表!$BB$2</c:f>
              <c:strCache>
                <c:ptCount val="1"/>
                <c:pt idx="0">
                  <c:v>2023</c:v>
                </c:pt>
              </c:strCache>
            </c:strRef>
          </c:tx>
          <c:spPr>
            <a:ln w="19050" cap="rnd">
              <a:solidFill>
                <a:srgbClr val="55A5AB">
                  <a:alpha val="60000"/>
                </a:srgbClr>
              </a:solidFill>
              <a:round/>
            </a:ln>
            <a:effectLst/>
          </c:spPr>
          <c:marker>
            <c:symbol val="none"/>
          </c:marker>
          <c:cat>
            <c:strRef>
              <c:f>金属硅周度图表!$AX$3:$AX$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BB$3:$BB$368</c:f>
              <c:numCache>
                <c:formatCode>General</c:formatCode>
                <c:ptCount val="366"/>
                <c:pt idx="0">
                  <c:v>#N/A</c:v>
                </c:pt>
                <c:pt idx="1">
                  <c:v>#N/A</c:v>
                </c:pt>
                <c:pt idx="2">
                  <c:v>#N/A</c:v>
                </c:pt>
                <c:pt idx="3">
                  <c:v>#N/A</c:v>
                </c:pt>
                <c:pt idx="4">
                  <c:v>#N/A</c:v>
                </c:pt>
                <c:pt idx="5">
                  <c:v>17902.78</c:v>
                </c:pt>
                <c:pt idx="6">
                  <c:v>#N/A</c:v>
                </c:pt>
                <c:pt idx="7">
                  <c:v>#N/A</c:v>
                </c:pt>
                <c:pt idx="8">
                  <c:v>#N/A</c:v>
                </c:pt>
                <c:pt idx="9">
                  <c:v>#N/A</c:v>
                </c:pt>
                <c:pt idx="10">
                  <c:v>#N/A</c:v>
                </c:pt>
                <c:pt idx="11">
                  <c:v>#N/A</c:v>
                </c:pt>
                <c:pt idx="12">
                  <c:v>17779.72</c:v>
                </c:pt>
                <c:pt idx="13">
                  <c:v>#N/A</c:v>
                </c:pt>
                <c:pt idx="14">
                  <c:v>#N/A</c:v>
                </c:pt>
                <c:pt idx="15">
                  <c:v>#N/A</c:v>
                </c:pt>
                <c:pt idx="16">
                  <c:v>#N/A</c:v>
                </c:pt>
                <c:pt idx="17">
                  <c:v>#N/A</c:v>
                </c:pt>
                <c:pt idx="18">
                  <c:v>#N/A</c:v>
                </c:pt>
                <c:pt idx="19">
                  <c:v>17738.240000000002</c:v>
                </c:pt>
                <c:pt idx="20">
                  <c:v>#N/A</c:v>
                </c:pt>
                <c:pt idx="21">
                  <c:v>#N/A</c:v>
                </c:pt>
                <c:pt idx="22">
                  <c:v>#N/A</c:v>
                </c:pt>
                <c:pt idx="23">
                  <c:v>#N/A</c:v>
                </c:pt>
                <c:pt idx="24">
                  <c:v>#N/A</c:v>
                </c:pt>
                <c:pt idx="25">
                  <c:v>#N/A</c:v>
                </c:pt>
                <c:pt idx="26">
                  <c:v>17742.34</c:v>
                </c:pt>
                <c:pt idx="27">
                  <c:v>#N/A</c:v>
                </c:pt>
                <c:pt idx="28">
                  <c:v>#N/A</c:v>
                </c:pt>
                <c:pt idx="29">
                  <c:v>#N/A</c:v>
                </c:pt>
                <c:pt idx="30">
                  <c:v>#N/A</c:v>
                </c:pt>
                <c:pt idx="31">
                  <c:v>#N/A</c:v>
                </c:pt>
                <c:pt idx="32">
                  <c:v>#N/A</c:v>
                </c:pt>
                <c:pt idx="33">
                  <c:v>17743.8</c:v>
                </c:pt>
                <c:pt idx="34">
                  <c:v>#N/A</c:v>
                </c:pt>
                <c:pt idx="35">
                  <c:v>#N/A</c:v>
                </c:pt>
                <c:pt idx="36">
                  <c:v>#N/A</c:v>
                </c:pt>
                <c:pt idx="37">
                  <c:v>#N/A</c:v>
                </c:pt>
                <c:pt idx="38">
                  <c:v>#N/A</c:v>
                </c:pt>
                <c:pt idx="39">
                  <c:v>#N/A</c:v>
                </c:pt>
                <c:pt idx="40">
                  <c:v>17786.13</c:v>
                </c:pt>
                <c:pt idx="41">
                  <c:v>#N/A</c:v>
                </c:pt>
                <c:pt idx="42">
                  <c:v>#N/A</c:v>
                </c:pt>
                <c:pt idx="43">
                  <c:v>#N/A</c:v>
                </c:pt>
                <c:pt idx="44">
                  <c:v>#N/A</c:v>
                </c:pt>
                <c:pt idx="45">
                  <c:v>#N/A</c:v>
                </c:pt>
                <c:pt idx="46">
                  <c:v>#N/A</c:v>
                </c:pt>
                <c:pt idx="47">
                  <c:v>17786.13</c:v>
                </c:pt>
                <c:pt idx="48">
                  <c:v>#N/A</c:v>
                </c:pt>
                <c:pt idx="49">
                  <c:v>#N/A</c:v>
                </c:pt>
                <c:pt idx="50">
                  <c:v>#N/A</c:v>
                </c:pt>
                <c:pt idx="51">
                  <c:v>#N/A</c:v>
                </c:pt>
                <c:pt idx="52">
                  <c:v>#N/A</c:v>
                </c:pt>
                <c:pt idx="53">
                  <c:v>#N/A</c:v>
                </c:pt>
                <c:pt idx="54">
                  <c:v>17786.13</c:v>
                </c:pt>
                <c:pt idx="55">
                  <c:v>#N/A</c:v>
                </c:pt>
                <c:pt idx="56">
                  <c:v>#N/A</c:v>
                </c:pt>
                <c:pt idx="57">
                  <c:v>#N/A</c:v>
                </c:pt>
                <c:pt idx="58">
                  <c:v>#N/A</c:v>
                </c:pt>
                <c:pt idx="60">
                  <c:v>#N/A</c:v>
                </c:pt>
                <c:pt idx="61">
                  <c:v>#N/A</c:v>
                </c:pt>
                <c:pt idx="62">
                  <c:v>17803.62</c:v>
                </c:pt>
                <c:pt idx="63">
                  <c:v>#N/A</c:v>
                </c:pt>
                <c:pt idx="64">
                  <c:v>#N/A</c:v>
                </c:pt>
                <c:pt idx="65">
                  <c:v>#N/A</c:v>
                </c:pt>
                <c:pt idx="66">
                  <c:v>#N/A</c:v>
                </c:pt>
                <c:pt idx="67">
                  <c:v>#N/A</c:v>
                </c:pt>
                <c:pt idx="68">
                  <c:v>#N/A</c:v>
                </c:pt>
                <c:pt idx="69">
                  <c:v>17372.259999999998</c:v>
                </c:pt>
                <c:pt idx="70">
                  <c:v>#N/A</c:v>
                </c:pt>
                <c:pt idx="71">
                  <c:v>#N/A</c:v>
                </c:pt>
                <c:pt idx="72">
                  <c:v>#N/A</c:v>
                </c:pt>
                <c:pt idx="73">
                  <c:v>#N/A</c:v>
                </c:pt>
                <c:pt idx="74">
                  <c:v>#N/A</c:v>
                </c:pt>
                <c:pt idx="75">
                  <c:v>#N/A</c:v>
                </c:pt>
                <c:pt idx="76">
                  <c:v>17224.45</c:v>
                </c:pt>
                <c:pt idx="77">
                  <c:v>#N/A</c:v>
                </c:pt>
                <c:pt idx="78">
                  <c:v>#N/A</c:v>
                </c:pt>
                <c:pt idx="79">
                  <c:v>#N/A</c:v>
                </c:pt>
                <c:pt idx="80">
                  <c:v>#N/A</c:v>
                </c:pt>
                <c:pt idx="81">
                  <c:v>#N/A</c:v>
                </c:pt>
                <c:pt idx="82">
                  <c:v>#N/A</c:v>
                </c:pt>
                <c:pt idx="83">
                  <c:v>16724.45</c:v>
                </c:pt>
                <c:pt idx="84">
                  <c:v>#N/A</c:v>
                </c:pt>
                <c:pt idx="85">
                  <c:v>#N/A</c:v>
                </c:pt>
                <c:pt idx="86">
                  <c:v>#N/A</c:v>
                </c:pt>
                <c:pt idx="87">
                  <c:v>#N/A</c:v>
                </c:pt>
                <c:pt idx="88">
                  <c:v>#N/A</c:v>
                </c:pt>
                <c:pt idx="89">
                  <c:v>#N/A</c:v>
                </c:pt>
                <c:pt idx="90">
                  <c:v>16666.3</c:v>
                </c:pt>
                <c:pt idx="91">
                  <c:v>#N/A</c:v>
                </c:pt>
                <c:pt idx="92">
                  <c:v>#N/A</c:v>
                </c:pt>
                <c:pt idx="93">
                  <c:v>#N/A</c:v>
                </c:pt>
                <c:pt idx="94">
                  <c:v>#N/A</c:v>
                </c:pt>
                <c:pt idx="95">
                  <c:v>#N/A</c:v>
                </c:pt>
                <c:pt idx="96">
                  <c:v>#N/A</c:v>
                </c:pt>
                <c:pt idx="97">
                  <c:v>16666.3</c:v>
                </c:pt>
                <c:pt idx="98">
                  <c:v>#N/A</c:v>
                </c:pt>
                <c:pt idx="99">
                  <c:v>#N/A</c:v>
                </c:pt>
                <c:pt idx="100">
                  <c:v>#N/A</c:v>
                </c:pt>
                <c:pt idx="101">
                  <c:v>#N/A</c:v>
                </c:pt>
                <c:pt idx="102">
                  <c:v>#N/A</c:v>
                </c:pt>
                <c:pt idx="103">
                  <c:v>#N/A</c:v>
                </c:pt>
                <c:pt idx="104">
                  <c:v>15969.93</c:v>
                </c:pt>
                <c:pt idx="105">
                  <c:v>#N/A</c:v>
                </c:pt>
                <c:pt idx="106">
                  <c:v>#N/A</c:v>
                </c:pt>
                <c:pt idx="107">
                  <c:v>#N/A</c:v>
                </c:pt>
                <c:pt idx="108">
                  <c:v>#N/A</c:v>
                </c:pt>
                <c:pt idx="109">
                  <c:v>#N/A</c:v>
                </c:pt>
                <c:pt idx="110">
                  <c:v>#N/A</c:v>
                </c:pt>
                <c:pt idx="111">
                  <c:v>15794.89</c:v>
                </c:pt>
                <c:pt idx="112">
                  <c:v>#N/A</c:v>
                </c:pt>
                <c:pt idx="113">
                  <c:v>#N/A</c:v>
                </c:pt>
                <c:pt idx="114">
                  <c:v>#N/A</c:v>
                </c:pt>
                <c:pt idx="115">
                  <c:v>#N/A</c:v>
                </c:pt>
                <c:pt idx="116">
                  <c:v>#N/A</c:v>
                </c:pt>
                <c:pt idx="117">
                  <c:v>#N/A</c:v>
                </c:pt>
                <c:pt idx="118">
                  <c:v>15593.07</c:v>
                </c:pt>
                <c:pt idx="119">
                  <c:v>#N/A</c:v>
                </c:pt>
                <c:pt idx="120">
                  <c:v>#N/A</c:v>
                </c:pt>
                <c:pt idx="121">
                  <c:v>#N/A</c:v>
                </c:pt>
                <c:pt idx="122">
                  <c:v>#N/A</c:v>
                </c:pt>
                <c:pt idx="123">
                  <c:v>#N/A</c:v>
                </c:pt>
                <c:pt idx="124">
                  <c:v>#N/A</c:v>
                </c:pt>
                <c:pt idx="125">
                  <c:v>15593.07</c:v>
                </c:pt>
                <c:pt idx="126">
                  <c:v>#N/A</c:v>
                </c:pt>
                <c:pt idx="127">
                  <c:v>#N/A</c:v>
                </c:pt>
                <c:pt idx="128">
                  <c:v>#N/A</c:v>
                </c:pt>
                <c:pt idx="129">
                  <c:v>#N/A</c:v>
                </c:pt>
                <c:pt idx="130">
                  <c:v>#N/A</c:v>
                </c:pt>
                <c:pt idx="131">
                  <c:v>#N/A</c:v>
                </c:pt>
                <c:pt idx="132">
                  <c:v>15491.97</c:v>
                </c:pt>
                <c:pt idx="133">
                  <c:v>#N/A</c:v>
                </c:pt>
                <c:pt idx="134">
                  <c:v>#N/A</c:v>
                </c:pt>
                <c:pt idx="135">
                  <c:v>#N/A</c:v>
                </c:pt>
                <c:pt idx="136">
                  <c:v>#N/A</c:v>
                </c:pt>
                <c:pt idx="137">
                  <c:v>#N/A</c:v>
                </c:pt>
                <c:pt idx="138">
                  <c:v>#N/A</c:v>
                </c:pt>
                <c:pt idx="139">
                  <c:v>14954.53</c:v>
                </c:pt>
                <c:pt idx="140">
                  <c:v>#N/A</c:v>
                </c:pt>
                <c:pt idx="141">
                  <c:v>#N/A</c:v>
                </c:pt>
                <c:pt idx="142">
                  <c:v>#N/A</c:v>
                </c:pt>
                <c:pt idx="143">
                  <c:v>#N/A</c:v>
                </c:pt>
                <c:pt idx="144">
                  <c:v>#N/A</c:v>
                </c:pt>
                <c:pt idx="145">
                  <c:v>#N/A</c:v>
                </c:pt>
                <c:pt idx="146">
                  <c:v>14583.75</c:v>
                </c:pt>
                <c:pt idx="147">
                  <c:v>#N/A</c:v>
                </c:pt>
                <c:pt idx="148">
                  <c:v>#N/A</c:v>
                </c:pt>
                <c:pt idx="149">
                  <c:v>#N/A</c:v>
                </c:pt>
                <c:pt idx="150">
                  <c:v>#N/A</c:v>
                </c:pt>
                <c:pt idx="151">
                  <c:v>#N/A</c:v>
                </c:pt>
                <c:pt idx="152">
                  <c:v>#N/A</c:v>
                </c:pt>
                <c:pt idx="153">
                  <c:v>14429.33</c:v>
                </c:pt>
                <c:pt idx="154">
                  <c:v>#N/A</c:v>
                </c:pt>
                <c:pt idx="155">
                  <c:v>#N/A</c:v>
                </c:pt>
                <c:pt idx="156">
                  <c:v>#N/A</c:v>
                </c:pt>
                <c:pt idx="157">
                  <c:v>#N/A</c:v>
                </c:pt>
                <c:pt idx="158">
                  <c:v>#N/A</c:v>
                </c:pt>
                <c:pt idx="159">
                  <c:v>#N/A</c:v>
                </c:pt>
                <c:pt idx="160">
                  <c:v>13962.6</c:v>
                </c:pt>
                <c:pt idx="161">
                  <c:v>#N/A</c:v>
                </c:pt>
                <c:pt idx="162">
                  <c:v>#N/A</c:v>
                </c:pt>
                <c:pt idx="163">
                  <c:v>#N/A</c:v>
                </c:pt>
                <c:pt idx="164">
                  <c:v>#N/A</c:v>
                </c:pt>
                <c:pt idx="165">
                  <c:v>#N/A</c:v>
                </c:pt>
                <c:pt idx="166">
                  <c:v>#N/A</c:v>
                </c:pt>
                <c:pt idx="167">
                  <c:v>13739.59</c:v>
                </c:pt>
                <c:pt idx="168">
                  <c:v>#N/A</c:v>
                </c:pt>
                <c:pt idx="169">
                  <c:v>#N/A</c:v>
                </c:pt>
                <c:pt idx="170">
                  <c:v>#N/A</c:v>
                </c:pt>
                <c:pt idx="171">
                  <c:v>#N/A</c:v>
                </c:pt>
                <c:pt idx="172">
                  <c:v>#N/A</c:v>
                </c:pt>
                <c:pt idx="173">
                  <c:v>#N/A</c:v>
                </c:pt>
                <c:pt idx="174">
                  <c:v>13723.31</c:v>
                </c:pt>
                <c:pt idx="175">
                  <c:v>#N/A</c:v>
                </c:pt>
                <c:pt idx="176">
                  <c:v>#N/A</c:v>
                </c:pt>
                <c:pt idx="177">
                  <c:v>#N/A</c:v>
                </c:pt>
                <c:pt idx="178">
                  <c:v>#N/A</c:v>
                </c:pt>
                <c:pt idx="179">
                  <c:v>#N/A</c:v>
                </c:pt>
                <c:pt idx="180">
                  <c:v>#N/A</c:v>
                </c:pt>
                <c:pt idx="181">
                  <c:v>13653.15</c:v>
                </c:pt>
                <c:pt idx="182">
                  <c:v>#N/A</c:v>
                </c:pt>
                <c:pt idx="183">
                  <c:v>#N/A</c:v>
                </c:pt>
                <c:pt idx="184">
                  <c:v>#N/A</c:v>
                </c:pt>
                <c:pt idx="185">
                  <c:v>#N/A</c:v>
                </c:pt>
                <c:pt idx="186">
                  <c:v>#N/A</c:v>
                </c:pt>
                <c:pt idx="187">
                  <c:v>#N/A</c:v>
                </c:pt>
                <c:pt idx="188">
                  <c:v>13513.33</c:v>
                </c:pt>
                <c:pt idx="189">
                  <c:v>#N/A</c:v>
                </c:pt>
                <c:pt idx="190">
                  <c:v>#N/A</c:v>
                </c:pt>
                <c:pt idx="191">
                  <c:v>#N/A</c:v>
                </c:pt>
                <c:pt idx="192">
                  <c:v>#N/A</c:v>
                </c:pt>
                <c:pt idx="193">
                  <c:v>#N/A</c:v>
                </c:pt>
                <c:pt idx="194">
                  <c:v>#N/A</c:v>
                </c:pt>
                <c:pt idx="195">
                  <c:v>13489.53</c:v>
                </c:pt>
                <c:pt idx="196">
                  <c:v>#N/A</c:v>
                </c:pt>
                <c:pt idx="197">
                  <c:v>#N/A</c:v>
                </c:pt>
                <c:pt idx="198">
                  <c:v>#N/A</c:v>
                </c:pt>
                <c:pt idx="199">
                  <c:v>#N/A</c:v>
                </c:pt>
                <c:pt idx="200">
                  <c:v>#N/A</c:v>
                </c:pt>
                <c:pt idx="201">
                  <c:v>#N/A</c:v>
                </c:pt>
                <c:pt idx="202">
                  <c:v>13476.02</c:v>
                </c:pt>
                <c:pt idx="203">
                  <c:v>#N/A</c:v>
                </c:pt>
                <c:pt idx="204">
                  <c:v>#N/A</c:v>
                </c:pt>
                <c:pt idx="205">
                  <c:v>#N/A</c:v>
                </c:pt>
                <c:pt idx="206">
                  <c:v>#N/A</c:v>
                </c:pt>
                <c:pt idx="207">
                  <c:v>#N/A</c:v>
                </c:pt>
                <c:pt idx="208">
                  <c:v>#N/A</c:v>
                </c:pt>
                <c:pt idx="209">
                  <c:v>13467.21</c:v>
                </c:pt>
                <c:pt idx="210">
                  <c:v>#N/A</c:v>
                </c:pt>
                <c:pt idx="211">
                  <c:v>#N/A</c:v>
                </c:pt>
                <c:pt idx="212">
                  <c:v>#N/A</c:v>
                </c:pt>
                <c:pt idx="213">
                  <c:v>#N/A</c:v>
                </c:pt>
                <c:pt idx="214">
                  <c:v>#N/A</c:v>
                </c:pt>
                <c:pt idx="215">
                  <c:v>#N/A</c:v>
                </c:pt>
                <c:pt idx="216">
                  <c:v>13420.86</c:v>
                </c:pt>
                <c:pt idx="217">
                  <c:v>#N/A</c:v>
                </c:pt>
                <c:pt idx="218">
                  <c:v>#N/A</c:v>
                </c:pt>
                <c:pt idx="219">
                  <c:v>#N/A</c:v>
                </c:pt>
                <c:pt idx="220">
                  <c:v>#N/A</c:v>
                </c:pt>
                <c:pt idx="221">
                  <c:v>#N/A</c:v>
                </c:pt>
                <c:pt idx="222">
                  <c:v>#N/A</c:v>
                </c:pt>
                <c:pt idx="223">
                  <c:v>13288.30769</c:v>
                </c:pt>
                <c:pt idx="224">
                  <c:v>#N/A</c:v>
                </c:pt>
                <c:pt idx="225">
                  <c:v>#N/A</c:v>
                </c:pt>
                <c:pt idx="226">
                  <c:v>#N/A</c:v>
                </c:pt>
                <c:pt idx="227">
                  <c:v>#N/A</c:v>
                </c:pt>
                <c:pt idx="228">
                  <c:v>#N/A</c:v>
                </c:pt>
                <c:pt idx="229">
                  <c:v>#N/A</c:v>
                </c:pt>
                <c:pt idx="230">
                  <c:v>13348.52713</c:v>
                </c:pt>
                <c:pt idx="231">
                  <c:v>#N/A</c:v>
                </c:pt>
                <c:pt idx="232">
                  <c:v>#N/A</c:v>
                </c:pt>
                <c:pt idx="233">
                  <c:v>#N/A</c:v>
                </c:pt>
                <c:pt idx="234">
                  <c:v>#N/A</c:v>
                </c:pt>
                <c:pt idx="235">
                  <c:v>#N/A</c:v>
                </c:pt>
                <c:pt idx="236">
                  <c:v>#N/A</c:v>
                </c:pt>
                <c:pt idx="237">
                  <c:v>13320.85938</c:v>
                </c:pt>
                <c:pt idx="238">
                  <c:v>#N/A</c:v>
                </c:pt>
                <c:pt idx="239">
                  <c:v>#N/A</c:v>
                </c:pt>
                <c:pt idx="240">
                  <c:v>#N/A</c:v>
                </c:pt>
                <c:pt idx="241">
                  <c:v>#N/A</c:v>
                </c:pt>
                <c:pt idx="242">
                  <c:v>#N/A</c:v>
                </c:pt>
                <c:pt idx="243">
                  <c:v>#N/A</c:v>
                </c:pt>
                <c:pt idx="244">
                  <c:v>13378.49206</c:v>
                </c:pt>
                <c:pt idx="245">
                  <c:v>#N/A</c:v>
                </c:pt>
                <c:pt idx="246">
                  <c:v>#N/A</c:v>
                </c:pt>
                <c:pt idx="247">
                  <c:v>#N/A</c:v>
                </c:pt>
                <c:pt idx="248">
                  <c:v>#N/A</c:v>
                </c:pt>
                <c:pt idx="249">
                  <c:v>#N/A</c:v>
                </c:pt>
                <c:pt idx="250">
                  <c:v>#N/A</c:v>
                </c:pt>
                <c:pt idx="251">
                  <c:v>13415.952380000001</c:v>
                </c:pt>
                <c:pt idx="252">
                  <c:v>#N/A</c:v>
                </c:pt>
                <c:pt idx="253">
                  <c:v>#N/A</c:v>
                </c:pt>
                <c:pt idx="254">
                  <c:v>#N/A</c:v>
                </c:pt>
                <c:pt idx="255">
                  <c:v>#N/A</c:v>
                </c:pt>
                <c:pt idx="256">
                  <c:v>#N/A</c:v>
                </c:pt>
                <c:pt idx="257">
                  <c:v>#N/A</c:v>
                </c:pt>
                <c:pt idx="258">
                  <c:v>13492.53968</c:v>
                </c:pt>
                <c:pt idx="259">
                  <c:v>#N/A</c:v>
                </c:pt>
                <c:pt idx="260">
                  <c:v>#N/A</c:v>
                </c:pt>
                <c:pt idx="261">
                  <c:v>#N/A</c:v>
                </c:pt>
                <c:pt idx="262">
                  <c:v>#N/A</c:v>
                </c:pt>
                <c:pt idx="263">
                  <c:v>#N/A</c:v>
                </c:pt>
                <c:pt idx="264">
                  <c:v>#N/A</c:v>
                </c:pt>
                <c:pt idx="265">
                  <c:v>13945.873020000001</c:v>
                </c:pt>
                <c:pt idx="266">
                  <c:v>#N/A</c:v>
                </c:pt>
                <c:pt idx="267">
                  <c:v>#N/A</c:v>
                </c:pt>
                <c:pt idx="268">
                  <c:v>#N/A</c:v>
                </c:pt>
                <c:pt idx="269">
                  <c:v>#N/A</c:v>
                </c:pt>
                <c:pt idx="270">
                  <c:v>#N/A</c:v>
                </c:pt>
                <c:pt idx="271">
                  <c:v>#N/A</c:v>
                </c:pt>
                <c:pt idx="272">
                  <c:v>13945.118109999999</c:v>
                </c:pt>
                <c:pt idx="273">
                  <c:v>#N/A</c:v>
                </c:pt>
                <c:pt idx="274">
                  <c:v>#N/A</c:v>
                </c:pt>
                <c:pt idx="275">
                  <c:v>#N/A</c:v>
                </c:pt>
                <c:pt idx="276">
                  <c:v>#N/A</c:v>
                </c:pt>
                <c:pt idx="277">
                  <c:v>#N/A</c:v>
                </c:pt>
                <c:pt idx="278">
                  <c:v>#N/A</c:v>
                </c:pt>
                <c:pt idx="279">
                  <c:v>13961.95313</c:v>
                </c:pt>
                <c:pt idx="280">
                  <c:v>#N/A</c:v>
                </c:pt>
                <c:pt idx="281">
                  <c:v>#N/A</c:v>
                </c:pt>
                <c:pt idx="282">
                  <c:v>#N/A</c:v>
                </c:pt>
                <c:pt idx="283">
                  <c:v>#N/A</c:v>
                </c:pt>
                <c:pt idx="284">
                  <c:v>#N/A</c:v>
                </c:pt>
                <c:pt idx="285">
                  <c:v>#N/A</c:v>
                </c:pt>
                <c:pt idx="286">
                  <c:v>13985.267180000001</c:v>
                </c:pt>
                <c:pt idx="287">
                  <c:v>#N/A</c:v>
                </c:pt>
                <c:pt idx="288">
                  <c:v>#N/A</c:v>
                </c:pt>
                <c:pt idx="289">
                  <c:v>#N/A</c:v>
                </c:pt>
                <c:pt idx="290">
                  <c:v>#N/A</c:v>
                </c:pt>
                <c:pt idx="291">
                  <c:v>#N/A</c:v>
                </c:pt>
                <c:pt idx="292">
                  <c:v>#N/A</c:v>
                </c:pt>
                <c:pt idx="293">
                  <c:v>13993.71212</c:v>
                </c:pt>
                <c:pt idx="294">
                  <c:v>#N/A</c:v>
                </c:pt>
                <c:pt idx="295">
                  <c:v>#N/A</c:v>
                </c:pt>
                <c:pt idx="296">
                  <c:v>#N/A</c:v>
                </c:pt>
                <c:pt idx="297">
                  <c:v>#N/A</c:v>
                </c:pt>
                <c:pt idx="298">
                  <c:v>#N/A</c:v>
                </c:pt>
                <c:pt idx="299">
                  <c:v>#N/A</c:v>
                </c:pt>
                <c:pt idx="300">
                  <c:v>13992.69173</c:v>
                </c:pt>
                <c:pt idx="301">
                  <c:v>#N/A</c:v>
                </c:pt>
                <c:pt idx="302">
                  <c:v>#N/A</c:v>
                </c:pt>
                <c:pt idx="303">
                  <c:v>#N/A</c:v>
                </c:pt>
                <c:pt idx="304">
                  <c:v>#N/A</c:v>
                </c:pt>
                <c:pt idx="305">
                  <c:v>#N/A</c:v>
                </c:pt>
                <c:pt idx="306">
                  <c:v>#N/A</c:v>
                </c:pt>
                <c:pt idx="307">
                  <c:v>14257.72932</c:v>
                </c:pt>
                <c:pt idx="308">
                  <c:v>#N/A</c:v>
                </c:pt>
                <c:pt idx="309">
                  <c:v>#N/A</c:v>
                </c:pt>
                <c:pt idx="310">
                  <c:v>#N/A</c:v>
                </c:pt>
                <c:pt idx="311">
                  <c:v>#N/A</c:v>
                </c:pt>
                <c:pt idx="312">
                  <c:v>#N/A</c:v>
                </c:pt>
                <c:pt idx="313">
                  <c:v>#N/A</c:v>
                </c:pt>
                <c:pt idx="314">
                  <c:v>14421.33835</c:v>
                </c:pt>
                <c:pt idx="315">
                  <c:v>#N/A</c:v>
                </c:pt>
                <c:pt idx="316">
                  <c:v>#N/A</c:v>
                </c:pt>
                <c:pt idx="317">
                  <c:v>#N/A</c:v>
                </c:pt>
                <c:pt idx="318">
                  <c:v>#N/A</c:v>
                </c:pt>
                <c:pt idx="319">
                  <c:v>#N/A</c:v>
                </c:pt>
                <c:pt idx="320">
                  <c:v>#N/A</c:v>
                </c:pt>
                <c:pt idx="321">
                  <c:v>14606.014709999999</c:v>
                </c:pt>
                <c:pt idx="322">
                  <c:v>#N/A</c:v>
                </c:pt>
                <c:pt idx="323">
                  <c:v>#N/A</c:v>
                </c:pt>
                <c:pt idx="324">
                  <c:v>#N/A</c:v>
                </c:pt>
                <c:pt idx="325">
                  <c:v>#N/A</c:v>
                </c:pt>
                <c:pt idx="326">
                  <c:v>#N/A</c:v>
                </c:pt>
                <c:pt idx="327">
                  <c:v>#N/A</c:v>
                </c:pt>
                <c:pt idx="328">
                  <c:v>14607.485290000001</c:v>
                </c:pt>
                <c:pt idx="329">
                  <c:v>#N/A</c:v>
                </c:pt>
                <c:pt idx="330">
                  <c:v>#N/A</c:v>
                </c:pt>
                <c:pt idx="331">
                  <c:v>#N/A</c:v>
                </c:pt>
                <c:pt idx="332">
                  <c:v>#N/A</c:v>
                </c:pt>
                <c:pt idx="333">
                  <c:v>#N/A</c:v>
                </c:pt>
                <c:pt idx="334">
                  <c:v>#N/A</c:v>
                </c:pt>
                <c:pt idx="335">
                  <c:v>14635.240879999999</c:v>
                </c:pt>
                <c:pt idx="336">
                  <c:v>#N/A</c:v>
                </c:pt>
                <c:pt idx="337">
                  <c:v>#N/A</c:v>
                </c:pt>
                <c:pt idx="338">
                  <c:v>#N/A</c:v>
                </c:pt>
                <c:pt idx="339">
                  <c:v>#N/A</c:v>
                </c:pt>
                <c:pt idx="340">
                  <c:v>#N/A</c:v>
                </c:pt>
                <c:pt idx="341">
                  <c:v>#N/A</c:v>
                </c:pt>
                <c:pt idx="342">
                  <c:v>14801.15328</c:v>
                </c:pt>
                <c:pt idx="343">
                  <c:v>#N/A</c:v>
                </c:pt>
                <c:pt idx="344">
                  <c:v>#N/A</c:v>
                </c:pt>
                <c:pt idx="345">
                  <c:v>#N/A</c:v>
                </c:pt>
                <c:pt idx="346">
                  <c:v>#N/A</c:v>
                </c:pt>
                <c:pt idx="347">
                  <c:v>#N/A</c:v>
                </c:pt>
                <c:pt idx="348">
                  <c:v>#N/A</c:v>
                </c:pt>
                <c:pt idx="349">
                  <c:v>14910.42647</c:v>
                </c:pt>
                <c:pt idx="350">
                  <c:v>#N/A</c:v>
                </c:pt>
                <c:pt idx="351">
                  <c:v>#N/A</c:v>
                </c:pt>
                <c:pt idx="352">
                  <c:v>#N/A</c:v>
                </c:pt>
                <c:pt idx="353">
                  <c:v>#N/A</c:v>
                </c:pt>
                <c:pt idx="354">
                  <c:v>#N/A</c:v>
                </c:pt>
                <c:pt idx="355">
                  <c:v>#N/A</c:v>
                </c:pt>
                <c:pt idx="356">
                  <c:v>14912.374100000001</c:v>
                </c:pt>
                <c:pt idx="357">
                  <c:v>#N/A</c:v>
                </c:pt>
                <c:pt idx="358">
                  <c:v>#N/A</c:v>
                </c:pt>
                <c:pt idx="359">
                  <c:v>#N/A</c:v>
                </c:pt>
                <c:pt idx="360">
                  <c:v>#N/A</c:v>
                </c:pt>
                <c:pt idx="361">
                  <c:v>#N/A</c:v>
                </c:pt>
                <c:pt idx="362">
                  <c:v>#N/A</c:v>
                </c:pt>
                <c:pt idx="363">
                  <c:v>14915.14286</c:v>
                </c:pt>
                <c:pt idx="364">
                  <c:v>#N/A</c:v>
                </c:pt>
                <c:pt idx="365">
                  <c:v>#N/A</c:v>
                </c:pt>
              </c:numCache>
            </c:numRef>
          </c:val>
          <c:smooth val="0"/>
          <c:extLst>
            <c:ext xmlns:c16="http://schemas.microsoft.com/office/drawing/2014/chart" uri="{C3380CC4-5D6E-409C-BE32-E72D297353CC}">
              <c16:uniqueId val="{00000003-3A13-4F80-A1C3-20DC9089A29D}"/>
            </c:ext>
          </c:extLst>
        </c:ser>
        <c:ser>
          <c:idx val="4"/>
          <c:order val="4"/>
          <c:tx>
            <c:strRef>
              <c:f>金属硅周度图表!$BC$2</c:f>
              <c:strCache>
                <c:ptCount val="1"/>
                <c:pt idx="0">
                  <c:v>2024</c:v>
                </c:pt>
              </c:strCache>
            </c:strRef>
          </c:tx>
          <c:spPr>
            <a:ln w="28575" cap="rnd">
              <a:solidFill>
                <a:schemeClr val="tx1"/>
              </a:solidFill>
              <a:round/>
            </a:ln>
            <a:effectLst/>
          </c:spPr>
          <c:marker>
            <c:symbol val="none"/>
          </c:marker>
          <c:cat>
            <c:strRef>
              <c:f>金属硅周度图表!$AX$3:$AX$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BC$3:$BC$368</c:f>
              <c:numCache>
                <c:formatCode>General</c:formatCode>
                <c:ptCount val="366"/>
                <c:pt idx="0">
                  <c:v>14927.71429</c:v>
                </c:pt>
                <c:pt idx="1">
                  <c:v>14927.71429</c:v>
                </c:pt>
                <c:pt idx="2">
                  <c:v>14927.71429</c:v>
                </c:pt>
                <c:pt idx="3">
                  <c:v>14927.71429</c:v>
                </c:pt>
                <c:pt idx="4">
                  <c:v>14927.71429</c:v>
                </c:pt>
                <c:pt idx="5">
                  <c:v>14927.71429</c:v>
                </c:pt>
                <c:pt idx="6">
                  <c:v>14927.71429</c:v>
                </c:pt>
                <c:pt idx="7">
                  <c:v>14927.71429</c:v>
                </c:pt>
                <c:pt idx="8">
                  <c:v>14927.71429</c:v>
                </c:pt>
                <c:pt idx="9">
                  <c:v>14927.71429</c:v>
                </c:pt>
                <c:pt idx="10">
                  <c:v>14927.71429</c:v>
                </c:pt>
                <c:pt idx="11">
                  <c:v>14927.71429</c:v>
                </c:pt>
                <c:pt idx="12">
                  <c:v>14937.58865</c:v>
                </c:pt>
                <c:pt idx="13">
                  <c:v>14937.58865</c:v>
                </c:pt>
                <c:pt idx="14">
                  <c:v>14937.58865</c:v>
                </c:pt>
                <c:pt idx="15">
                  <c:v>14937.58865</c:v>
                </c:pt>
                <c:pt idx="16">
                  <c:v>14937.58865</c:v>
                </c:pt>
                <c:pt idx="17">
                  <c:v>14937.58865</c:v>
                </c:pt>
                <c:pt idx="18">
                  <c:v>14937.58865</c:v>
                </c:pt>
                <c:pt idx="19">
                  <c:v>14932.39437</c:v>
                </c:pt>
                <c:pt idx="20">
                  <c:v>14932.39437</c:v>
                </c:pt>
                <c:pt idx="21">
                  <c:v>14932.39437</c:v>
                </c:pt>
                <c:pt idx="22">
                  <c:v>14932.39437</c:v>
                </c:pt>
                <c:pt idx="23">
                  <c:v>14932.39437</c:v>
                </c:pt>
                <c:pt idx="24">
                  <c:v>14932.39437</c:v>
                </c:pt>
                <c:pt idx="25">
                  <c:v>14932.39437</c:v>
                </c:pt>
                <c:pt idx="26">
                  <c:v>14948.380279999999</c:v>
                </c:pt>
                <c:pt idx="27">
                  <c:v>14948.380279999999</c:v>
                </c:pt>
                <c:pt idx="28">
                  <c:v>14948.380279999999</c:v>
                </c:pt>
                <c:pt idx="29">
                  <c:v>14948.380279999999</c:v>
                </c:pt>
                <c:pt idx="30">
                  <c:v>14948.380279999999</c:v>
                </c:pt>
                <c:pt idx="31">
                  <c:v>14948.380279999999</c:v>
                </c:pt>
                <c:pt idx="32">
                  <c:v>14948.380279999999</c:v>
                </c:pt>
                <c:pt idx="33">
                  <c:v>14951.549300000001</c:v>
                </c:pt>
                <c:pt idx="34">
                  <c:v>14951.549300000001</c:v>
                </c:pt>
                <c:pt idx="35">
                  <c:v>14951.549300000001</c:v>
                </c:pt>
                <c:pt idx="36">
                  <c:v>14951.549300000001</c:v>
                </c:pt>
                <c:pt idx="37">
                  <c:v>14951.549300000001</c:v>
                </c:pt>
                <c:pt idx="38">
                  <c:v>14951.549300000001</c:v>
                </c:pt>
                <c:pt idx="39">
                  <c:v>14951.549300000001</c:v>
                </c:pt>
                <c:pt idx="40">
                  <c:v>14951.549300000001</c:v>
                </c:pt>
                <c:pt idx="41">
                  <c:v>14951.549300000001</c:v>
                </c:pt>
                <c:pt idx="42">
                  <c:v>14951.549300000001</c:v>
                </c:pt>
                <c:pt idx="43">
                  <c:v>14951.549300000001</c:v>
                </c:pt>
                <c:pt idx="44">
                  <c:v>14951.549300000001</c:v>
                </c:pt>
                <c:pt idx="45">
                  <c:v>14951.549300000001</c:v>
                </c:pt>
                <c:pt idx="46">
                  <c:v>14951.549300000001</c:v>
                </c:pt>
                <c:pt idx="47">
                  <c:v>14958.521129999999</c:v>
                </c:pt>
                <c:pt idx="48">
                  <c:v>14958.521129999999</c:v>
                </c:pt>
                <c:pt idx="49">
                  <c:v>14958.521129999999</c:v>
                </c:pt>
                <c:pt idx="50">
                  <c:v>14958.521129999999</c:v>
                </c:pt>
                <c:pt idx="51">
                  <c:v>14958.521129999999</c:v>
                </c:pt>
                <c:pt idx="52">
                  <c:v>14958.521129999999</c:v>
                </c:pt>
                <c:pt idx="53">
                  <c:v>14958.521129999999</c:v>
                </c:pt>
                <c:pt idx="54">
                  <c:v>14944.892089999999</c:v>
                </c:pt>
                <c:pt idx="55">
                  <c:v>14944.892089999999</c:v>
                </c:pt>
                <c:pt idx="56">
                  <c:v>14944.892089999999</c:v>
                </c:pt>
                <c:pt idx="57">
                  <c:v>14944.892089999999</c:v>
                </c:pt>
                <c:pt idx="58">
                  <c:v>14944.892089999999</c:v>
                </c:pt>
                <c:pt idx="59">
                  <c:v>14944.892089999999</c:v>
                </c:pt>
                <c:pt idx="60">
                  <c:v>14944.892089999999</c:v>
                </c:pt>
                <c:pt idx="61">
                  <c:v>14959.361699999999</c:v>
                </c:pt>
                <c:pt idx="62">
                  <c:v>14959.361699999999</c:v>
                </c:pt>
                <c:pt idx="63">
                  <c:v>14959.361699999999</c:v>
                </c:pt>
                <c:pt idx="64">
                  <c:v>14959.361699999999</c:v>
                </c:pt>
                <c:pt idx="65">
                  <c:v>14959.361699999999</c:v>
                </c:pt>
                <c:pt idx="66">
                  <c:v>14959.361699999999</c:v>
                </c:pt>
                <c:pt idx="67">
                  <c:v>14959.361699999999</c:v>
                </c:pt>
                <c:pt idx="68">
                  <c:v>14937.04225</c:v>
                </c:pt>
                <c:pt idx="69">
                  <c:v>14937.04225</c:v>
                </c:pt>
                <c:pt idx="70">
                  <c:v>14937.04225</c:v>
                </c:pt>
                <c:pt idx="71">
                  <c:v>14937.04225</c:v>
                </c:pt>
                <c:pt idx="72">
                  <c:v>14937.04225</c:v>
                </c:pt>
                <c:pt idx="73">
                  <c:v>14937.04225</c:v>
                </c:pt>
                <c:pt idx="74">
                  <c:v>14937.04225</c:v>
                </c:pt>
                <c:pt idx="75">
                  <c:v>14915.985919999999</c:v>
                </c:pt>
                <c:pt idx="76">
                  <c:v>14915.985919999999</c:v>
                </c:pt>
                <c:pt idx="77">
                  <c:v>14915.985919999999</c:v>
                </c:pt>
                <c:pt idx="78">
                  <c:v>14915.985919999999</c:v>
                </c:pt>
                <c:pt idx="79">
                  <c:v>14915.985919999999</c:v>
                </c:pt>
                <c:pt idx="80">
                  <c:v>14915.985919999999</c:v>
                </c:pt>
                <c:pt idx="81">
                  <c:v>14915.985919999999</c:v>
                </c:pt>
                <c:pt idx="82">
                  <c:v>14915.28169</c:v>
                </c:pt>
                <c:pt idx="83">
                  <c:v>14915.28169</c:v>
                </c:pt>
                <c:pt idx="84">
                  <c:v>14915.28169</c:v>
                </c:pt>
                <c:pt idx="85">
                  <c:v>14915.28169</c:v>
                </c:pt>
                <c:pt idx="86">
                  <c:v>14915.28169</c:v>
                </c:pt>
                <c:pt idx="87">
                  <c:v>14915.28169</c:v>
                </c:pt>
                <c:pt idx="88">
                  <c:v>14915.28169</c:v>
                </c:pt>
                <c:pt idx="89">
                  <c:v>14904.71831</c:v>
                </c:pt>
                <c:pt idx="90">
                  <c:v>14904.71831</c:v>
                </c:pt>
                <c:pt idx="91">
                  <c:v>14904.71831</c:v>
                </c:pt>
                <c:pt idx="92">
                  <c:v>14904.71831</c:v>
                </c:pt>
                <c:pt idx="93">
                  <c:v>14904.71831</c:v>
                </c:pt>
                <c:pt idx="94">
                  <c:v>14904.71831</c:v>
                </c:pt>
                <c:pt idx="95">
                  <c:v>14904.71831</c:v>
                </c:pt>
                <c:pt idx="96">
                  <c:v>14901.056339999999</c:v>
                </c:pt>
                <c:pt idx="97">
                  <c:v>14901.056339999999</c:v>
                </c:pt>
                <c:pt idx="98">
                  <c:v>14901.056339999999</c:v>
                </c:pt>
                <c:pt idx="99">
                  <c:v>14901.056339999999</c:v>
                </c:pt>
                <c:pt idx="100">
                  <c:v>14901.056339999999</c:v>
                </c:pt>
                <c:pt idx="101">
                  <c:v>14901.056339999999</c:v>
                </c:pt>
                <c:pt idx="102">
                  <c:v>14901.056339999999</c:v>
                </c:pt>
                <c:pt idx="103">
                  <c:v>14873.92857</c:v>
                </c:pt>
                <c:pt idx="104">
                  <c:v>14873.92857</c:v>
                </c:pt>
                <c:pt idx="105">
                  <c:v>14873.92857</c:v>
                </c:pt>
                <c:pt idx="106">
                  <c:v>14873.92857</c:v>
                </c:pt>
                <c:pt idx="107">
                  <c:v>14873.92857</c:v>
                </c:pt>
                <c:pt idx="108">
                  <c:v>14873.92857</c:v>
                </c:pt>
                <c:pt idx="109">
                  <c:v>14873.92857</c:v>
                </c:pt>
                <c:pt idx="110">
                  <c:v>14258.18182</c:v>
                </c:pt>
                <c:pt idx="111">
                  <c:v>14258.18182</c:v>
                </c:pt>
                <c:pt idx="112">
                  <c:v>14258.18182</c:v>
                </c:pt>
                <c:pt idx="113">
                  <c:v>14258.18182</c:v>
                </c:pt>
                <c:pt idx="114">
                  <c:v>14258.18182</c:v>
                </c:pt>
                <c:pt idx="115">
                  <c:v>14258.18182</c:v>
                </c:pt>
                <c:pt idx="116">
                  <c:v>14258.18182</c:v>
                </c:pt>
                <c:pt idx="117">
                  <c:v>14182.77778</c:v>
                </c:pt>
                <c:pt idx="118">
                  <c:v>14182.77778</c:v>
                </c:pt>
                <c:pt idx="119">
                  <c:v>14182.77778</c:v>
                </c:pt>
                <c:pt idx="120">
                  <c:v>14182.77778</c:v>
                </c:pt>
                <c:pt idx="121">
                  <c:v>14182.77778</c:v>
                </c:pt>
                <c:pt idx="122">
                  <c:v>14182.77778</c:v>
                </c:pt>
                <c:pt idx="123">
                  <c:v>14182.77778</c:v>
                </c:pt>
                <c:pt idx="124">
                  <c:v>13873.56313</c:v>
                </c:pt>
                <c:pt idx="125">
                  <c:v>13873.56313</c:v>
                </c:pt>
                <c:pt idx="126">
                  <c:v>13873.56313</c:v>
                </c:pt>
                <c:pt idx="127">
                  <c:v>13873.56313</c:v>
                </c:pt>
                <c:pt idx="128">
                  <c:v>13873.56313</c:v>
                </c:pt>
                <c:pt idx="129">
                  <c:v>13873.56313</c:v>
                </c:pt>
                <c:pt idx="130">
                  <c:v>13873.56313</c:v>
                </c:pt>
                <c:pt idx="131">
                  <c:v>13733.786410000001</c:v>
                </c:pt>
                <c:pt idx="132">
                  <c:v>13733.786410000001</c:v>
                </c:pt>
                <c:pt idx="133">
                  <c:v>13733.786410000001</c:v>
                </c:pt>
                <c:pt idx="134">
                  <c:v>13733.786410000001</c:v>
                </c:pt>
                <c:pt idx="135">
                  <c:v>13733.786410000001</c:v>
                </c:pt>
                <c:pt idx="136">
                  <c:v>13733.786410000001</c:v>
                </c:pt>
                <c:pt idx="137">
                  <c:v>13733.786410000001</c:v>
                </c:pt>
                <c:pt idx="138">
                  <c:v>13632.523359999999</c:v>
                </c:pt>
                <c:pt idx="139">
                  <c:v>13632.523359999999</c:v>
                </c:pt>
                <c:pt idx="140">
                  <c:v>13632.523359999999</c:v>
                </c:pt>
                <c:pt idx="141">
                  <c:v>13632.523359999999</c:v>
                </c:pt>
                <c:pt idx="142">
                  <c:v>13632.523359999999</c:v>
                </c:pt>
                <c:pt idx="143">
                  <c:v>13632.523359999999</c:v>
                </c:pt>
                <c:pt idx="144">
                  <c:v>13632.523359999999</c:v>
                </c:pt>
                <c:pt idx="145">
                  <c:v>13544.245279999999</c:v>
                </c:pt>
                <c:pt idx="146">
                  <c:v>13544.245279999999</c:v>
                </c:pt>
                <c:pt idx="147">
                  <c:v>13544.245279999999</c:v>
                </c:pt>
                <c:pt idx="148">
                  <c:v>13544.245279999999</c:v>
                </c:pt>
                <c:pt idx="149">
                  <c:v>13544.245279999999</c:v>
                </c:pt>
                <c:pt idx="150">
                  <c:v>13544.245279999999</c:v>
                </c:pt>
                <c:pt idx="151">
                  <c:v>13544.245279999999</c:v>
                </c:pt>
                <c:pt idx="152">
                  <c:v>13454.29825</c:v>
                </c:pt>
                <c:pt idx="153">
                  <c:v>13454.29825</c:v>
                </c:pt>
                <c:pt idx="154">
                  <c:v>13454.29825</c:v>
                </c:pt>
                <c:pt idx="155">
                  <c:v>13454.29825</c:v>
                </c:pt>
                <c:pt idx="156">
                  <c:v>13454.29825</c:v>
                </c:pt>
                <c:pt idx="157">
                  <c:v>13454.29825</c:v>
                </c:pt>
                <c:pt idx="158">
                  <c:v>13454.29825</c:v>
                </c:pt>
                <c:pt idx="159">
                  <c:v>13395.603450000001</c:v>
                </c:pt>
                <c:pt idx="160">
                  <c:v>13395.603450000001</c:v>
                </c:pt>
                <c:pt idx="161">
                  <c:v>13395.603450000001</c:v>
                </c:pt>
                <c:pt idx="162">
                  <c:v>13395.603450000001</c:v>
                </c:pt>
                <c:pt idx="163">
                  <c:v>13395.603450000001</c:v>
                </c:pt>
                <c:pt idx="164">
                  <c:v>13395.603450000001</c:v>
                </c:pt>
                <c:pt idx="165">
                  <c:v>13395.603450000001</c:v>
                </c:pt>
                <c:pt idx="166">
                  <c:v>13325.52</c:v>
                </c:pt>
                <c:pt idx="167">
                  <c:v>13325.52</c:v>
                </c:pt>
                <c:pt idx="168">
                  <c:v>13325.52</c:v>
                </c:pt>
                <c:pt idx="169">
                  <c:v>13325.52</c:v>
                </c:pt>
                <c:pt idx="170">
                  <c:v>13325.52</c:v>
                </c:pt>
                <c:pt idx="171">
                  <c:v>13325.52</c:v>
                </c:pt>
                <c:pt idx="172">
                  <c:v>13325.52</c:v>
                </c:pt>
                <c:pt idx="173">
                  <c:v>13240</c:v>
                </c:pt>
                <c:pt idx="174">
                  <c:v>13240</c:v>
                </c:pt>
                <c:pt idx="175">
                  <c:v>13240</c:v>
                </c:pt>
                <c:pt idx="176">
                  <c:v>13240</c:v>
                </c:pt>
                <c:pt idx="177">
                  <c:v>13240</c:v>
                </c:pt>
                <c:pt idx="178">
                  <c:v>13240</c:v>
                </c:pt>
                <c:pt idx="179">
                  <c:v>13240</c:v>
                </c:pt>
                <c:pt idx="180">
                  <c:v>12706.22222</c:v>
                </c:pt>
                <c:pt idx="181">
                  <c:v>12706.22222</c:v>
                </c:pt>
                <c:pt idx="182">
                  <c:v>12706.22222</c:v>
                </c:pt>
                <c:pt idx="183">
                  <c:v>12706.22222</c:v>
                </c:pt>
                <c:pt idx="184">
                  <c:v>12706.22222</c:v>
                </c:pt>
                <c:pt idx="185">
                  <c:v>12706.22222</c:v>
                </c:pt>
                <c:pt idx="186">
                  <c:v>12706.22222</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4-3A13-4F80-A1C3-20DC9089A29D}"/>
            </c:ext>
          </c:extLst>
        </c:ser>
        <c:dLbls>
          <c:showLegendKey val="0"/>
          <c:showVal val="0"/>
          <c:showCatName val="0"/>
          <c:showSerName val="0"/>
          <c:showPercent val="0"/>
          <c:showBubbleSize val="0"/>
        </c:dLbls>
        <c:smooth val="0"/>
        <c:axId val="1534667583"/>
        <c:axId val="311601728"/>
      </c:lineChart>
      <c:catAx>
        <c:axId val="1534667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311601728"/>
        <c:crosses val="autoZero"/>
        <c:auto val="1"/>
        <c:lblAlgn val="ctr"/>
        <c:lblOffset val="100"/>
        <c:noMultiLvlLbl val="0"/>
      </c:catAx>
      <c:valAx>
        <c:axId val="311601728"/>
        <c:scaling>
          <c:orientation val="minMax"/>
          <c:min val="8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5346675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金属硅周度图表!$BE$1</c:f>
          <c:strCache>
            <c:ptCount val="1"/>
            <c:pt idx="0">
              <c:v>周度利润</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manualLayout>
          <c:layoutTarget val="inner"/>
          <c:xMode val="edge"/>
          <c:yMode val="edge"/>
          <c:x val="0.11192549666509562"/>
          <c:y val="0.1327748908420153"/>
          <c:w val="0.86313413171087017"/>
          <c:h val="0.58282164443109652"/>
        </c:manualLayout>
      </c:layout>
      <c:lineChart>
        <c:grouping val="standard"/>
        <c:varyColors val="0"/>
        <c:ser>
          <c:idx val="0"/>
          <c:order val="0"/>
          <c:tx>
            <c:strRef>
              <c:f>金属硅周度图表!$BF$2</c:f>
              <c:strCache>
                <c:ptCount val="1"/>
                <c:pt idx="0">
                  <c:v>2020</c:v>
                </c:pt>
              </c:strCache>
            </c:strRef>
          </c:tx>
          <c:spPr>
            <a:ln w="19050" cap="rnd">
              <a:solidFill>
                <a:srgbClr val="7030A0">
                  <a:alpha val="60000"/>
                </a:srgbClr>
              </a:solidFill>
              <a:round/>
            </a:ln>
            <a:effectLst/>
          </c:spPr>
          <c:marker>
            <c:symbol val="none"/>
          </c:marker>
          <c:cat>
            <c:strRef>
              <c:f>金属硅周度图表!$BE$3:$BE$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BF$3:$BF$368</c:f>
              <c:numCache>
                <c:formatCode>General</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814.33</c:v>
                </c:pt>
                <c:pt idx="17">
                  <c:v>#N/A</c:v>
                </c:pt>
                <c:pt idx="18">
                  <c:v>#N/A</c:v>
                </c:pt>
                <c:pt idx="19">
                  <c:v>#N/A</c:v>
                </c:pt>
                <c:pt idx="20">
                  <c:v>#N/A</c:v>
                </c:pt>
                <c:pt idx="21">
                  <c:v>#N/A</c:v>
                </c:pt>
                <c:pt idx="22">
                  <c:v>#N/A</c:v>
                </c:pt>
                <c:pt idx="23">
                  <c:v>790.79</c:v>
                </c:pt>
                <c:pt idx="24">
                  <c:v>#N/A</c:v>
                </c:pt>
                <c:pt idx="25">
                  <c:v>#N/A</c:v>
                </c:pt>
                <c:pt idx="26">
                  <c:v>#N/A</c:v>
                </c:pt>
                <c:pt idx="27">
                  <c:v>#N/A</c:v>
                </c:pt>
                <c:pt idx="28">
                  <c:v>#N/A</c:v>
                </c:pt>
                <c:pt idx="29">
                  <c:v>#N/A</c:v>
                </c:pt>
                <c:pt idx="30">
                  <c:v>790.79</c:v>
                </c:pt>
                <c:pt idx="31">
                  <c:v>#N/A</c:v>
                </c:pt>
                <c:pt idx="32">
                  <c:v>#N/A</c:v>
                </c:pt>
                <c:pt idx="33">
                  <c:v>#N/A</c:v>
                </c:pt>
                <c:pt idx="34">
                  <c:v>#N/A</c:v>
                </c:pt>
                <c:pt idx="35">
                  <c:v>#N/A</c:v>
                </c:pt>
                <c:pt idx="36">
                  <c:v>#N/A</c:v>
                </c:pt>
                <c:pt idx="37">
                  <c:v>790.79</c:v>
                </c:pt>
                <c:pt idx="38">
                  <c:v>#N/A</c:v>
                </c:pt>
                <c:pt idx="39">
                  <c:v>#N/A</c:v>
                </c:pt>
                <c:pt idx="40">
                  <c:v>#N/A</c:v>
                </c:pt>
                <c:pt idx="41">
                  <c:v>#N/A</c:v>
                </c:pt>
                <c:pt idx="42">
                  <c:v>#N/A</c:v>
                </c:pt>
                <c:pt idx="43">
                  <c:v>#N/A</c:v>
                </c:pt>
                <c:pt idx="44">
                  <c:v>863.62</c:v>
                </c:pt>
                <c:pt idx="45">
                  <c:v>#N/A</c:v>
                </c:pt>
                <c:pt idx="46">
                  <c:v>#N/A</c:v>
                </c:pt>
                <c:pt idx="47">
                  <c:v>#N/A</c:v>
                </c:pt>
                <c:pt idx="48">
                  <c:v>#N/A</c:v>
                </c:pt>
                <c:pt idx="49">
                  <c:v>#N/A</c:v>
                </c:pt>
                <c:pt idx="50">
                  <c:v>#N/A</c:v>
                </c:pt>
                <c:pt idx="51">
                  <c:v>1054.48</c:v>
                </c:pt>
                <c:pt idx="52">
                  <c:v>#N/A</c:v>
                </c:pt>
                <c:pt idx="53">
                  <c:v>#N/A</c:v>
                </c:pt>
                <c:pt idx="54">
                  <c:v>#N/A</c:v>
                </c:pt>
                <c:pt idx="55">
                  <c:v>#N/A</c:v>
                </c:pt>
                <c:pt idx="56">
                  <c:v>#N/A</c:v>
                </c:pt>
                <c:pt idx="57">
                  <c:v>#N/A</c:v>
                </c:pt>
                <c:pt idx="58">
                  <c:v>1005.62</c:v>
                </c:pt>
                <c:pt idx="59">
                  <c:v>#N/A</c:v>
                </c:pt>
                <c:pt idx="60">
                  <c:v>#N/A</c:v>
                </c:pt>
                <c:pt idx="61">
                  <c:v>#N/A</c:v>
                </c:pt>
                <c:pt idx="62">
                  <c:v>#N/A</c:v>
                </c:pt>
                <c:pt idx="63">
                  <c:v>#N/A</c:v>
                </c:pt>
                <c:pt idx="64">
                  <c:v>#N/A</c:v>
                </c:pt>
                <c:pt idx="65">
                  <c:v>1005.62</c:v>
                </c:pt>
                <c:pt idx="66">
                  <c:v>#N/A</c:v>
                </c:pt>
                <c:pt idx="67">
                  <c:v>#N/A</c:v>
                </c:pt>
                <c:pt idx="68">
                  <c:v>#N/A</c:v>
                </c:pt>
                <c:pt idx="69">
                  <c:v>#N/A</c:v>
                </c:pt>
                <c:pt idx="70">
                  <c:v>#N/A</c:v>
                </c:pt>
                <c:pt idx="71">
                  <c:v>#N/A</c:v>
                </c:pt>
                <c:pt idx="72">
                  <c:v>989.38</c:v>
                </c:pt>
                <c:pt idx="73">
                  <c:v>#N/A</c:v>
                </c:pt>
                <c:pt idx="74">
                  <c:v>#N/A</c:v>
                </c:pt>
                <c:pt idx="75">
                  <c:v>#N/A</c:v>
                </c:pt>
                <c:pt idx="76">
                  <c:v>#N/A</c:v>
                </c:pt>
                <c:pt idx="77">
                  <c:v>#N/A</c:v>
                </c:pt>
                <c:pt idx="78">
                  <c:v>#N/A</c:v>
                </c:pt>
                <c:pt idx="79">
                  <c:v>998.32</c:v>
                </c:pt>
                <c:pt idx="80">
                  <c:v>#N/A</c:v>
                </c:pt>
                <c:pt idx="81">
                  <c:v>#N/A</c:v>
                </c:pt>
                <c:pt idx="82">
                  <c:v>#N/A</c:v>
                </c:pt>
                <c:pt idx="83">
                  <c:v>#N/A</c:v>
                </c:pt>
                <c:pt idx="84">
                  <c:v>#N/A</c:v>
                </c:pt>
                <c:pt idx="85">
                  <c:v>#N/A</c:v>
                </c:pt>
                <c:pt idx="86">
                  <c:v>882.47</c:v>
                </c:pt>
                <c:pt idx="87">
                  <c:v>#N/A</c:v>
                </c:pt>
                <c:pt idx="88">
                  <c:v>#N/A</c:v>
                </c:pt>
                <c:pt idx="89">
                  <c:v>#N/A</c:v>
                </c:pt>
                <c:pt idx="90">
                  <c:v>#N/A</c:v>
                </c:pt>
                <c:pt idx="91">
                  <c:v>#N/A</c:v>
                </c:pt>
                <c:pt idx="92">
                  <c:v>#N/A</c:v>
                </c:pt>
                <c:pt idx="93">
                  <c:v>660.21</c:v>
                </c:pt>
                <c:pt idx="94">
                  <c:v>#N/A</c:v>
                </c:pt>
                <c:pt idx="95">
                  <c:v>#N/A</c:v>
                </c:pt>
                <c:pt idx="96">
                  <c:v>#N/A</c:v>
                </c:pt>
                <c:pt idx="97">
                  <c:v>#N/A</c:v>
                </c:pt>
                <c:pt idx="98">
                  <c:v>#N/A</c:v>
                </c:pt>
                <c:pt idx="99">
                  <c:v>#N/A</c:v>
                </c:pt>
                <c:pt idx="100">
                  <c:v>668.61</c:v>
                </c:pt>
                <c:pt idx="101">
                  <c:v>#N/A</c:v>
                </c:pt>
                <c:pt idx="102">
                  <c:v>#N/A</c:v>
                </c:pt>
                <c:pt idx="103">
                  <c:v>#N/A</c:v>
                </c:pt>
                <c:pt idx="104">
                  <c:v>#N/A</c:v>
                </c:pt>
                <c:pt idx="105">
                  <c:v>#N/A</c:v>
                </c:pt>
                <c:pt idx="106">
                  <c:v>#N/A</c:v>
                </c:pt>
                <c:pt idx="107">
                  <c:v>578.09</c:v>
                </c:pt>
                <c:pt idx="108">
                  <c:v>#N/A</c:v>
                </c:pt>
                <c:pt idx="109">
                  <c:v>#N/A</c:v>
                </c:pt>
                <c:pt idx="110">
                  <c:v>#N/A</c:v>
                </c:pt>
                <c:pt idx="111">
                  <c:v>#N/A</c:v>
                </c:pt>
                <c:pt idx="112">
                  <c:v>#N/A</c:v>
                </c:pt>
                <c:pt idx="113">
                  <c:v>#N/A</c:v>
                </c:pt>
                <c:pt idx="114">
                  <c:v>561.83000000000004</c:v>
                </c:pt>
                <c:pt idx="115">
                  <c:v>#N/A</c:v>
                </c:pt>
                <c:pt idx="116">
                  <c:v>#N/A</c:v>
                </c:pt>
                <c:pt idx="117">
                  <c:v>#N/A</c:v>
                </c:pt>
                <c:pt idx="118">
                  <c:v>#N/A</c:v>
                </c:pt>
                <c:pt idx="119">
                  <c:v>#N/A</c:v>
                </c:pt>
                <c:pt idx="120">
                  <c:v>#N/A</c:v>
                </c:pt>
                <c:pt idx="121">
                  <c:v>560.29999999999995</c:v>
                </c:pt>
                <c:pt idx="122">
                  <c:v>#N/A</c:v>
                </c:pt>
                <c:pt idx="123">
                  <c:v>#N/A</c:v>
                </c:pt>
                <c:pt idx="124">
                  <c:v>#N/A</c:v>
                </c:pt>
                <c:pt idx="125">
                  <c:v>#N/A</c:v>
                </c:pt>
                <c:pt idx="126">
                  <c:v>#N/A</c:v>
                </c:pt>
                <c:pt idx="127">
                  <c:v>#N/A</c:v>
                </c:pt>
                <c:pt idx="128">
                  <c:v>558.13</c:v>
                </c:pt>
                <c:pt idx="129">
                  <c:v>#N/A</c:v>
                </c:pt>
                <c:pt idx="130">
                  <c:v>#N/A</c:v>
                </c:pt>
                <c:pt idx="131">
                  <c:v>#N/A</c:v>
                </c:pt>
                <c:pt idx="132">
                  <c:v>#N/A</c:v>
                </c:pt>
                <c:pt idx="133">
                  <c:v>#N/A</c:v>
                </c:pt>
                <c:pt idx="134">
                  <c:v>#N/A</c:v>
                </c:pt>
                <c:pt idx="135">
                  <c:v>543.38</c:v>
                </c:pt>
                <c:pt idx="136">
                  <c:v>#N/A</c:v>
                </c:pt>
                <c:pt idx="137">
                  <c:v>#N/A</c:v>
                </c:pt>
                <c:pt idx="138">
                  <c:v>#N/A</c:v>
                </c:pt>
                <c:pt idx="139">
                  <c:v>#N/A</c:v>
                </c:pt>
                <c:pt idx="140">
                  <c:v>#N/A</c:v>
                </c:pt>
                <c:pt idx="141">
                  <c:v>#N/A</c:v>
                </c:pt>
                <c:pt idx="142">
                  <c:v>539.9</c:v>
                </c:pt>
                <c:pt idx="143">
                  <c:v>#N/A</c:v>
                </c:pt>
                <c:pt idx="144">
                  <c:v>#N/A</c:v>
                </c:pt>
                <c:pt idx="145">
                  <c:v>#N/A</c:v>
                </c:pt>
                <c:pt idx="146">
                  <c:v>#N/A</c:v>
                </c:pt>
                <c:pt idx="147">
                  <c:v>#N/A</c:v>
                </c:pt>
                <c:pt idx="148">
                  <c:v>#N/A</c:v>
                </c:pt>
                <c:pt idx="149">
                  <c:v>466.33</c:v>
                </c:pt>
                <c:pt idx="150">
                  <c:v>#N/A</c:v>
                </c:pt>
                <c:pt idx="151">
                  <c:v>#N/A</c:v>
                </c:pt>
                <c:pt idx="152">
                  <c:v>#N/A</c:v>
                </c:pt>
                <c:pt idx="153">
                  <c:v>#N/A</c:v>
                </c:pt>
                <c:pt idx="154">
                  <c:v>#N/A</c:v>
                </c:pt>
                <c:pt idx="155">
                  <c:v>#N/A</c:v>
                </c:pt>
                <c:pt idx="156">
                  <c:v>642.41</c:v>
                </c:pt>
                <c:pt idx="157">
                  <c:v>#N/A</c:v>
                </c:pt>
                <c:pt idx="158">
                  <c:v>#N/A</c:v>
                </c:pt>
                <c:pt idx="159">
                  <c:v>#N/A</c:v>
                </c:pt>
                <c:pt idx="160">
                  <c:v>#N/A</c:v>
                </c:pt>
                <c:pt idx="161">
                  <c:v>#N/A</c:v>
                </c:pt>
                <c:pt idx="162">
                  <c:v>#N/A</c:v>
                </c:pt>
                <c:pt idx="163">
                  <c:v>639.55999999999995</c:v>
                </c:pt>
                <c:pt idx="164">
                  <c:v>#N/A</c:v>
                </c:pt>
                <c:pt idx="165">
                  <c:v>#N/A</c:v>
                </c:pt>
                <c:pt idx="166">
                  <c:v>#N/A</c:v>
                </c:pt>
                <c:pt idx="167">
                  <c:v>#N/A</c:v>
                </c:pt>
                <c:pt idx="168">
                  <c:v>#N/A</c:v>
                </c:pt>
                <c:pt idx="169">
                  <c:v>#N/A</c:v>
                </c:pt>
                <c:pt idx="170">
                  <c:v>591.44000000000005</c:v>
                </c:pt>
                <c:pt idx="171">
                  <c:v>#N/A</c:v>
                </c:pt>
                <c:pt idx="172">
                  <c:v>#N/A</c:v>
                </c:pt>
                <c:pt idx="173">
                  <c:v>#N/A</c:v>
                </c:pt>
                <c:pt idx="174">
                  <c:v>#N/A</c:v>
                </c:pt>
                <c:pt idx="175">
                  <c:v>#N/A</c:v>
                </c:pt>
                <c:pt idx="176">
                  <c:v>#N/A</c:v>
                </c:pt>
                <c:pt idx="177">
                  <c:v>526.02</c:v>
                </c:pt>
                <c:pt idx="178">
                  <c:v>#N/A</c:v>
                </c:pt>
                <c:pt idx="179">
                  <c:v>#N/A</c:v>
                </c:pt>
                <c:pt idx="180">
                  <c:v>#N/A</c:v>
                </c:pt>
                <c:pt idx="181">
                  <c:v>#N/A</c:v>
                </c:pt>
                <c:pt idx="182">
                  <c:v>#N/A</c:v>
                </c:pt>
                <c:pt idx="183">
                  <c:v>#N/A</c:v>
                </c:pt>
                <c:pt idx="184">
                  <c:v>511.74</c:v>
                </c:pt>
                <c:pt idx="185">
                  <c:v>#N/A</c:v>
                </c:pt>
                <c:pt idx="186">
                  <c:v>#N/A</c:v>
                </c:pt>
                <c:pt idx="187">
                  <c:v>#N/A</c:v>
                </c:pt>
                <c:pt idx="188">
                  <c:v>#N/A</c:v>
                </c:pt>
                <c:pt idx="189">
                  <c:v>#N/A</c:v>
                </c:pt>
                <c:pt idx="190">
                  <c:v>#N/A</c:v>
                </c:pt>
                <c:pt idx="191">
                  <c:v>517</c:v>
                </c:pt>
                <c:pt idx="192">
                  <c:v>#N/A</c:v>
                </c:pt>
                <c:pt idx="193">
                  <c:v>#N/A</c:v>
                </c:pt>
                <c:pt idx="194">
                  <c:v>#N/A</c:v>
                </c:pt>
                <c:pt idx="195">
                  <c:v>#N/A</c:v>
                </c:pt>
                <c:pt idx="196">
                  <c:v>#N/A</c:v>
                </c:pt>
                <c:pt idx="197">
                  <c:v>#N/A</c:v>
                </c:pt>
                <c:pt idx="198">
                  <c:v>539.55999999999995</c:v>
                </c:pt>
                <c:pt idx="199">
                  <c:v>#N/A</c:v>
                </c:pt>
                <c:pt idx="200">
                  <c:v>#N/A</c:v>
                </c:pt>
                <c:pt idx="201">
                  <c:v>#N/A</c:v>
                </c:pt>
                <c:pt idx="202">
                  <c:v>#N/A</c:v>
                </c:pt>
                <c:pt idx="203">
                  <c:v>#N/A</c:v>
                </c:pt>
                <c:pt idx="204">
                  <c:v>#N/A</c:v>
                </c:pt>
                <c:pt idx="205">
                  <c:v>559.26</c:v>
                </c:pt>
                <c:pt idx="206">
                  <c:v>#N/A</c:v>
                </c:pt>
                <c:pt idx="207">
                  <c:v>#N/A</c:v>
                </c:pt>
                <c:pt idx="208">
                  <c:v>#N/A</c:v>
                </c:pt>
                <c:pt idx="209">
                  <c:v>#N/A</c:v>
                </c:pt>
                <c:pt idx="210">
                  <c:v>#N/A</c:v>
                </c:pt>
                <c:pt idx="211">
                  <c:v>#N/A</c:v>
                </c:pt>
                <c:pt idx="212">
                  <c:v>702.54</c:v>
                </c:pt>
                <c:pt idx="213">
                  <c:v>#N/A</c:v>
                </c:pt>
                <c:pt idx="214">
                  <c:v>#N/A</c:v>
                </c:pt>
                <c:pt idx="215">
                  <c:v>#N/A</c:v>
                </c:pt>
                <c:pt idx="216">
                  <c:v>#N/A</c:v>
                </c:pt>
                <c:pt idx="217">
                  <c:v>#N/A</c:v>
                </c:pt>
                <c:pt idx="218">
                  <c:v>#N/A</c:v>
                </c:pt>
                <c:pt idx="219">
                  <c:v>797.69</c:v>
                </c:pt>
                <c:pt idx="220">
                  <c:v>#N/A</c:v>
                </c:pt>
                <c:pt idx="221">
                  <c:v>#N/A</c:v>
                </c:pt>
                <c:pt idx="222">
                  <c:v>#N/A</c:v>
                </c:pt>
                <c:pt idx="223">
                  <c:v>#N/A</c:v>
                </c:pt>
                <c:pt idx="224">
                  <c:v>#N/A</c:v>
                </c:pt>
                <c:pt idx="225">
                  <c:v>#N/A</c:v>
                </c:pt>
                <c:pt idx="226">
                  <c:v>797.69</c:v>
                </c:pt>
                <c:pt idx="227">
                  <c:v>#N/A</c:v>
                </c:pt>
                <c:pt idx="228">
                  <c:v>#N/A</c:v>
                </c:pt>
                <c:pt idx="229">
                  <c:v>#N/A</c:v>
                </c:pt>
                <c:pt idx="230">
                  <c:v>#N/A</c:v>
                </c:pt>
                <c:pt idx="231">
                  <c:v>#N/A</c:v>
                </c:pt>
                <c:pt idx="232">
                  <c:v>#N/A</c:v>
                </c:pt>
                <c:pt idx="233">
                  <c:v>722.16</c:v>
                </c:pt>
                <c:pt idx="234">
                  <c:v>#N/A</c:v>
                </c:pt>
                <c:pt idx="235">
                  <c:v>#N/A</c:v>
                </c:pt>
                <c:pt idx="236">
                  <c:v>#N/A</c:v>
                </c:pt>
                <c:pt idx="237">
                  <c:v>#N/A</c:v>
                </c:pt>
                <c:pt idx="238">
                  <c:v>#N/A</c:v>
                </c:pt>
                <c:pt idx="239">
                  <c:v>#N/A</c:v>
                </c:pt>
                <c:pt idx="240">
                  <c:v>722.16</c:v>
                </c:pt>
                <c:pt idx="241">
                  <c:v>#N/A</c:v>
                </c:pt>
                <c:pt idx="242">
                  <c:v>#N/A</c:v>
                </c:pt>
                <c:pt idx="243">
                  <c:v>#N/A</c:v>
                </c:pt>
                <c:pt idx="244">
                  <c:v>#N/A</c:v>
                </c:pt>
                <c:pt idx="245">
                  <c:v>#N/A</c:v>
                </c:pt>
                <c:pt idx="246">
                  <c:v>#N/A</c:v>
                </c:pt>
                <c:pt idx="247">
                  <c:v>746.08</c:v>
                </c:pt>
                <c:pt idx="248">
                  <c:v>#N/A</c:v>
                </c:pt>
                <c:pt idx="249">
                  <c:v>#N/A</c:v>
                </c:pt>
                <c:pt idx="250">
                  <c:v>#N/A</c:v>
                </c:pt>
                <c:pt idx="251">
                  <c:v>#N/A</c:v>
                </c:pt>
                <c:pt idx="252">
                  <c:v>#N/A</c:v>
                </c:pt>
                <c:pt idx="253">
                  <c:v>#N/A</c:v>
                </c:pt>
                <c:pt idx="254">
                  <c:v>804.6</c:v>
                </c:pt>
                <c:pt idx="255">
                  <c:v>#N/A</c:v>
                </c:pt>
                <c:pt idx="256">
                  <c:v>#N/A</c:v>
                </c:pt>
                <c:pt idx="257">
                  <c:v>#N/A</c:v>
                </c:pt>
                <c:pt idx="258">
                  <c:v>#N/A</c:v>
                </c:pt>
                <c:pt idx="259">
                  <c:v>#N/A</c:v>
                </c:pt>
                <c:pt idx="260">
                  <c:v>#N/A</c:v>
                </c:pt>
                <c:pt idx="261">
                  <c:v>822.38</c:v>
                </c:pt>
                <c:pt idx="262">
                  <c:v>#N/A</c:v>
                </c:pt>
                <c:pt idx="263">
                  <c:v>#N/A</c:v>
                </c:pt>
                <c:pt idx="264">
                  <c:v>#N/A</c:v>
                </c:pt>
                <c:pt idx="265">
                  <c:v>#N/A</c:v>
                </c:pt>
                <c:pt idx="266">
                  <c:v>#N/A</c:v>
                </c:pt>
                <c:pt idx="267">
                  <c:v>#N/A</c:v>
                </c:pt>
                <c:pt idx="268">
                  <c:v>897.93</c:v>
                </c:pt>
                <c:pt idx="269">
                  <c:v>#N/A</c:v>
                </c:pt>
                <c:pt idx="270">
                  <c:v>#N/A</c:v>
                </c:pt>
                <c:pt idx="271">
                  <c:v>#N/A</c:v>
                </c:pt>
                <c:pt idx="272">
                  <c:v>#N/A</c:v>
                </c:pt>
                <c:pt idx="273">
                  <c:v>#N/A</c:v>
                </c:pt>
                <c:pt idx="274">
                  <c:v>#N/A</c:v>
                </c:pt>
                <c:pt idx="275">
                  <c:v>985.34</c:v>
                </c:pt>
                <c:pt idx="276">
                  <c:v>#N/A</c:v>
                </c:pt>
                <c:pt idx="277">
                  <c:v>#N/A</c:v>
                </c:pt>
                <c:pt idx="278">
                  <c:v>#N/A</c:v>
                </c:pt>
                <c:pt idx="279">
                  <c:v>#N/A</c:v>
                </c:pt>
                <c:pt idx="280">
                  <c:v>#N/A</c:v>
                </c:pt>
                <c:pt idx="281">
                  <c:v>#N/A</c:v>
                </c:pt>
                <c:pt idx="282">
                  <c:v>991.27</c:v>
                </c:pt>
                <c:pt idx="283">
                  <c:v>#N/A</c:v>
                </c:pt>
                <c:pt idx="284">
                  <c:v>#N/A</c:v>
                </c:pt>
                <c:pt idx="285">
                  <c:v>#N/A</c:v>
                </c:pt>
                <c:pt idx="286">
                  <c:v>#N/A</c:v>
                </c:pt>
                <c:pt idx="287">
                  <c:v>#N/A</c:v>
                </c:pt>
                <c:pt idx="288">
                  <c:v>#N/A</c:v>
                </c:pt>
                <c:pt idx="289">
                  <c:v>991.64</c:v>
                </c:pt>
                <c:pt idx="290">
                  <c:v>#N/A</c:v>
                </c:pt>
                <c:pt idx="291">
                  <c:v>#N/A</c:v>
                </c:pt>
                <c:pt idx="292">
                  <c:v>#N/A</c:v>
                </c:pt>
                <c:pt idx="293">
                  <c:v>#N/A</c:v>
                </c:pt>
                <c:pt idx="294">
                  <c:v>#N/A</c:v>
                </c:pt>
                <c:pt idx="295">
                  <c:v>#N/A</c:v>
                </c:pt>
                <c:pt idx="296">
                  <c:v>1098.67</c:v>
                </c:pt>
                <c:pt idx="297">
                  <c:v>#N/A</c:v>
                </c:pt>
                <c:pt idx="298">
                  <c:v>#N/A</c:v>
                </c:pt>
                <c:pt idx="299">
                  <c:v>#N/A</c:v>
                </c:pt>
                <c:pt idx="300">
                  <c:v>#N/A</c:v>
                </c:pt>
                <c:pt idx="301">
                  <c:v>#N/A</c:v>
                </c:pt>
                <c:pt idx="302">
                  <c:v>#N/A</c:v>
                </c:pt>
                <c:pt idx="303">
                  <c:v>1528.3</c:v>
                </c:pt>
                <c:pt idx="304">
                  <c:v>#N/A</c:v>
                </c:pt>
                <c:pt idx="305">
                  <c:v>#N/A</c:v>
                </c:pt>
                <c:pt idx="306">
                  <c:v>#N/A</c:v>
                </c:pt>
                <c:pt idx="307">
                  <c:v>#N/A</c:v>
                </c:pt>
                <c:pt idx="308">
                  <c:v>#N/A</c:v>
                </c:pt>
                <c:pt idx="309">
                  <c:v>#N/A</c:v>
                </c:pt>
                <c:pt idx="310">
                  <c:v>1750.53</c:v>
                </c:pt>
                <c:pt idx="311">
                  <c:v>#N/A</c:v>
                </c:pt>
                <c:pt idx="312">
                  <c:v>#N/A</c:v>
                </c:pt>
                <c:pt idx="313">
                  <c:v>#N/A</c:v>
                </c:pt>
                <c:pt idx="314">
                  <c:v>#N/A</c:v>
                </c:pt>
                <c:pt idx="315">
                  <c:v>#N/A</c:v>
                </c:pt>
                <c:pt idx="316">
                  <c:v>#N/A</c:v>
                </c:pt>
                <c:pt idx="317">
                  <c:v>1831.49</c:v>
                </c:pt>
                <c:pt idx="318">
                  <c:v>#N/A</c:v>
                </c:pt>
                <c:pt idx="319">
                  <c:v>#N/A</c:v>
                </c:pt>
                <c:pt idx="320">
                  <c:v>#N/A</c:v>
                </c:pt>
                <c:pt idx="321">
                  <c:v>#N/A</c:v>
                </c:pt>
                <c:pt idx="322">
                  <c:v>#N/A</c:v>
                </c:pt>
                <c:pt idx="323">
                  <c:v>#N/A</c:v>
                </c:pt>
                <c:pt idx="324">
                  <c:v>1912.14</c:v>
                </c:pt>
                <c:pt idx="325">
                  <c:v>#N/A</c:v>
                </c:pt>
                <c:pt idx="326">
                  <c:v>#N/A</c:v>
                </c:pt>
                <c:pt idx="327">
                  <c:v>#N/A</c:v>
                </c:pt>
                <c:pt idx="328">
                  <c:v>#N/A</c:v>
                </c:pt>
                <c:pt idx="329">
                  <c:v>#N/A</c:v>
                </c:pt>
                <c:pt idx="330">
                  <c:v>#N/A</c:v>
                </c:pt>
                <c:pt idx="331">
                  <c:v>2506.94</c:v>
                </c:pt>
                <c:pt idx="332">
                  <c:v>#N/A</c:v>
                </c:pt>
                <c:pt idx="333">
                  <c:v>#N/A</c:v>
                </c:pt>
                <c:pt idx="334">
                  <c:v>#N/A</c:v>
                </c:pt>
                <c:pt idx="335">
                  <c:v>#N/A</c:v>
                </c:pt>
                <c:pt idx="336">
                  <c:v>#N/A</c:v>
                </c:pt>
                <c:pt idx="337">
                  <c:v>#N/A</c:v>
                </c:pt>
                <c:pt idx="338">
                  <c:v>2771.91</c:v>
                </c:pt>
                <c:pt idx="339">
                  <c:v>#N/A</c:v>
                </c:pt>
                <c:pt idx="340">
                  <c:v>#N/A</c:v>
                </c:pt>
                <c:pt idx="341">
                  <c:v>#N/A</c:v>
                </c:pt>
                <c:pt idx="342">
                  <c:v>#N/A</c:v>
                </c:pt>
                <c:pt idx="343">
                  <c:v>#N/A</c:v>
                </c:pt>
                <c:pt idx="344">
                  <c:v>#N/A</c:v>
                </c:pt>
                <c:pt idx="345">
                  <c:v>2736.87</c:v>
                </c:pt>
                <c:pt idx="346">
                  <c:v>#N/A</c:v>
                </c:pt>
                <c:pt idx="347">
                  <c:v>#N/A</c:v>
                </c:pt>
                <c:pt idx="348">
                  <c:v>#N/A</c:v>
                </c:pt>
                <c:pt idx="349">
                  <c:v>#N/A</c:v>
                </c:pt>
                <c:pt idx="350">
                  <c:v>#N/A</c:v>
                </c:pt>
                <c:pt idx="351">
                  <c:v>#N/A</c:v>
                </c:pt>
                <c:pt idx="352">
                  <c:v>2701.83</c:v>
                </c:pt>
                <c:pt idx="353">
                  <c:v>#N/A</c:v>
                </c:pt>
                <c:pt idx="354">
                  <c:v>#N/A</c:v>
                </c:pt>
                <c:pt idx="355">
                  <c:v>#N/A</c:v>
                </c:pt>
                <c:pt idx="356">
                  <c:v>#N/A</c:v>
                </c:pt>
                <c:pt idx="357">
                  <c:v>#N/A</c:v>
                </c:pt>
                <c:pt idx="358">
                  <c:v>#N/A</c:v>
                </c:pt>
                <c:pt idx="359">
                  <c:v>2706.94</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0-F363-422C-B0C0-B548B946FEE0}"/>
            </c:ext>
          </c:extLst>
        </c:ser>
        <c:ser>
          <c:idx val="1"/>
          <c:order val="1"/>
          <c:tx>
            <c:strRef>
              <c:f>金属硅周度图表!$BG$2</c:f>
              <c:strCache>
                <c:ptCount val="1"/>
                <c:pt idx="0">
                  <c:v>2021</c:v>
                </c:pt>
              </c:strCache>
            </c:strRef>
          </c:tx>
          <c:spPr>
            <a:ln w="19050" cap="rnd">
              <a:solidFill>
                <a:srgbClr val="B57222">
                  <a:alpha val="60000"/>
                </a:srgbClr>
              </a:solidFill>
              <a:round/>
            </a:ln>
            <a:effectLst/>
          </c:spPr>
          <c:marker>
            <c:symbol val="none"/>
          </c:marker>
          <c:cat>
            <c:strRef>
              <c:f>金属硅周度图表!$BE$3:$BE$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BG$3:$BG$368</c:f>
              <c:numCache>
                <c:formatCode>General</c:formatCode>
                <c:ptCount val="366"/>
                <c:pt idx="0">
                  <c:v>2707.67</c:v>
                </c:pt>
                <c:pt idx="1">
                  <c:v>#N/A</c:v>
                </c:pt>
                <c:pt idx="2">
                  <c:v>#N/A</c:v>
                </c:pt>
                <c:pt idx="3">
                  <c:v>#N/A</c:v>
                </c:pt>
                <c:pt idx="4">
                  <c:v>#N/A</c:v>
                </c:pt>
                <c:pt idx="5">
                  <c:v>#N/A</c:v>
                </c:pt>
                <c:pt idx="6">
                  <c:v>#N/A</c:v>
                </c:pt>
                <c:pt idx="7">
                  <c:v>2671.38</c:v>
                </c:pt>
                <c:pt idx="8">
                  <c:v>#N/A</c:v>
                </c:pt>
                <c:pt idx="9">
                  <c:v>#N/A</c:v>
                </c:pt>
                <c:pt idx="10">
                  <c:v>#N/A</c:v>
                </c:pt>
                <c:pt idx="11">
                  <c:v>#N/A</c:v>
                </c:pt>
                <c:pt idx="12">
                  <c:v>#N/A</c:v>
                </c:pt>
                <c:pt idx="13">
                  <c:v>#N/A</c:v>
                </c:pt>
                <c:pt idx="14">
                  <c:v>2668.66</c:v>
                </c:pt>
                <c:pt idx="15">
                  <c:v>#N/A</c:v>
                </c:pt>
                <c:pt idx="16">
                  <c:v>#N/A</c:v>
                </c:pt>
                <c:pt idx="17">
                  <c:v>#N/A</c:v>
                </c:pt>
                <c:pt idx="18">
                  <c:v>#N/A</c:v>
                </c:pt>
                <c:pt idx="19">
                  <c:v>#N/A</c:v>
                </c:pt>
                <c:pt idx="20">
                  <c:v>#N/A</c:v>
                </c:pt>
                <c:pt idx="21">
                  <c:v>2660.29</c:v>
                </c:pt>
                <c:pt idx="22">
                  <c:v>#N/A</c:v>
                </c:pt>
                <c:pt idx="23">
                  <c:v>#N/A</c:v>
                </c:pt>
                <c:pt idx="24">
                  <c:v>#N/A</c:v>
                </c:pt>
                <c:pt idx="25">
                  <c:v>#N/A</c:v>
                </c:pt>
                <c:pt idx="26">
                  <c:v>#N/A</c:v>
                </c:pt>
                <c:pt idx="27">
                  <c:v>#N/A</c:v>
                </c:pt>
                <c:pt idx="28">
                  <c:v>2651.07</c:v>
                </c:pt>
                <c:pt idx="29">
                  <c:v>#N/A</c:v>
                </c:pt>
                <c:pt idx="30">
                  <c:v>#N/A</c:v>
                </c:pt>
                <c:pt idx="31">
                  <c:v>#N/A</c:v>
                </c:pt>
                <c:pt idx="32">
                  <c:v>#N/A</c:v>
                </c:pt>
                <c:pt idx="33">
                  <c:v>#N/A</c:v>
                </c:pt>
                <c:pt idx="34">
                  <c:v>#N/A</c:v>
                </c:pt>
                <c:pt idx="35">
                  <c:v>2658.87</c:v>
                </c:pt>
                <c:pt idx="36">
                  <c:v>#N/A</c:v>
                </c:pt>
                <c:pt idx="37">
                  <c:v>#N/A</c:v>
                </c:pt>
                <c:pt idx="38">
                  <c:v>#N/A</c:v>
                </c:pt>
                <c:pt idx="39">
                  <c:v>#N/A</c:v>
                </c:pt>
                <c:pt idx="40">
                  <c:v>#N/A</c:v>
                </c:pt>
                <c:pt idx="41">
                  <c:v>#N/A</c:v>
                </c:pt>
                <c:pt idx="42">
                  <c:v>2646.82</c:v>
                </c:pt>
                <c:pt idx="43">
                  <c:v>#N/A</c:v>
                </c:pt>
                <c:pt idx="44">
                  <c:v>#N/A</c:v>
                </c:pt>
                <c:pt idx="45">
                  <c:v>#N/A</c:v>
                </c:pt>
                <c:pt idx="46">
                  <c:v>#N/A</c:v>
                </c:pt>
                <c:pt idx="47">
                  <c:v>#N/A</c:v>
                </c:pt>
                <c:pt idx="48">
                  <c:v>#N/A</c:v>
                </c:pt>
                <c:pt idx="49">
                  <c:v>2643.17</c:v>
                </c:pt>
                <c:pt idx="50">
                  <c:v>#N/A</c:v>
                </c:pt>
                <c:pt idx="51">
                  <c:v>#N/A</c:v>
                </c:pt>
                <c:pt idx="52">
                  <c:v>#N/A</c:v>
                </c:pt>
                <c:pt idx="53">
                  <c:v>#N/A</c:v>
                </c:pt>
                <c:pt idx="54">
                  <c:v>#N/A</c:v>
                </c:pt>
                <c:pt idx="55">
                  <c:v>#N/A</c:v>
                </c:pt>
                <c:pt idx="56">
                  <c:v>2648.21</c:v>
                </c:pt>
                <c:pt idx="57">
                  <c:v>#N/A</c:v>
                </c:pt>
                <c:pt idx="58">
                  <c:v>#N/A</c:v>
                </c:pt>
                <c:pt idx="60">
                  <c:v>#N/A</c:v>
                </c:pt>
                <c:pt idx="61">
                  <c:v>#N/A</c:v>
                </c:pt>
                <c:pt idx="62">
                  <c:v>#N/A</c:v>
                </c:pt>
                <c:pt idx="63">
                  <c:v>#N/A</c:v>
                </c:pt>
                <c:pt idx="64">
                  <c:v>2643.8</c:v>
                </c:pt>
                <c:pt idx="65">
                  <c:v>#N/A</c:v>
                </c:pt>
                <c:pt idx="66">
                  <c:v>#N/A</c:v>
                </c:pt>
                <c:pt idx="67">
                  <c:v>#N/A</c:v>
                </c:pt>
                <c:pt idx="68">
                  <c:v>#N/A</c:v>
                </c:pt>
                <c:pt idx="69">
                  <c:v>#N/A</c:v>
                </c:pt>
                <c:pt idx="70">
                  <c:v>#N/A</c:v>
                </c:pt>
                <c:pt idx="71">
                  <c:v>2611.69</c:v>
                </c:pt>
                <c:pt idx="72">
                  <c:v>#N/A</c:v>
                </c:pt>
                <c:pt idx="73">
                  <c:v>#N/A</c:v>
                </c:pt>
                <c:pt idx="74">
                  <c:v>#N/A</c:v>
                </c:pt>
                <c:pt idx="75">
                  <c:v>#N/A</c:v>
                </c:pt>
                <c:pt idx="76">
                  <c:v>#N/A</c:v>
                </c:pt>
                <c:pt idx="77">
                  <c:v>#N/A</c:v>
                </c:pt>
                <c:pt idx="78">
                  <c:v>2611.69</c:v>
                </c:pt>
                <c:pt idx="79">
                  <c:v>#N/A</c:v>
                </c:pt>
                <c:pt idx="80">
                  <c:v>#N/A</c:v>
                </c:pt>
                <c:pt idx="81">
                  <c:v>#N/A</c:v>
                </c:pt>
                <c:pt idx="82">
                  <c:v>#N/A</c:v>
                </c:pt>
                <c:pt idx="83">
                  <c:v>#N/A</c:v>
                </c:pt>
                <c:pt idx="84">
                  <c:v>#N/A</c:v>
                </c:pt>
                <c:pt idx="85">
                  <c:v>2585.83</c:v>
                </c:pt>
                <c:pt idx="86">
                  <c:v>#N/A</c:v>
                </c:pt>
                <c:pt idx="87">
                  <c:v>#N/A</c:v>
                </c:pt>
                <c:pt idx="88">
                  <c:v>#N/A</c:v>
                </c:pt>
                <c:pt idx="89">
                  <c:v>#N/A</c:v>
                </c:pt>
                <c:pt idx="90">
                  <c:v>#N/A</c:v>
                </c:pt>
                <c:pt idx="91">
                  <c:v>#N/A</c:v>
                </c:pt>
                <c:pt idx="92">
                  <c:v>2558.2199999999998</c:v>
                </c:pt>
                <c:pt idx="93">
                  <c:v>#N/A</c:v>
                </c:pt>
                <c:pt idx="94">
                  <c:v>#N/A</c:v>
                </c:pt>
                <c:pt idx="95">
                  <c:v>#N/A</c:v>
                </c:pt>
                <c:pt idx="96">
                  <c:v>#N/A</c:v>
                </c:pt>
                <c:pt idx="97">
                  <c:v>#N/A</c:v>
                </c:pt>
                <c:pt idx="98">
                  <c:v>#N/A</c:v>
                </c:pt>
                <c:pt idx="99">
                  <c:v>2505.75</c:v>
                </c:pt>
                <c:pt idx="100">
                  <c:v>#N/A</c:v>
                </c:pt>
                <c:pt idx="101">
                  <c:v>#N/A</c:v>
                </c:pt>
                <c:pt idx="102">
                  <c:v>#N/A</c:v>
                </c:pt>
                <c:pt idx="103">
                  <c:v>#N/A</c:v>
                </c:pt>
                <c:pt idx="104">
                  <c:v>#N/A</c:v>
                </c:pt>
                <c:pt idx="105">
                  <c:v>#N/A</c:v>
                </c:pt>
                <c:pt idx="106">
                  <c:v>2458.63</c:v>
                </c:pt>
                <c:pt idx="107">
                  <c:v>#N/A</c:v>
                </c:pt>
                <c:pt idx="108">
                  <c:v>#N/A</c:v>
                </c:pt>
                <c:pt idx="109">
                  <c:v>#N/A</c:v>
                </c:pt>
                <c:pt idx="110">
                  <c:v>#N/A</c:v>
                </c:pt>
                <c:pt idx="111">
                  <c:v>#N/A</c:v>
                </c:pt>
                <c:pt idx="112">
                  <c:v>#N/A</c:v>
                </c:pt>
                <c:pt idx="113">
                  <c:v>2453.0500000000002</c:v>
                </c:pt>
                <c:pt idx="114">
                  <c:v>#N/A</c:v>
                </c:pt>
                <c:pt idx="115">
                  <c:v>#N/A</c:v>
                </c:pt>
                <c:pt idx="116">
                  <c:v>#N/A</c:v>
                </c:pt>
                <c:pt idx="117">
                  <c:v>#N/A</c:v>
                </c:pt>
                <c:pt idx="118">
                  <c:v>#N/A</c:v>
                </c:pt>
                <c:pt idx="119">
                  <c:v>#N/A</c:v>
                </c:pt>
                <c:pt idx="120">
                  <c:v>2417.25</c:v>
                </c:pt>
                <c:pt idx="121">
                  <c:v>#N/A</c:v>
                </c:pt>
                <c:pt idx="122">
                  <c:v>#N/A</c:v>
                </c:pt>
                <c:pt idx="123">
                  <c:v>#N/A</c:v>
                </c:pt>
                <c:pt idx="124">
                  <c:v>#N/A</c:v>
                </c:pt>
                <c:pt idx="125">
                  <c:v>#N/A</c:v>
                </c:pt>
                <c:pt idx="126">
                  <c:v>#N/A</c:v>
                </c:pt>
                <c:pt idx="127">
                  <c:v>2426.73</c:v>
                </c:pt>
                <c:pt idx="128">
                  <c:v>#N/A</c:v>
                </c:pt>
                <c:pt idx="129">
                  <c:v>#N/A</c:v>
                </c:pt>
                <c:pt idx="130">
                  <c:v>#N/A</c:v>
                </c:pt>
                <c:pt idx="131">
                  <c:v>#N/A</c:v>
                </c:pt>
                <c:pt idx="132">
                  <c:v>#N/A</c:v>
                </c:pt>
                <c:pt idx="133">
                  <c:v>#N/A</c:v>
                </c:pt>
                <c:pt idx="134">
                  <c:v>2489.66</c:v>
                </c:pt>
                <c:pt idx="135">
                  <c:v>#N/A</c:v>
                </c:pt>
                <c:pt idx="136">
                  <c:v>#N/A</c:v>
                </c:pt>
                <c:pt idx="137">
                  <c:v>#N/A</c:v>
                </c:pt>
                <c:pt idx="138">
                  <c:v>#N/A</c:v>
                </c:pt>
                <c:pt idx="139">
                  <c:v>#N/A</c:v>
                </c:pt>
                <c:pt idx="140">
                  <c:v>#N/A</c:v>
                </c:pt>
                <c:pt idx="141">
                  <c:v>2647.42</c:v>
                </c:pt>
                <c:pt idx="142">
                  <c:v>#N/A</c:v>
                </c:pt>
                <c:pt idx="143">
                  <c:v>#N/A</c:v>
                </c:pt>
                <c:pt idx="144">
                  <c:v>#N/A</c:v>
                </c:pt>
                <c:pt idx="145">
                  <c:v>#N/A</c:v>
                </c:pt>
                <c:pt idx="146">
                  <c:v>#N/A</c:v>
                </c:pt>
                <c:pt idx="147">
                  <c:v>#N/A</c:v>
                </c:pt>
                <c:pt idx="148">
                  <c:v>2665.53</c:v>
                </c:pt>
                <c:pt idx="149">
                  <c:v>#N/A</c:v>
                </c:pt>
                <c:pt idx="150">
                  <c:v>#N/A</c:v>
                </c:pt>
                <c:pt idx="151">
                  <c:v>#N/A</c:v>
                </c:pt>
                <c:pt idx="152">
                  <c:v>#N/A</c:v>
                </c:pt>
                <c:pt idx="153">
                  <c:v>#N/A</c:v>
                </c:pt>
                <c:pt idx="154">
                  <c:v>#N/A</c:v>
                </c:pt>
                <c:pt idx="155">
                  <c:v>2724.15</c:v>
                </c:pt>
                <c:pt idx="156">
                  <c:v>#N/A</c:v>
                </c:pt>
                <c:pt idx="157">
                  <c:v>#N/A</c:v>
                </c:pt>
                <c:pt idx="158">
                  <c:v>#N/A</c:v>
                </c:pt>
                <c:pt idx="159">
                  <c:v>#N/A</c:v>
                </c:pt>
                <c:pt idx="160">
                  <c:v>#N/A</c:v>
                </c:pt>
                <c:pt idx="161">
                  <c:v>#N/A</c:v>
                </c:pt>
                <c:pt idx="162">
                  <c:v>2757.77</c:v>
                </c:pt>
                <c:pt idx="163">
                  <c:v>#N/A</c:v>
                </c:pt>
                <c:pt idx="164">
                  <c:v>#N/A</c:v>
                </c:pt>
                <c:pt idx="165">
                  <c:v>#N/A</c:v>
                </c:pt>
                <c:pt idx="166">
                  <c:v>#N/A</c:v>
                </c:pt>
                <c:pt idx="167">
                  <c:v>#N/A</c:v>
                </c:pt>
                <c:pt idx="168">
                  <c:v>#N/A</c:v>
                </c:pt>
                <c:pt idx="169">
                  <c:v>2852.59</c:v>
                </c:pt>
                <c:pt idx="170">
                  <c:v>#N/A</c:v>
                </c:pt>
                <c:pt idx="171">
                  <c:v>#N/A</c:v>
                </c:pt>
                <c:pt idx="172">
                  <c:v>#N/A</c:v>
                </c:pt>
                <c:pt idx="173">
                  <c:v>#N/A</c:v>
                </c:pt>
                <c:pt idx="174">
                  <c:v>#N/A</c:v>
                </c:pt>
                <c:pt idx="175">
                  <c:v>#N/A</c:v>
                </c:pt>
                <c:pt idx="176">
                  <c:v>2893.11</c:v>
                </c:pt>
                <c:pt idx="177">
                  <c:v>#N/A</c:v>
                </c:pt>
                <c:pt idx="178">
                  <c:v>#N/A</c:v>
                </c:pt>
                <c:pt idx="179">
                  <c:v>#N/A</c:v>
                </c:pt>
                <c:pt idx="180">
                  <c:v>#N/A</c:v>
                </c:pt>
                <c:pt idx="181">
                  <c:v>#N/A</c:v>
                </c:pt>
                <c:pt idx="182">
                  <c:v>#N/A</c:v>
                </c:pt>
                <c:pt idx="183">
                  <c:v>3001.73</c:v>
                </c:pt>
                <c:pt idx="184">
                  <c:v>#N/A</c:v>
                </c:pt>
                <c:pt idx="185">
                  <c:v>#N/A</c:v>
                </c:pt>
                <c:pt idx="186">
                  <c:v>#N/A</c:v>
                </c:pt>
                <c:pt idx="187">
                  <c:v>#N/A</c:v>
                </c:pt>
                <c:pt idx="188">
                  <c:v>#N/A</c:v>
                </c:pt>
                <c:pt idx="189">
                  <c:v>#N/A</c:v>
                </c:pt>
                <c:pt idx="190">
                  <c:v>2948.55</c:v>
                </c:pt>
                <c:pt idx="191">
                  <c:v>#N/A</c:v>
                </c:pt>
                <c:pt idx="192">
                  <c:v>#N/A</c:v>
                </c:pt>
                <c:pt idx="193">
                  <c:v>#N/A</c:v>
                </c:pt>
                <c:pt idx="194">
                  <c:v>#N/A</c:v>
                </c:pt>
                <c:pt idx="195">
                  <c:v>#N/A</c:v>
                </c:pt>
                <c:pt idx="196">
                  <c:v>#N/A</c:v>
                </c:pt>
                <c:pt idx="197">
                  <c:v>2959.42</c:v>
                </c:pt>
                <c:pt idx="198">
                  <c:v>#N/A</c:v>
                </c:pt>
                <c:pt idx="199">
                  <c:v>#N/A</c:v>
                </c:pt>
                <c:pt idx="200">
                  <c:v>#N/A</c:v>
                </c:pt>
                <c:pt idx="201">
                  <c:v>#N/A</c:v>
                </c:pt>
                <c:pt idx="202">
                  <c:v>#N/A</c:v>
                </c:pt>
                <c:pt idx="203">
                  <c:v>#N/A</c:v>
                </c:pt>
                <c:pt idx="204">
                  <c:v>3114.49</c:v>
                </c:pt>
                <c:pt idx="205">
                  <c:v>#N/A</c:v>
                </c:pt>
                <c:pt idx="206">
                  <c:v>#N/A</c:v>
                </c:pt>
                <c:pt idx="207">
                  <c:v>#N/A</c:v>
                </c:pt>
                <c:pt idx="208">
                  <c:v>#N/A</c:v>
                </c:pt>
                <c:pt idx="209">
                  <c:v>#N/A</c:v>
                </c:pt>
                <c:pt idx="210">
                  <c:v>#N/A</c:v>
                </c:pt>
                <c:pt idx="211">
                  <c:v>3289.05</c:v>
                </c:pt>
                <c:pt idx="212">
                  <c:v>#N/A</c:v>
                </c:pt>
                <c:pt idx="213">
                  <c:v>#N/A</c:v>
                </c:pt>
                <c:pt idx="214">
                  <c:v>#N/A</c:v>
                </c:pt>
                <c:pt idx="215">
                  <c:v>#N/A</c:v>
                </c:pt>
                <c:pt idx="216">
                  <c:v>#N/A</c:v>
                </c:pt>
                <c:pt idx="217">
                  <c:v>#N/A</c:v>
                </c:pt>
                <c:pt idx="218">
                  <c:v>4372.63</c:v>
                </c:pt>
                <c:pt idx="219">
                  <c:v>#N/A</c:v>
                </c:pt>
                <c:pt idx="220">
                  <c:v>#N/A</c:v>
                </c:pt>
                <c:pt idx="221">
                  <c:v>#N/A</c:v>
                </c:pt>
                <c:pt idx="222">
                  <c:v>#N/A</c:v>
                </c:pt>
                <c:pt idx="223">
                  <c:v>#N/A</c:v>
                </c:pt>
                <c:pt idx="224">
                  <c:v>#N/A</c:v>
                </c:pt>
                <c:pt idx="225">
                  <c:v>5249.64</c:v>
                </c:pt>
                <c:pt idx="226">
                  <c:v>#N/A</c:v>
                </c:pt>
                <c:pt idx="227">
                  <c:v>#N/A</c:v>
                </c:pt>
                <c:pt idx="228">
                  <c:v>#N/A</c:v>
                </c:pt>
                <c:pt idx="229">
                  <c:v>#N/A</c:v>
                </c:pt>
                <c:pt idx="230">
                  <c:v>#N/A</c:v>
                </c:pt>
                <c:pt idx="231">
                  <c:v>#N/A</c:v>
                </c:pt>
                <c:pt idx="232">
                  <c:v>6143.07</c:v>
                </c:pt>
                <c:pt idx="233">
                  <c:v>#N/A</c:v>
                </c:pt>
                <c:pt idx="234">
                  <c:v>#N/A</c:v>
                </c:pt>
                <c:pt idx="235">
                  <c:v>#N/A</c:v>
                </c:pt>
                <c:pt idx="236">
                  <c:v>#N/A</c:v>
                </c:pt>
                <c:pt idx="237">
                  <c:v>#N/A</c:v>
                </c:pt>
                <c:pt idx="238">
                  <c:v>#N/A</c:v>
                </c:pt>
                <c:pt idx="239">
                  <c:v>9617.52</c:v>
                </c:pt>
                <c:pt idx="240">
                  <c:v>#N/A</c:v>
                </c:pt>
                <c:pt idx="241">
                  <c:v>#N/A</c:v>
                </c:pt>
                <c:pt idx="242">
                  <c:v>#N/A</c:v>
                </c:pt>
                <c:pt idx="243">
                  <c:v>#N/A</c:v>
                </c:pt>
                <c:pt idx="244">
                  <c:v>#N/A</c:v>
                </c:pt>
                <c:pt idx="245">
                  <c:v>#N/A</c:v>
                </c:pt>
                <c:pt idx="246">
                  <c:v>12115.94</c:v>
                </c:pt>
                <c:pt idx="247">
                  <c:v>#N/A</c:v>
                </c:pt>
                <c:pt idx="248">
                  <c:v>#N/A</c:v>
                </c:pt>
                <c:pt idx="249">
                  <c:v>#N/A</c:v>
                </c:pt>
                <c:pt idx="250">
                  <c:v>#N/A</c:v>
                </c:pt>
                <c:pt idx="251">
                  <c:v>#N/A</c:v>
                </c:pt>
                <c:pt idx="252">
                  <c:v>#N/A</c:v>
                </c:pt>
                <c:pt idx="253">
                  <c:v>14014.39</c:v>
                </c:pt>
                <c:pt idx="254">
                  <c:v>#N/A</c:v>
                </c:pt>
                <c:pt idx="255">
                  <c:v>#N/A</c:v>
                </c:pt>
                <c:pt idx="256">
                  <c:v>#N/A</c:v>
                </c:pt>
                <c:pt idx="257">
                  <c:v>#N/A</c:v>
                </c:pt>
                <c:pt idx="258">
                  <c:v>#N/A</c:v>
                </c:pt>
                <c:pt idx="259">
                  <c:v>#N/A</c:v>
                </c:pt>
                <c:pt idx="260">
                  <c:v>17985.61</c:v>
                </c:pt>
                <c:pt idx="261">
                  <c:v>#N/A</c:v>
                </c:pt>
                <c:pt idx="262">
                  <c:v>#N/A</c:v>
                </c:pt>
                <c:pt idx="263">
                  <c:v>#N/A</c:v>
                </c:pt>
                <c:pt idx="264">
                  <c:v>#N/A</c:v>
                </c:pt>
                <c:pt idx="265">
                  <c:v>#N/A</c:v>
                </c:pt>
                <c:pt idx="266">
                  <c:v>#N/A</c:v>
                </c:pt>
                <c:pt idx="267">
                  <c:v>41217.269999999997</c:v>
                </c:pt>
                <c:pt idx="268">
                  <c:v>#N/A</c:v>
                </c:pt>
                <c:pt idx="269">
                  <c:v>#N/A</c:v>
                </c:pt>
                <c:pt idx="270">
                  <c:v>#N/A</c:v>
                </c:pt>
                <c:pt idx="271">
                  <c:v>#N/A</c:v>
                </c:pt>
                <c:pt idx="272">
                  <c:v>#N/A</c:v>
                </c:pt>
                <c:pt idx="273">
                  <c:v>#N/A</c:v>
                </c:pt>
                <c:pt idx="274">
                  <c:v>41441.730000000003</c:v>
                </c:pt>
                <c:pt idx="275">
                  <c:v>#N/A</c:v>
                </c:pt>
                <c:pt idx="276">
                  <c:v>#N/A</c:v>
                </c:pt>
                <c:pt idx="277">
                  <c:v>#N/A</c:v>
                </c:pt>
                <c:pt idx="278">
                  <c:v>#N/A</c:v>
                </c:pt>
                <c:pt idx="279">
                  <c:v>#N/A</c:v>
                </c:pt>
                <c:pt idx="280">
                  <c:v>#N/A</c:v>
                </c:pt>
                <c:pt idx="281">
                  <c:v>39383.449999999997</c:v>
                </c:pt>
                <c:pt idx="282">
                  <c:v>#N/A</c:v>
                </c:pt>
                <c:pt idx="283">
                  <c:v>#N/A</c:v>
                </c:pt>
                <c:pt idx="284">
                  <c:v>#N/A</c:v>
                </c:pt>
                <c:pt idx="285">
                  <c:v>#N/A</c:v>
                </c:pt>
                <c:pt idx="286">
                  <c:v>#N/A</c:v>
                </c:pt>
                <c:pt idx="287">
                  <c:v>#N/A</c:v>
                </c:pt>
                <c:pt idx="288">
                  <c:v>34725.9</c:v>
                </c:pt>
                <c:pt idx="289">
                  <c:v>#N/A</c:v>
                </c:pt>
                <c:pt idx="290">
                  <c:v>#N/A</c:v>
                </c:pt>
                <c:pt idx="291">
                  <c:v>#N/A</c:v>
                </c:pt>
                <c:pt idx="292">
                  <c:v>#N/A</c:v>
                </c:pt>
                <c:pt idx="293">
                  <c:v>#N/A</c:v>
                </c:pt>
                <c:pt idx="294">
                  <c:v>#N/A</c:v>
                </c:pt>
                <c:pt idx="295">
                  <c:v>32290.41</c:v>
                </c:pt>
                <c:pt idx="296">
                  <c:v>#N/A</c:v>
                </c:pt>
                <c:pt idx="297">
                  <c:v>#N/A</c:v>
                </c:pt>
                <c:pt idx="298">
                  <c:v>#N/A</c:v>
                </c:pt>
                <c:pt idx="299">
                  <c:v>#N/A</c:v>
                </c:pt>
                <c:pt idx="300">
                  <c:v>#N/A</c:v>
                </c:pt>
                <c:pt idx="301">
                  <c:v>#N/A</c:v>
                </c:pt>
                <c:pt idx="302">
                  <c:v>29930.82</c:v>
                </c:pt>
                <c:pt idx="303">
                  <c:v>#N/A</c:v>
                </c:pt>
                <c:pt idx="304">
                  <c:v>#N/A</c:v>
                </c:pt>
                <c:pt idx="305">
                  <c:v>#N/A</c:v>
                </c:pt>
                <c:pt idx="306">
                  <c:v>#N/A</c:v>
                </c:pt>
                <c:pt idx="307">
                  <c:v>#N/A</c:v>
                </c:pt>
                <c:pt idx="308">
                  <c:v>#N/A</c:v>
                </c:pt>
                <c:pt idx="309">
                  <c:v>26397.95</c:v>
                </c:pt>
                <c:pt idx="310">
                  <c:v>#N/A</c:v>
                </c:pt>
                <c:pt idx="311">
                  <c:v>#N/A</c:v>
                </c:pt>
                <c:pt idx="312">
                  <c:v>#N/A</c:v>
                </c:pt>
                <c:pt idx="313">
                  <c:v>#N/A</c:v>
                </c:pt>
                <c:pt idx="314">
                  <c:v>#N/A</c:v>
                </c:pt>
                <c:pt idx="315">
                  <c:v>#N/A</c:v>
                </c:pt>
                <c:pt idx="316">
                  <c:v>24411.64</c:v>
                </c:pt>
                <c:pt idx="317">
                  <c:v>#N/A</c:v>
                </c:pt>
                <c:pt idx="318">
                  <c:v>#N/A</c:v>
                </c:pt>
                <c:pt idx="319">
                  <c:v>#N/A</c:v>
                </c:pt>
                <c:pt idx="320">
                  <c:v>#N/A</c:v>
                </c:pt>
                <c:pt idx="321">
                  <c:v>#N/A</c:v>
                </c:pt>
                <c:pt idx="322">
                  <c:v>#N/A</c:v>
                </c:pt>
                <c:pt idx="323">
                  <c:v>22899.32</c:v>
                </c:pt>
                <c:pt idx="324">
                  <c:v>#N/A</c:v>
                </c:pt>
                <c:pt idx="325">
                  <c:v>#N/A</c:v>
                </c:pt>
                <c:pt idx="326">
                  <c:v>#N/A</c:v>
                </c:pt>
                <c:pt idx="327">
                  <c:v>#N/A</c:v>
                </c:pt>
                <c:pt idx="328">
                  <c:v>#N/A</c:v>
                </c:pt>
                <c:pt idx="329">
                  <c:v>#N/A</c:v>
                </c:pt>
                <c:pt idx="330">
                  <c:v>19783.560000000001</c:v>
                </c:pt>
                <c:pt idx="331">
                  <c:v>#N/A</c:v>
                </c:pt>
                <c:pt idx="332">
                  <c:v>#N/A</c:v>
                </c:pt>
                <c:pt idx="333">
                  <c:v>#N/A</c:v>
                </c:pt>
                <c:pt idx="334">
                  <c:v>#N/A</c:v>
                </c:pt>
                <c:pt idx="335">
                  <c:v>#N/A</c:v>
                </c:pt>
                <c:pt idx="336">
                  <c:v>#N/A</c:v>
                </c:pt>
                <c:pt idx="337">
                  <c:v>16038.36</c:v>
                </c:pt>
                <c:pt idx="338">
                  <c:v>#N/A</c:v>
                </c:pt>
                <c:pt idx="339">
                  <c:v>#N/A</c:v>
                </c:pt>
                <c:pt idx="340">
                  <c:v>#N/A</c:v>
                </c:pt>
                <c:pt idx="341">
                  <c:v>#N/A</c:v>
                </c:pt>
                <c:pt idx="342">
                  <c:v>#N/A</c:v>
                </c:pt>
                <c:pt idx="343">
                  <c:v>#N/A</c:v>
                </c:pt>
                <c:pt idx="344">
                  <c:v>6221.92</c:v>
                </c:pt>
                <c:pt idx="345">
                  <c:v>#N/A</c:v>
                </c:pt>
                <c:pt idx="346">
                  <c:v>#N/A</c:v>
                </c:pt>
                <c:pt idx="347">
                  <c:v>#N/A</c:v>
                </c:pt>
                <c:pt idx="348">
                  <c:v>#N/A</c:v>
                </c:pt>
                <c:pt idx="349">
                  <c:v>#N/A</c:v>
                </c:pt>
                <c:pt idx="350">
                  <c:v>#N/A</c:v>
                </c:pt>
                <c:pt idx="351">
                  <c:v>5796.58</c:v>
                </c:pt>
                <c:pt idx="352">
                  <c:v>#N/A</c:v>
                </c:pt>
                <c:pt idx="353">
                  <c:v>#N/A</c:v>
                </c:pt>
                <c:pt idx="354">
                  <c:v>#N/A</c:v>
                </c:pt>
                <c:pt idx="355">
                  <c:v>#N/A</c:v>
                </c:pt>
                <c:pt idx="356">
                  <c:v>#N/A</c:v>
                </c:pt>
                <c:pt idx="357">
                  <c:v>#N/A</c:v>
                </c:pt>
                <c:pt idx="358">
                  <c:v>5117.12</c:v>
                </c:pt>
                <c:pt idx="359">
                  <c:v>#N/A</c:v>
                </c:pt>
                <c:pt idx="360">
                  <c:v>#N/A</c:v>
                </c:pt>
                <c:pt idx="361">
                  <c:v>#N/A</c:v>
                </c:pt>
                <c:pt idx="362">
                  <c:v>#N/A</c:v>
                </c:pt>
                <c:pt idx="363">
                  <c:v>#N/A</c:v>
                </c:pt>
                <c:pt idx="364">
                  <c:v>#N/A</c:v>
                </c:pt>
                <c:pt idx="365">
                  <c:v>4658.8999999999996</c:v>
                </c:pt>
              </c:numCache>
            </c:numRef>
          </c:val>
          <c:smooth val="0"/>
          <c:extLst>
            <c:ext xmlns:c16="http://schemas.microsoft.com/office/drawing/2014/chart" uri="{C3380CC4-5D6E-409C-BE32-E72D297353CC}">
              <c16:uniqueId val="{00000001-F363-422C-B0C0-B548B946FEE0}"/>
            </c:ext>
          </c:extLst>
        </c:ser>
        <c:ser>
          <c:idx val="2"/>
          <c:order val="2"/>
          <c:tx>
            <c:strRef>
              <c:f>金属硅周度图表!$BH$2</c:f>
              <c:strCache>
                <c:ptCount val="1"/>
                <c:pt idx="0">
                  <c:v>2022</c:v>
                </c:pt>
              </c:strCache>
            </c:strRef>
          </c:tx>
          <c:spPr>
            <a:ln w="19050" cap="rnd">
              <a:solidFill>
                <a:schemeClr val="bg1">
                  <a:lumMod val="65000"/>
                </a:schemeClr>
              </a:solidFill>
              <a:round/>
            </a:ln>
            <a:effectLst/>
          </c:spPr>
          <c:marker>
            <c:symbol val="none"/>
          </c:marker>
          <c:cat>
            <c:strRef>
              <c:f>金属硅周度图表!$BE$3:$BE$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BH$3:$BH$368</c:f>
              <c:numCache>
                <c:formatCode>General</c:formatCode>
                <c:ptCount val="366"/>
                <c:pt idx="0">
                  <c:v>#N/A</c:v>
                </c:pt>
                <c:pt idx="1">
                  <c:v>#N/A</c:v>
                </c:pt>
                <c:pt idx="2">
                  <c:v>#N/A</c:v>
                </c:pt>
                <c:pt idx="3">
                  <c:v>#N/A</c:v>
                </c:pt>
                <c:pt idx="4">
                  <c:v>#N/A</c:v>
                </c:pt>
                <c:pt idx="5">
                  <c:v>#N/A</c:v>
                </c:pt>
                <c:pt idx="6">
                  <c:v>4569.8599999999997</c:v>
                </c:pt>
                <c:pt idx="7">
                  <c:v>#N/A</c:v>
                </c:pt>
                <c:pt idx="8">
                  <c:v>#N/A</c:v>
                </c:pt>
                <c:pt idx="9">
                  <c:v>#N/A</c:v>
                </c:pt>
                <c:pt idx="10">
                  <c:v>#N/A</c:v>
                </c:pt>
                <c:pt idx="11">
                  <c:v>#N/A</c:v>
                </c:pt>
                <c:pt idx="12">
                  <c:v>#N/A</c:v>
                </c:pt>
                <c:pt idx="13">
                  <c:v>4350.68</c:v>
                </c:pt>
                <c:pt idx="14">
                  <c:v>#N/A</c:v>
                </c:pt>
                <c:pt idx="15">
                  <c:v>#N/A</c:v>
                </c:pt>
                <c:pt idx="16">
                  <c:v>#N/A</c:v>
                </c:pt>
                <c:pt idx="17">
                  <c:v>#N/A</c:v>
                </c:pt>
                <c:pt idx="18">
                  <c:v>#N/A</c:v>
                </c:pt>
                <c:pt idx="19">
                  <c:v>#N/A</c:v>
                </c:pt>
                <c:pt idx="20">
                  <c:v>4381.43</c:v>
                </c:pt>
                <c:pt idx="21">
                  <c:v>#N/A</c:v>
                </c:pt>
                <c:pt idx="22">
                  <c:v>#N/A</c:v>
                </c:pt>
                <c:pt idx="23">
                  <c:v>#N/A</c:v>
                </c:pt>
                <c:pt idx="24">
                  <c:v>#N/A</c:v>
                </c:pt>
                <c:pt idx="25">
                  <c:v>#N/A</c:v>
                </c:pt>
                <c:pt idx="26">
                  <c:v>#N/A</c:v>
                </c:pt>
                <c:pt idx="27">
                  <c:v>4381.43</c:v>
                </c:pt>
                <c:pt idx="28">
                  <c:v>#N/A</c:v>
                </c:pt>
                <c:pt idx="29">
                  <c:v>#N/A</c:v>
                </c:pt>
                <c:pt idx="30">
                  <c:v>#N/A</c:v>
                </c:pt>
                <c:pt idx="31">
                  <c:v>#N/A</c:v>
                </c:pt>
                <c:pt idx="32">
                  <c:v>#N/A</c:v>
                </c:pt>
                <c:pt idx="33">
                  <c:v>#N/A</c:v>
                </c:pt>
                <c:pt idx="34">
                  <c:v>4381.43</c:v>
                </c:pt>
                <c:pt idx="35">
                  <c:v>#N/A</c:v>
                </c:pt>
                <c:pt idx="36">
                  <c:v>#N/A</c:v>
                </c:pt>
                <c:pt idx="37">
                  <c:v>#N/A</c:v>
                </c:pt>
                <c:pt idx="38">
                  <c:v>#N/A</c:v>
                </c:pt>
                <c:pt idx="39">
                  <c:v>#N/A</c:v>
                </c:pt>
                <c:pt idx="40">
                  <c:v>#N/A</c:v>
                </c:pt>
                <c:pt idx="41">
                  <c:v>4332.8599999999997</c:v>
                </c:pt>
                <c:pt idx="42">
                  <c:v>#N/A</c:v>
                </c:pt>
                <c:pt idx="43">
                  <c:v>#N/A</c:v>
                </c:pt>
                <c:pt idx="44">
                  <c:v>#N/A</c:v>
                </c:pt>
                <c:pt idx="45">
                  <c:v>#N/A</c:v>
                </c:pt>
                <c:pt idx="46">
                  <c:v>#N/A</c:v>
                </c:pt>
                <c:pt idx="47">
                  <c:v>#N/A</c:v>
                </c:pt>
                <c:pt idx="48">
                  <c:v>4360.71</c:v>
                </c:pt>
                <c:pt idx="49">
                  <c:v>#N/A</c:v>
                </c:pt>
                <c:pt idx="50">
                  <c:v>#N/A</c:v>
                </c:pt>
                <c:pt idx="51">
                  <c:v>#N/A</c:v>
                </c:pt>
                <c:pt idx="52">
                  <c:v>#N/A</c:v>
                </c:pt>
                <c:pt idx="53">
                  <c:v>#N/A</c:v>
                </c:pt>
                <c:pt idx="54">
                  <c:v>#N/A</c:v>
                </c:pt>
                <c:pt idx="55">
                  <c:v>4422.1400000000003</c:v>
                </c:pt>
                <c:pt idx="56">
                  <c:v>#N/A</c:v>
                </c:pt>
                <c:pt idx="57">
                  <c:v>#N/A</c:v>
                </c:pt>
                <c:pt idx="58">
                  <c:v>#N/A</c:v>
                </c:pt>
                <c:pt idx="60">
                  <c:v>#N/A</c:v>
                </c:pt>
                <c:pt idx="61">
                  <c:v>#N/A</c:v>
                </c:pt>
                <c:pt idx="62">
                  <c:v>#N/A</c:v>
                </c:pt>
                <c:pt idx="63">
                  <c:v>4495.71</c:v>
                </c:pt>
                <c:pt idx="64">
                  <c:v>#N/A</c:v>
                </c:pt>
                <c:pt idx="65">
                  <c:v>#N/A</c:v>
                </c:pt>
                <c:pt idx="66">
                  <c:v>#N/A</c:v>
                </c:pt>
                <c:pt idx="67">
                  <c:v>#N/A</c:v>
                </c:pt>
                <c:pt idx="68">
                  <c:v>#N/A</c:v>
                </c:pt>
                <c:pt idx="69">
                  <c:v>#N/A</c:v>
                </c:pt>
                <c:pt idx="70">
                  <c:v>4520.71</c:v>
                </c:pt>
                <c:pt idx="71">
                  <c:v>#N/A</c:v>
                </c:pt>
                <c:pt idx="72">
                  <c:v>#N/A</c:v>
                </c:pt>
                <c:pt idx="73">
                  <c:v>#N/A</c:v>
                </c:pt>
                <c:pt idx="74">
                  <c:v>#N/A</c:v>
                </c:pt>
                <c:pt idx="75">
                  <c:v>#N/A</c:v>
                </c:pt>
                <c:pt idx="76">
                  <c:v>#N/A</c:v>
                </c:pt>
                <c:pt idx="77">
                  <c:v>4537.8599999999997</c:v>
                </c:pt>
                <c:pt idx="78">
                  <c:v>#N/A</c:v>
                </c:pt>
                <c:pt idx="79">
                  <c:v>#N/A</c:v>
                </c:pt>
                <c:pt idx="80">
                  <c:v>#N/A</c:v>
                </c:pt>
                <c:pt idx="81">
                  <c:v>#N/A</c:v>
                </c:pt>
                <c:pt idx="82">
                  <c:v>#N/A</c:v>
                </c:pt>
                <c:pt idx="83">
                  <c:v>#N/A</c:v>
                </c:pt>
                <c:pt idx="84">
                  <c:v>4451.43</c:v>
                </c:pt>
                <c:pt idx="85">
                  <c:v>#N/A</c:v>
                </c:pt>
                <c:pt idx="86">
                  <c:v>#N/A</c:v>
                </c:pt>
                <c:pt idx="87">
                  <c:v>#N/A</c:v>
                </c:pt>
                <c:pt idx="88">
                  <c:v>#N/A</c:v>
                </c:pt>
                <c:pt idx="89">
                  <c:v>#N/A</c:v>
                </c:pt>
                <c:pt idx="90">
                  <c:v>#N/A</c:v>
                </c:pt>
                <c:pt idx="91">
                  <c:v>4422.6099999999997</c:v>
                </c:pt>
                <c:pt idx="92">
                  <c:v>#N/A</c:v>
                </c:pt>
                <c:pt idx="93">
                  <c:v>#N/A</c:v>
                </c:pt>
                <c:pt idx="94">
                  <c:v>#N/A</c:v>
                </c:pt>
                <c:pt idx="95">
                  <c:v>#N/A</c:v>
                </c:pt>
                <c:pt idx="96">
                  <c:v>#N/A</c:v>
                </c:pt>
                <c:pt idx="97">
                  <c:v>#N/A</c:v>
                </c:pt>
                <c:pt idx="98">
                  <c:v>4337.3900000000003</c:v>
                </c:pt>
                <c:pt idx="99">
                  <c:v>#N/A</c:v>
                </c:pt>
                <c:pt idx="100">
                  <c:v>#N/A</c:v>
                </c:pt>
                <c:pt idx="101">
                  <c:v>#N/A</c:v>
                </c:pt>
                <c:pt idx="102">
                  <c:v>#N/A</c:v>
                </c:pt>
                <c:pt idx="103">
                  <c:v>#N/A</c:v>
                </c:pt>
                <c:pt idx="104">
                  <c:v>#N/A</c:v>
                </c:pt>
                <c:pt idx="105">
                  <c:v>4285.22</c:v>
                </c:pt>
                <c:pt idx="106">
                  <c:v>#N/A</c:v>
                </c:pt>
                <c:pt idx="107">
                  <c:v>#N/A</c:v>
                </c:pt>
                <c:pt idx="108">
                  <c:v>#N/A</c:v>
                </c:pt>
                <c:pt idx="109">
                  <c:v>#N/A</c:v>
                </c:pt>
                <c:pt idx="110">
                  <c:v>#N/A</c:v>
                </c:pt>
                <c:pt idx="111">
                  <c:v>#N/A</c:v>
                </c:pt>
                <c:pt idx="112">
                  <c:v>4267.83</c:v>
                </c:pt>
                <c:pt idx="113">
                  <c:v>#N/A</c:v>
                </c:pt>
                <c:pt idx="114">
                  <c:v>#N/A</c:v>
                </c:pt>
                <c:pt idx="115">
                  <c:v>#N/A</c:v>
                </c:pt>
                <c:pt idx="116">
                  <c:v>#N/A</c:v>
                </c:pt>
                <c:pt idx="117">
                  <c:v>#N/A</c:v>
                </c:pt>
                <c:pt idx="118">
                  <c:v>#N/A</c:v>
                </c:pt>
                <c:pt idx="119">
                  <c:v>4244.3500000000004</c:v>
                </c:pt>
                <c:pt idx="120">
                  <c:v>#N/A</c:v>
                </c:pt>
                <c:pt idx="121">
                  <c:v>#N/A</c:v>
                </c:pt>
                <c:pt idx="122">
                  <c:v>#N/A</c:v>
                </c:pt>
                <c:pt idx="123">
                  <c:v>#N/A</c:v>
                </c:pt>
                <c:pt idx="124">
                  <c:v>#N/A</c:v>
                </c:pt>
                <c:pt idx="125">
                  <c:v>#N/A</c:v>
                </c:pt>
                <c:pt idx="126">
                  <c:v>4218.26</c:v>
                </c:pt>
                <c:pt idx="127">
                  <c:v>#N/A</c:v>
                </c:pt>
                <c:pt idx="128">
                  <c:v>#N/A</c:v>
                </c:pt>
                <c:pt idx="129">
                  <c:v>#N/A</c:v>
                </c:pt>
                <c:pt idx="130">
                  <c:v>#N/A</c:v>
                </c:pt>
                <c:pt idx="131">
                  <c:v>#N/A</c:v>
                </c:pt>
                <c:pt idx="132">
                  <c:v>#N/A</c:v>
                </c:pt>
                <c:pt idx="133">
                  <c:v>4105.22</c:v>
                </c:pt>
                <c:pt idx="134">
                  <c:v>#N/A</c:v>
                </c:pt>
                <c:pt idx="135">
                  <c:v>#N/A</c:v>
                </c:pt>
                <c:pt idx="136">
                  <c:v>#N/A</c:v>
                </c:pt>
                <c:pt idx="137">
                  <c:v>#N/A</c:v>
                </c:pt>
                <c:pt idx="138">
                  <c:v>#N/A</c:v>
                </c:pt>
                <c:pt idx="139">
                  <c:v>#N/A</c:v>
                </c:pt>
                <c:pt idx="140">
                  <c:v>2135.59</c:v>
                </c:pt>
                <c:pt idx="141">
                  <c:v>#N/A</c:v>
                </c:pt>
                <c:pt idx="142">
                  <c:v>#N/A</c:v>
                </c:pt>
                <c:pt idx="143">
                  <c:v>#N/A</c:v>
                </c:pt>
                <c:pt idx="144">
                  <c:v>#N/A</c:v>
                </c:pt>
                <c:pt idx="145">
                  <c:v>#N/A</c:v>
                </c:pt>
                <c:pt idx="146">
                  <c:v>#N/A</c:v>
                </c:pt>
                <c:pt idx="147">
                  <c:v>1966.95</c:v>
                </c:pt>
                <c:pt idx="148">
                  <c:v>#N/A</c:v>
                </c:pt>
                <c:pt idx="149">
                  <c:v>#N/A</c:v>
                </c:pt>
                <c:pt idx="150">
                  <c:v>#N/A</c:v>
                </c:pt>
                <c:pt idx="151">
                  <c:v>#N/A</c:v>
                </c:pt>
                <c:pt idx="152">
                  <c:v>#N/A</c:v>
                </c:pt>
                <c:pt idx="153">
                  <c:v>#N/A</c:v>
                </c:pt>
                <c:pt idx="154">
                  <c:v>1770.83</c:v>
                </c:pt>
                <c:pt idx="155">
                  <c:v>#N/A</c:v>
                </c:pt>
                <c:pt idx="156">
                  <c:v>#N/A</c:v>
                </c:pt>
                <c:pt idx="157">
                  <c:v>#N/A</c:v>
                </c:pt>
                <c:pt idx="158">
                  <c:v>#N/A</c:v>
                </c:pt>
                <c:pt idx="159">
                  <c:v>#N/A</c:v>
                </c:pt>
                <c:pt idx="160">
                  <c:v>#N/A</c:v>
                </c:pt>
                <c:pt idx="161">
                  <c:v>1428.75</c:v>
                </c:pt>
                <c:pt idx="162">
                  <c:v>#N/A</c:v>
                </c:pt>
                <c:pt idx="163">
                  <c:v>#N/A</c:v>
                </c:pt>
                <c:pt idx="164">
                  <c:v>#N/A</c:v>
                </c:pt>
                <c:pt idx="165">
                  <c:v>#N/A</c:v>
                </c:pt>
                <c:pt idx="166">
                  <c:v>#N/A</c:v>
                </c:pt>
                <c:pt idx="167">
                  <c:v>#N/A</c:v>
                </c:pt>
                <c:pt idx="168">
                  <c:v>1869.58</c:v>
                </c:pt>
                <c:pt idx="169">
                  <c:v>#N/A</c:v>
                </c:pt>
                <c:pt idx="170">
                  <c:v>#N/A</c:v>
                </c:pt>
                <c:pt idx="171">
                  <c:v>#N/A</c:v>
                </c:pt>
                <c:pt idx="172">
                  <c:v>#N/A</c:v>
                </c:pt>
                <c:pt idx="173">
                  <c:v>#N/A</c:v>
                </c:pt>
                <c:pt idx="174">
                  <c:v>#N/A</c:v>
                </c:pt>
                <c:pt idx="175">
                  <c:v>2787.29</c:v>
                </c:pt>
                <c:pt idx="176">
                  <c:v>#N/A</c:v>
                </c:pt>
                <c:pt idx="177">
                  <c:v>#N/A</c:v>
                </c:pt>
                <c:pt idx="178">
                  <c:v>#N/A</c:v>
                </c:pt>
                <c:pt idx="179">
                  <c:v>#N/A</c:v>
                </c:pt>
                <c:pt idx="180">
                  <c:v>#N/A</c:v>
                </c:pt>
                <c:pt idx="181">
                  <c:v>#N/A</c:v>
                </c:pt>
                <c:pt idx="182">
                  <c:v>2232.1999999999998</c:v>
                </c:pt>
                <c:pt idx="183">
                  <c:v>#N/A</c:v>
                </c:pt>
                <c:pt idx="184">
                  <c:v>#N/A</c:v>
                </c:pt>
                <c:pt idx="185">
                  <c:v>#N/A</c:v>
                </c:pt>
                <c:pt idx="186">
                  <c:v>#N/A</c:v>
                </c:pt>
                <c:pt idx="187">
                  <c:v>#N/A</c:v>
                </c:pt>
                <c:pt idx="188">
                  <c:v>#N/A</c:v>
                </c:pt>
                <c:pt idx="189">
                  <c:v>2118.9699999999998</c:v>
                </c:pt>
                <c:pt idx="190">
                  <c:v>#N/A</c:v>
                </c:pt>
                <c:pt idx="191">
                  <c:v>#N/A</c:v>
                </c:pt>
                <c:pt idx="192">
                  <c:v>#N/A</c:v>
                </c:pt>
                <c:pt idx="193">
                  <c:v>#N/A</c:v>
                </c:pt>
                <c:pt idx="194">
                  <c:v>#N/A</c:v>
                </c:pt>
                <c:pt idx="195">
                  <c:v>#N/A</c:v>
                </c:pt>
                <c:pt idx="196">
                  <c:v>2304.31</c:v>
                </c:pt>
                <c:pt idx="197">
                  <c:v>#N/A</c:v>
                </c:pt>
                <c:pt idx="198">
                  <c:v>#N/A</c:v>
                </c:pt>
                <c:pt idx="199">
                  <c:v>#N/A</c:v>
                </c:pt>
                <c:pt idx="200">
                  <c:v>#N/A</c:v>
                </c:pt>
                <c:pt idx="201">
                  <c:v>#N/A</c:v>
                </c:pt>
                <c:pt idx="202">
                  <c:v>#N/A</c:v>
                </c:pt>
                <c:pt idx="203">
                  <c:v>2474.14</c:v>
                </c:pt>
                <c:pt idx="204">
                  <c:v>#N/A</c:v>
                </c:pt>
                <c:pt idx="205">
                  <c:v>#N/A</c:v>
                </c:pt>
                <c:pt idx="206">
                  <c:v>#N/A</c:v>
                </c:pt>
                <c:pt idx="207">
                  <c:v>#N/A</c:v>
                </c:pt>
                <c:pt idx="208">
                  <c:v>#N/A</c:v>
                </c:pt>
                <c:pt idx="209">
                  <c:v>#N/A</c:v>
                </c:pt>
                <c:pt idx="210">
                  <c:v>2361.34</c:v>
                </c:pt>
                <c:pt idx="211">
                  <c:v>#N/A</c:v>
                </c:pt>
                <c:pt idx="212">
                  <c:v>#N/A</c:v>
                </c:pt>
                <c:pt idx="213">
                  <c:v>#N/A</c:v>
                </c:pt>
                <c:pt idx="214">
                  <c:v>#N/A</c:v>
                </c:pt>
                <c:pt idx="215">
                  <c:v>#N/A</c:v>
                </c:pt>
                <c:pt idx="216">
                  <c:v>#N/A</c:v>
                </c:pt>
                <c:pt idx="217">
                  <c:v>2281.67</c:v>
                </c:pt>
                <c:pt idx="218">
                  <c:v>#N/A</c:v>
                </c:pt>
                <c:pt idx="219">
                  <c:v>#N/A</c:v>
                </c:pt>
                <c:pt idx="220">
                  <c:v>#N/A</c:v>
                </c:pt>
                <c:pt idx="221">
                  <c:v>#N/A</c:v>
                </c:pt>
                <c:pt idx="222">
                  <c:v>#N/A</c:v>
                </c:pt>
                <c:pt idx="223">
                  <c:v>#N/A</c:v>
                </c:pt>
                <c:pt idx="224">
                  <c:v>2660.5</c:v>
                </c:pt>
                <c:pt idx="225">
                  <c:v>#N/A</c:v>
                </c:pt>
                <c:pt idx="226">
                  <c:v>#N/A</c:v>
                </c:pt>
                <c:pt idx="227">
                  <c:v>#N/A</c:v>
                </c:pt>
                <c:pt idx="228">
                  <c:v>#N/A</c:v>
                </c:pt>
                <c:pt idx="229">
                  <c:v>#N/A</c:v>
                </c:pt>
                <c:pt idx="230">
                  <c:v>#N/A</c:v>
                </c:pt>
                <c:pt idx="231">
                  <c:v>7006.56</c:v>
                </c:pt>
                <c:pt idx="232">
                  <c:v>#N/A</c:v>
                </c:pt>
                <c:pt idx="233">
                  <c:v>#N/A</c:v>
                </c:pt>
                <c:pt idx="234">
                  <c:v>#N/A</c:v>
                </c:pt>
                <c:pt idx="235">
                  <c:v>#N/A</c:v>
                </c:pt>
                <c:pt idx="236">
                  <c:v>#N/A</c:v>
                </c:pt>
                <c:pt idx="237">
                  <c:v>#N/A</c:v>
                </c:pt>
                <c:pt idx="238">
                  <c:v>5515.57</c:v>
                </c:pt>
                <c:pt idx="239">
                  <c:v>#N/A</c:v>
                </c:pt>
                <c:pt idx="240">
                  <c:v>#N/A</c:v>
                </c:pt>
                <c:pt idx="241">
                  <c:v>#N/A</c:v>
                </c:pt>
                <c:pt idx="242">
                  <c:v>#N/A</c:v>
                </c:pt>
                <c:pt idx="243">
                  <c:v>#N/A</c:v>
                </c:pt>
                <c:pt idx="244">
                  <c:v>#N/A</c:v>
                </c:pt>
                <c:pt idx="245">
                  <c:v>4012.9</c:v>
                </c:pt>
                <c:pt idx="246">
                  <c:v>#N/A</c:v>
                </c:pt>
                <c:pt idx="247">
                  <c:v>#N/A</c:v>
                </c:pt>
                <c:pt idx="248">
                  <c:v>#N/A</c:v>
                </c:pt>
                <c:pt idx="249">
                  <c:v>#N/A</c:v>
                </c:pt>
                <c:pt idx="250">
                  <c:v>#N/A</c:v>
                </c:pt>
                <c:pt idx="251">
                  <c:v>#N/A</c:v>
                </c:pt>
                <c:pt idx="252">
                  <c:v>4713.6000000000004</c:v>
                </c:pt>
                <c:pt idx="253">
                  <c:v>#N/A</c:v>
                </c:pt>
                <c:pt idx="254">
                  <c:v>#N/A</c:v>
                </c:pt>
                <c:pt idx="255">
                  <c:v>#N/A</c:v>
                </c:pt>
                <c:pt idx="256">
                  <c:v>#N/A</c:v>
                </c:pt>
                <c:pt idx="257">
                  <c:v>#N/A</c:v>
                </c:pt>
                <c:pt idx="258">
                  <c:v>#N/A</c:v>
                </c:pt>
                <c:pt idx="259">
                  <c:v>4564.3900000000003</c:v>
                </c:pt>
                <c:pt idx="260">
                  <c:v>#N/A</c:v>
                </c:pt>
                <c:pt idx="261">
                  <c:v>#N/A</c:v>
                </c:pt>
                <c:pt idx="262">
                  <c:v>#N/A</c:v>
                </c:pt>
                <c:pt idx="263">
                  <c:v>#N/A</c:v>
                </c:pt>
                <c:pt idx="264">
                  <c:v>#N/A</c:v>
                </c:pt>
                <c:pt idx="265">
                  <c:v>#N/A</c:v>
                </c:pt>
                <c:pt idx="266">
                  <c:v>4536.3599999999997</c:v>
                </c:pt>
                <c:pt idx="267">
                  <c:v>#N/A</c:v>
                </c:pt>
                <c:pt idx="268">
                  <c:v>#N/A</c:v>
                </c:pt>
                <c:pt idx="269">
                  <c:v>#N/A</c:v>
                </c:pt>
                <c:pt idx="270">
                  <c:v>#N/A</c:v>
                </c:pt>
                <c:pt idx="271">
                  <c:v>#N/A</c:v>
                </c:pt>
                <c:pt idx="272">
                  <c:v>#N/A</c:v>
                </c:pt>
                <c:pt idx="273">
                  <c:v>4749.24</c:v>
                </c:pt>
                <c:pt idx="274">
                  <c:v>#N/A</c:v>
                </c:pt>
                <c:pt idx="275">
                  <c:v>#N/A</c:v>
                </c:pt>
                <c:pt idx="276">
                  <c:v>#N/A</c:v>
                </c:pt>
                <c:pt idx="277">
                  <c:v>#N/A</c:v>
                </c:pt>
                <c:pt idx="278">
                  <c:v>#N/A</c:v>
                </c:pt>
                <c:pt idx="279">
                  <c:v>#N/A</c:v>
                </c:pt>
                <c:pt idx="280">
                  <c:v>4749.24</c:v>
                </c:pt>
                <c:pt idx="281">
                  <c:v>#N/A</c:v>
                </c:pt>
                <c:pt idx="282">
                  <c:v>#N/A</c:v>
                </c:pt>
                <c:pt idx="283">
                  <c:v>#N/A</c:v>
                </c:pt>
                <c:pt idx="284">
                  <c:v>#N/A</c:v>
                </c:pt>
                <c:pt idx="285">
                  <c:v>#N/A</c:v>
                </c:pt>
                <c:pt idx="286">
                  <c:v>#N/A</c:v>
                </c:pt>
                <c:pt idx="287">
                  <c:v>3973.33</c:v>
                </c:pt>
                <c:pt idx="288">
                  <c:v>#N/A</c:v>
                </c:pt>
                <c:pt idx="289">
                  <c:v>#N/A</c:v>
                </c:pt>
                <c:pt idx="290">
                  <c:v>#N/A</c:v>
                </c:pt>
                <c:pt idx="291">
                  <c:v>#N/A</c:v>
                </c:pt>
                <c:pt idx="292">
                  <c:v>#N/A</c:v>
                </c:pt>
                <c:pt idx="293">
                  <c:v>#N/A</c:v>
                </c:pt>
                <c:pt idx="294">
                  <c:v>4304.4399999999996</c:v>
                </c:pt>
                <c:pt idx="295">
                  <c:v>#N/A</c:v>
                </c:pt>
                <c:pt idx="296">
                  <c:v>#N/A</c:v>
                </c:pt>
                <c:pt idx="297">
                  <c:v>#N/A</c:v>
                </c:pt>
                <c:pt idx="298">
                  <c:v>#N/A</c:v>
                </c:pt>
                <c:pt idx="299">
                  <c:v>#N/A</c:v>
                </c:pt>
                <c:pt idx="300">
                  <c:v>#N/A</c:v>
                </c:pt>
                <c:pt idx="301">
                  <c:v>4228.8900000000003</c:v>
                </c:pt>
                <c:pt idx="302">
                  <c:v>#N/A</c:v>
                </c:pt>
                <c:pt idx="303">
                  <c:v>#N/A</c:v>
                </c:pt>
                <c:pt idx="304">
                  <c:v>#N/A</c:v>
                </c:pt>
                <c:pt idx="305">
                  <c:v>#N/A</c:v>
                </c:pt>
                <c:pt idx="306">
                  <c:v>#N/A</c:v>
                </c:pt>
                <c:pt idx="307">
                  <c:v>#N/A</c:v>
                </c:pt>
                <c:pt idx="308">
                  <c:v>3159.59</c:v>
                </c:pt>
                <c:pt idx="309">
                  <c:v>#N/A</c:v>
                </c:pt>
                <c:pt idx="310">
                  <c:v>#N/A</c:v>
                </c:pt>
                <c:pt idx="311">
                  <c:v>#N/A</c:v>
                </c:pt>
                <c:pt idx="312">
                  <c:v>#N/A</c:v>
                </c:pt>
                <c:pt idx="313">
                  <c:v>#N/A</c:v>
                </c:pt>
                <c:pt idx="314">
                  <c:v>#N/A</c:v>
                </c:pt>
                <c:pt idx="315">
                  <c:v>2994.52</c:v>
                </c:pt>
                <c:pt idx="316">
                  <c:v>#N/A</c:v>
                </c:pt>
                <c:pt idx="317">
                  <c:v>#N/A</c:v>
                </c:pt>
                <c:pt idx="318">
                  <c:v>#N/A</c:v>
                </c:pt>
                <c:pt idx="319">
                  <c:v>#N/A</c:v>
                </c:pt>
                <c:pt idx="320">
                  <c:v>#N/A</c:v>
                </c:pt>
                <c:pt idx="321">
                  <c:v>#N/A</c:v>
                </c:pt>
                <c:pt idx="322">
                  <c:v>2734.48</c:v>
                </c:pt>
                <c:pt idx="323">
                  <c:v>#N/A</c:v>
                </c:pt>
                <c:pt idx="324">
                  <c:v>#N/A</c:v>
                </c:pt>
                <c:pt idx="325">
                  <c:v>#N/A</c:v>
                </c:pt>
                <c:pt idx="326">
                  <c:v>#N/A</c:v>
                </c:pt>
                <c:pt idx="327">
                  <c:v>#N/A</c:v>
                </c:pt>
                <c:pt idx="328">
                  <c:v>#N/A</c:v>
                </c:pt>
                <c:pt idx="329">
                  <c:v>2331.7199999999998</c:v>
                </c:pt>
                <c:pt idx="330">
                  <c:v>#N/A</c:v>
                </c:pt>
                <c:pt idx="331">
                  <c:v>#N/A</c:v>
                </c:pt>
                <c:pt idx="332">
                  <c:v>#N/A</c:v>
                </c:pt>
                <c:pt idx="333">
                  <c:v>#N/A</c:v>
                </c:pt>
                <c:pt idx="334">
                  <c:v>#N/A</c:v>
                </c:pt>
                <c:pt idx="335">
                  <c:v>#N/A</c:v>
                </c:pt>
                <c:pt idx="336">
                  <c:v>2024.14</c:v>
                </c:pt>
                <c:pt idx="337">
                  <c:v>#N/A</c:v>
                </c:pt>
                <c:pt idx="338">
                  <c:v>#N/A</c:v>
                </c:pt>
                <c:pt idx="339">
                  <c:v>#N/A</c:v>
                </c:pt>
                <c:pt idx="340">
                  <c:v>#N/A</c:v>
                </c:pt>
                <c:pt idx="341">
                  <c:v>#N/A</c:v>
                </c:pt>
                <c:pt idx="342">
                  <c:v>#N/A</c:v>
                </c:pt>
                <c:pt idx="343">
                  <c:v>1781.38</c:v>
                </c:pt>
                <c:pt idx="344">
                  <c:v>#N/A</c:v>
                </c:pt>
                <c:pt idx="345">
                  <c:v>#N/A</c:v>
                </c:pt>
                <c:pt idx="346">
                  <c:v>#N/A</c:v>
                </c:pt>
                <c:pt idx="347">
                  <c:v>#N/A</c:v>
                </c:pt>
                <c:pt idx="348">
                  <c:v>#N/A</c:v>
                </c:pt>
                <c:pt idx="349">
                  <c:v>#N/A</c:v>
                </c:pt>
                <c:pt idx="350">
                  <c:v>1641.38</c:v>
                </c:pt>
                <c:pt idx="351">
                  <c:v>#N/A</c:v>
                </c:pt>
                <c:pt idx="352">
                  <c:v>#N/A</c:v>
                </c:pt>
                <c:pt idx="353">
                  <c:v>#N/A</c:v>
                </c:pt>
                <c:pt idx="354">
                  <c:v>#N/A</c:v>
                </c:pt>
                <c:pt idx="355">
                  <c:v>#N/A</c:v>
                </c:pt>
                <c:pt idx="356">
                  <c:v>#N/A</c:v>
                </c:pt>
                <c:pt idx="357">
                  <c:v>1331.72</c:v>
                </c:pt>
                <c:pt idx="358">
                  <c:v>#N/A</c:v>
                </c:pt>
                <c:pt idx="359">
                  <c:v>#N/A</c:v>
                </c:pt>
                <c:pt idx="360">
                  <c:v>#N/A</c:v>
                </c:pt>
                <c:pt idx="361">
                  <c:v>#N/A</c:v>
                </c:pt>
                <c:pt idx="362">
                  <c:v>#N/A</c:v>
                </c:pt>
                <c:pt idx="363">
                  <c:v>#N/A</c:v>
                </c:pt>
                <c:pt idx="364">
                  <c:v>1257.93</c:v>
                </c:pt>
                <c:pt idx="365">
                  <c:v>#N/A</c:v>
                </c:pt>
              </c:numCache>
            </c:numRef>
          </c:val>
          <c:smooth val="0"/>
          <c:extLst>
            <c:ext xmlns:c16="http://schemas.microsoft.com/office/drawing/2014/chart" uri="{C3380CC4-5D6E-409C-BE32-E72D297353CC}">
              <c16:uniqueId val="{00000002-F363-422C-B0C0-B548B946FEE0}"/>
            </c:ext>
          </c:extLst>
        </c:ser>
        <c:ser>
          <c:idx val="3"/>
          <c:order val="3"/>
          <c:tx>
            <c:strRef>
              <c:f>金属硅周度图表!$BI$2</c:f>
              <c:strCache>
                <c:ptCount val="1"/>
                <c:pt idx="0">
                  <c:v>2023</c:v>
                </c:pt>
              </c:strCache>
            </c:strRef>
          </c:tx>
          <c:spPr>
            <a:ln w="19050" cap="rnd">
              <a:solidFill>
                <a:srgbClr val="55A5AB">
                  <a:alpha val="60000"/>
                </a:srgbClr>
              </a:solidFill>
              <a:round/>
            </a:ln>
            <a:effectLst/>
          </c:spPr>
          <c:marker>
            <c:symbol val="none"/>
          </c:marker>
          <c:cat>
            <c:strRef>
              <c:f>金属硅周度图表!$BE$3:$BE$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BI$3:$BI$368</c:f>
              <c:numCache>
                <c:formatCode>General</c:formatCode>
                <c:ptCount val="366"/>
                <c:pt idx="0">
                  <c:v>#N/A</c:v>
                </c:pt>
                <c:pt idx="1">
                  <c:v>#N/A</c:v>
                </c:pt>
                <c:pt idx="2">
                  <c:v>#N/A</c:v>
                </c:pt>
                <c:pt idx="3">
                  <c:v>#N/A</c:v>
                </c:pt>
                <c:pt idx="4">
                  <c:v>#N/A</c:v>
                </c:pt>
                <c:pt idx="5">
                  <c:v>1036.81</c:v>
                </c:pt>
                <c:pt idx="6">
                  <c:v>#N/A</c:v>
                </c:pt>
                <c:pt idx="7">
                  <c:v>#N/A</c:v>
                </c:pt>
                <c:pt idx="8">
                  <c:v>#N/A</c:v>
                </c:pt>
                <c:pt idx="9">
                  <c:v>#N/A</c:v>
                </c:pt>
                <c:pt idx="10">
                  <c:v>#N/A</c:v>
                </c:pt>
                <c:pt idx="11">
                  <c:v>#N/A</c:v>
                </c:pt>
                <c:pt idx="12">
                  <c:v>758.74</c:v>
                </c:pt>
                <c:pt idx="13">
                  <c:v>#N/A</c:v>
                </c:pt>
                <c:pt idx="14">
                  <c:v>#N/A</c:v>
                </c:pt>
                <c:pt idx="15">
                  <c:v>#N/A</c:v>
                </c:pt>
                <c:pt idx="16">
                  <c:v>#N/A</c:v>
                </c:pt>
                <c:pt idx="17">
                  <c:v>#N/A</c:v>
                </c:pt>
                <c:pt idx="18">
                  <c:v>#N/A</c:v>
                </c:pt>
                <c:pt idx="19">
                  <c:v>669.12</c:v>
                </c:pt>
                <c:pt idx="20">
                  <c:v>#N/A</c:v>
                </c:pt>
                <c:pt idx="21">
                  <c:v>#N/A</c:v>
                </c:pt>
                <c:pt idx="22">
                  <c:v>#N/A</c:v>
                </c:pt>
                <c:pt idx="23">
                  <c:v>#N/A</c:v>
                </c:pt>
                <c:pt idx="24">
                  <c:v>#N/A</c:v>
                </c:pt>
                <c:pt idx="25">
                  <c:v>#N/A</c:v>
                </c:pt>
                <c:pt idx="26">
                  <c:v>662.77</c:v>
                </c:pt>
                <c:pt idx="27">
                  <c:v>#N/A</c:v>
                </c:pt>
                <c:pt idx="28">
                  <c:v>#N/A</c:v>
                </c:pt>
                <c:pt idx="29">
                  <c:v>#N/A</c:v>
                </c:pt>
                <c:pt idx="30">
                  <c:v>#N/A</c:v>
                </c:pt>
                <c:pt idx="31">
                  <c:v>#N/A</c:v>
                </c:pt>
                <c:pt idx="32">
                  <c:v>#N/A</c:v>
                </c:pt>
                <c:pt idx="33">
                  <c:v>658.39</c:v>
                </c:pt>
                <c:pt idx="34">
                  <c:v>#N/A</c:v>
                </c:pt>
                <c:pt idx="35">
                  <c:v>#N/A</c:v>
                </c:pt>
                <c:pt idx="36">
                  <c:v>#N/A</c:v>
                </c:pt>
                <c:pt idx="37">
                  <c:v>#N/A</c:v>
                </c:pt>
                <c:pt idx="38">
                  <c:v>#N/A</c:v>
                </c:pt>
                <c:pt idx="39">
                  <c:v>#N/A</c:v>
                </c:pt>
                <c:pt idx="40">
                  <c:v>516.05999999999995</c:v>
                </c:pt>
                <c:pt idx="41">
                  <c:v>#N/A</c:v>
                </c:pt>
                <c:pt idx="42">
                  <c:v>#N/A</c:v>
                </c:pt>
                <c:pt idx="43">
                  <c:v>#N/A</c:v>
                </c:pt>
                <c:pt idx="44">
                  <c:v>#N/A</c:v>
                </c:pt>
                <c:pt idx="45">
                  <c:v>#N/A</c:v>
                </c:pt>
                <c:pt idx="46">
                  <c:v>#N/A</c:v>
                </c:pt>
                <c:pt idx="47">
                  <c:v>567.88</c:v>
                </c:pt>
                <c:pt idx="48">
                  <c:v>#N/A</c:v>
                </c:pt>
                <c:pt idx="49">
                  <c:v>#N/A</c:v>
                </c:pt>
                <c:pt idx="50">
                  <c:v>#N/A</c:v>
                </c:pt>
                <c:pt idx="51">
                  <c:v>#N/A</c:v>
                </c:pt>
                <c:pt idx="52">
                  <c:v>#N/A</c:v>
                </c:pt>
                <c:pt idx="53">
                  <c:v>#N/A</c:v>
                </c:pt>
                <c:pt idx="54">
                  <c:v>567.88</c:v>
                </c:pt>
                <c:pt idx="55">
                  <c:v>#N/A</c:v>
                </c:pt>
                <c:pt idx="56">
                  <c:v>#N/A</c:v>
                </c:pt>
                <c:pt idx="57">
                  <c:v>#N/A</c:v>
                </c:pt>
                <c:pt idx="58">
                  <c:v>#N/A</c:v>
                </c:pt>
                <c:pt idx="60">
                  <c:v>#N/A</c:v>
                </c:pt>
                <c:pt idx="61">
                  <c:v>#N/A</c:v>
                </c:pt>
                <c:pt idx="62">
                  <c:v>550.58000000000004</c:v>
                </c:pt>
                <c:pt idx="63">
                  <c:v>#N/A</c:v>
                </c:pt>
                <c:pt idx="64">
                  <c:v>#N/A</c:v>
                </c:pt>
                <c:pt idx="65">
                  <c:v>#N/A</c:v>
                </c:pt>
                <c:pt idx="66">
                  <c:v>#N/A</c:v>
                </c:pt>
                <c:pt idx="67">
                  <c:v>#N/A</c:v>
                </c:pt>
                <c:pt idx="68">
                  <c:v>#N/A</c:v>
                </c:pt>
                <c:pt idx="69">
                  <c:v>784.67</c:v>
                </c:pt>
                <c:pt idx="70">
                  <c:v>#N/A</c:v>
                </c:pt>
                <c:pt idx="71">
                  <c:v>#N/A</c:v>
                </c:pt>
                <c:pt idx="72">
                  <c:v>#N/A</c:v>
                </c:pt>
                <c:pt idx="73">
                  <c:v>#N/A</c:v>
                </c:pt>
                <c:pt idx="74">
                  <c:v>#N/A</c:v>
                </c:pt>
                <c:pt idx="75">
                  <c:v>#N/A</c:v>
                </c:pt>
                <c:pt idx="76">
                  <c:v>348.54</c:v>
                </c:pt>
                <c:pt idx="77">
                  <c:v>#N/A</c:v>
                </c:pt>
                <c:pt idx="78">
                  <c:v>#N/A</c:v>
                </c:pt>
                <c:pt idx="79">
                  <c:v>#N/A</c:v>
                </c:pt>
                <c:pt idx="80">
                  <c:v>#N/A</c:v>
                </c:pt>
                <c:pt idx="81">
                  <c:v>#N/A</c:v>
                </c:pt>
                <c:pt idx="82">
                  <c:v>#N/A</c:v>
                </c:pt>
                <c:pt idx="83">
                  <c:v>98.54</c:v>
                </c:pt>
                <c:pt idx="84">
                  <c:v>#N/A</c:v>
                </c:pt>
                <c:pt idx="85">
                  <c:v>#N/A</c:v>
                </c:pt>
                <c:pt idx="86">
                  <c:v>#N/A</c:v>
                </c:pt>
                <c:pt idx="87">
                  <c:v>#N/A</c:v>
                </c:pt>
                <c:pt idx="88">
                  <c:v>#N/A</c:v>
                </c:pt>
                <c:pt idx="89">
                  <c:v>#N/A</c:v>
                </c:pt>
                <c:pt idx="90">
                  <c:v>87.68</c:v>
                </c:pt>
                <c:pt idx="91">
                  <c:v>#N/A</c:v>
                </c:pt>
                <c:pt idx="92">
                  <c:v>#N/A</c:v>
                </c:pt>
                <c:pt idx="93">
                  <c:v>#N/A</c:v>
                </c:pt>
                <c:pt idx="94">
                  <c:v>#N/A</c:v>
                </c:pt>
                <c:pt idx="95">
                  <c:v>#N/A</c:v>
                </c:pt>
                <c:pt idx="96">
                  <c:v>#N/A</c:v>
                </c:pt>
                <c:pt idx="97">
                  <c:v>71.09</c:v>
                </c:pt>
                <c:pt idx="98">
                  <c:v>#N/A</c:v>
                </c:pt>
                <c:pt idx="99">
                  <c:v>#N/A</c:v>
                </c:pt>
                <c:pt idx="100">
                  <c:v>#N/A</c:v>
                </c:pt>
                <c:pt idx="101">
                  <c:v>#N/A</c:v>
                </c:pt>
                <c:pt idx="102">
                  <c:v>#N/A</c:v>
                </c:pt>
                <c:pt idx="103">
                  <c:v>#N/A</c:v>
                </c:pt>
                <c:pt idx="104">
                  <c:v>163.12</c:v>
                </c:pt>
                <c:pt idx="105">
                  <c:v>#N/A</c:v>
                </c:pt>
                <c:pt idx="106">
                  <c:v>#N/A</c:v>
                </c:pt>
                <c:pt idx="107">
                  <c:v>#N/A</c:v>
                </c:pt>
                <c:pt idx="108">
                  <c:v>#N/A</c:v>
                </c:pt>
                <c:pt idx="109">
                  <c:v>#N/A</c:v>
                </c:pt>
                <c:pt idx="110">
                  <c:v>#N/A</c:v>
                </c:pt>
                <c:pt idx="111">
                  <c:v>333.28</c:v>
                </c:pt>
                <c:pt idx="112">
                  <c:v>#N/A</c:v>
                </c:pt>
                <c:pt idx="113">
                  <c:v>#N/A</c:v>
                </c:pt>
                <c:pt idx="114">
                  <c:v>#N/A</c:v>
                </c:pt>
                <c:pt idx="115">
                  <c:v>#N/A</c:v>
                </c:pt>
                <c:pt idx="116">
                  <c:v>#N/A</c:v>
                </c:pt>
                <c:pt idx="117">
                  <c:v>#N/A</c:v>
                </c:pt>
                <c:pt idx="118">
                  <c:v>335.11</c:v>
                </c:pt>
                <c:pt idx="119">
                  <c:v>#N/A</c:v>
                </c:pt>
                <c:pt idx="120">
                  <c:v>#N/A</c:v>
                </c:pt>
                <c:pt idx="121">
                  <c:v>#N/A</c:v>
                </c:pt>
                <c:pt idx="122">
                  <c:v>#N/A</c:v>
                </c:pt>
                <c:pt idx="123">
                  <c:v>#N/A</c:v>
                </c:pt>
                <c:pt idx="124">
                  <c:v>#N/A</c:v>
                </c:pt>
                <c:pt idx="125">
                  <c:v>335.11</c:v>
                </c:pt>
                <c:pt idx="126">
                  <c:v>#N/A</c:v>
                </c:pt>
                <c:pt idx="127">
                  <c:v>#N/A</c:v>
                </c:pt>
                <c:pt idx="128">
                  <c:v>#N/A</c:v>
                </c:pt>
                <c:pt idx="129">
                  <c:v>#N/A</c:v>
                </c:pt>
                <c:pt idx="130">
                  <c:v>#N/A</c:v>
                </c:pt>
                <c:pt idx="131">
                  <c:v>#N/A</c:v>
                </c:pt>
                <c:pt idx="132">
                  <c:v>148.61000000000001</c:v>
                </c:pt>
                <c:pt idx="133">
                  <c:v>#N/A</c:v>
                </c:pt>
                <c:pt idx="134">
                  <c:v>#N/A</c:v>
                </c:pt>
                <c:pt idx="135">
                  <c:v>#N/A</c:v>
                </c:pt>
                <c:pt idx="136">
                  <c:v>#N/A</c:v>
                </c:pt>
                <c:pt idx="137">
                  <c:v>#N/A</c:v>
                </c:pt>
                <c:pt idx="138">
                  <c:v>#N/A</c:v>
                </c:pt>
                <c:pt idx="139">
                  <c:v>280.36</c:v>
                </c:pt>
                <c:pt idx="140">
                  <c:v>#N/A</c:v>
                </c:pt>
                <c:pt idx="141">
                  <c:v>#N/A</c:v>
                </c:pt>
                <c:pt idx="142">
                  <c:v>#N/A</c:v>
                </c:pt>
                <c:pt idx="143">
                  <c:v>#N/A</c:v>
                </c:pt>
                <c:pt idx="144">
                  <c:v>#N/A</c:v>
                </c:pt>
                <c:pt idx="145">
                  <c:v>#N/A</c:v>
                </c:pt>
                <c:pt idx="146">
                  <c:v>-91.51</c:v>
                </c:pt>
                <c:pt idx="147">
                  <c:v>#N/A</c:v>
                </c:pt>
                <c:pt idx="148">
                  <c:v>#N/A</c:v>
                </c:pt>
                <c:pt idx="149">
                  <c:v>#N/A</c:v>
                </c:pt>
                <c:pt idx="150">
                  <c:v>#N/A</c:v>
                </c:pt>
                <c:pt idx="151">
                  <c:v>#N/A</c:v>
                </c:pt>
                <c:pt idx="152">
                  <c:v>#N/A</c:v>
                </c:pt>
                <c:pt idx="153">
                  <c:v>-134.83000000000001</c:v>
                </c:pt>
                <c:pt idx="154">
                  <c:v>#N/A</c:v>
                </c:pt>
                <c:pt idx="155">
                  <c:v>#N/A</c:v>
                </c:pt>
                <c:pt idx="156">
                  <c:v>#N/A</c:v>
                </c:pt>
                <c:pt idx="157">
                  <c:v>#N/A</c:v>
                </c:pt>
                <c:pt idx="158">
                  <c:v>#N/A</c:v>
                </c:pt>
                <c:pt idx="159">
                  <c:v>#N/A</c:v>
                </c:pt>
                <c:pt idx="160">
                  <c:v>83.17</c:v>
                </c:pt>
                <c:pt idx="161">
                  <c:v>#N/A</c:v>
                </c:pt>
                <c:pt idx="162">
                  <c:v>#N/A</c:v>
                </c:pt>
                <c:pt idx="163">
                  <c:v>#N/A</c:v>
                </c:pt>
                <c:pt idx="164">
                  <c:v>#N/A</c:v>
                </c:pt>
                <c:pt idx="165">
                  <c:v>#N/A</c:v>
                </c:pt>
                <c:pt idx="166">
                  <c:v>#N/A</c:v>
                </c:pt>
                <c:pt idx="167">
                  <c:v>-92.93</c:v>
                </c:pt>
                <c:pt idx="168">
                  <c:v>#N/A</c:v>
                </c:pt>
                <c:pt idx="169">
                  <c:v>#N/A</c:v>
                </c:pt>
                <c:pt idx="170">
                  <c:v>#N/A</c:v>
                </c:pt>
                <c:pt idx="171">
                  <c:v>#N/A</c:v>
                </c:pt>
                <c:pt idx="172">
                  <c:v>#N/A</c:v>
                </c:pt>
                <c:pt idx="173">
                  <c:v>#N/A</c:v>
                </c:pt>
                <c:pt idx="174">
                  <c:v>-38.869999999999997</c:v>
                </c:pt>
                <c:pt idx="175">
                  <c:v>#N/A</c:v>
                </c:pt>
                <c:pt idx="176">
                  <c:v>#N/A</c:v>
                </c:pt>
                <c:pt idx="177">
                  <c:v>#N/A</c:v>
                </c:pt>
                <c:pt idx="178">
                  <c:v>#N/A</c:v>
                </c:pt>
                <c:pt idx="179">
                  <c:v>#N/A</c:v>
                </c:pt>
                <c:pt idx="180">
                  <c:v>#N/A</c:v>
                </c:pt>
                <c:pt idx="181">
                  <c:v>-3.46</c:v>
                </c:pt>
                <c:pt idx="182">
                  <c:v>#N/A</c:v>
                </c:pt>
                <c:pt idx="183">
                  <c:v>#N/A</c:v>
                </c:pt>
                <c:pt idx="184">
                  <c:v>#N/A</c:v>
                </c:pt>
                <c:pt idx="185">
                  <c:v>#N/A</c:v>
                </c:pt>
                <c:pt idx="186">
                  <c:v>#N/A</c:v>
                </c:pt>
                <c:pt idx="187">
                  <c:v>#N/A</c:v>
                </c:pt>
                <c:pt idx="188">
                  <c:v>137.54</c:v>
                </c:pt>
                <c:pt idx="189">
                  <c:v>#N/A</c:v>
                </c:pt>
                <c:pt idx="190">
                  <c:v>#N/A</c:v>
                </c:pt>
                <c:pt idx="191">
                  <c:v>#N/A</c:v>
                </c:pt>
                <c:pt idx="192">
                  <c:v>#N/A</c:v>
                </c:pt>
                <c:pt idx="193">
                  <c:v>#N/A</c:v>
                </c:pt>
                <c:pt idx="194">
                  <c:v>#N/A</c:v>
                </c:pt>
                <c:pt idx="195">
                  <c:v>176.3</c:v>
                </c:pt>
                <c:pt idx="196">
                  <c:v>#N/A</c:v>
                </c:pt>
                <c:pt idx="197">
                  <c:v>#N/A</c:v>
                </c:pt>
                <c:pt idx="198">
                  <c:v>#N/A</c:v>
                </c:pt>
                <c:pt idx="199">
                  <c:v>#N/A</c:v>
                </c:pt>
                <c:pt idx="200">
                  <c:v>#N/A</c:v>
                </c:pt>
                <c:pt idx="201">
                  <c:v>#N/A</c:v>
                </c:pt>
                <c:pt idx="202">
                  <c:v>233.36</c:v>
                </c:pt>
                <c:pt idx="203">
                  <c:v>#N/A</c:v>
                </c:pt>
                <c:pt idx="204">
                  <c:v>#N/A</c:v>
                </c:pt>
                <c:pt idx="205">
                  <c:v>#N/A</c:v>
                </c:pt>
                <c:pt idx="206">
                  <c:v>#N/A</c:v>
                </c:pt>
                <c:pt idx="207">
                  <c:v>#N/A</c:v>
                </c:pt>
                <c:pt idx="208">
                  <c:v>#N/A</c:v>
                </c:pt>
                <c:pt idx="209">
                  <c:v>376.82</c:v>
                </c:pt>
                <c:pt idx="210">
                  <c:v>#N/A</c:v>
                </c:pt>
                <c:pt idx="211">
                  <c:v>#N/A</c:v>
                </c:pt>
                <c:pt idx="212">
                  <c:v>#N/A</c:v>
                </c:pt>
                <c:pt idx="213">
                  <c:v>#N/A</c:v>
                </c:pt>
                <c:pt idx="214">
                  <c:v>#N/A</c:v>
                </c:pt>
                <c:pt idx="215">
                  <c:v>#N/A</c:v>
                </c:pt>
                <c:pt idx="216">
                  <c:v>310.23</c:v>
                </c:pt>
                <c:pt idx="217">
                  <c:v>#N/A</c:v>
                </c:pt>
                <c:pt idx="218">
                  <c:v>#N/A</c:v>
                </c:pt>
                <c:pt idx="219">
                  <c:v>#N/A</c:v>
                </c:pt>
                <c:pt idx="220">
                  <c:v>#N/A</c:v>
                </c:pt>
                <c:pt idx="221">
                  <c:v>#N/A</c:v>
                </c:pt>
                <c:pt idx="222">
                  <c:v>#N/A</c:v>
                </c:pt>
                <c:pt idx="223">
                  <c:v>350.53845999999999</c:v>
                </c:pt>
                <c:pt idx="224">
                  <c:v>#N/A</c:v>
                </c:pt>
                <c:pt idx="225">
                  <c:v>#N/A</c:v>
                </c:pt>
                <c:pt idx="226">
                  <c:v>#N/A</c:v>
                </c:pt>
                <c:pt idx="227">
                  <c:v>#N/A</c:v>
                </c:pt>
                <c:pt idx="228">
                  <c:v>#N/A</c:v>
                </c:pt>
                <c:pt idx="229">
                  <c:v>#N/A</c:v>
                </c:pt>
                <c:pt idx="230">
                  <c:v>377.59690000000001</c:v>
                </c:pt>
                <c:pt idx="231">
                  <c:v>#N/A</c:v>
                </c:pt>
                <c:pt idx="232">
                  <c:v>#N/A</c:v>
                </c:pt>
                <c:pt idx="233">
                  <c:v>#N/A</c:v>
                </c:pt>
                <c:pt idx="234">
                  <c:v>#N/A</c:v>
                </c:pt>
                <c:pt idx="235">
                  <c:v>#N/A</c:v>
                </c:pt>
                <c:pt idx="236">
                  <c:v>#N/A</c:v>
                </c:pt>
                <c:pt idx="237">
                  <c:v>506.25</c:v>
                </c:pt>
                <c:pt idx="238">
                  <c:v>#N/A</c:v>
                </c:pt>
                <c:pt idx="239">
                  <c:v>#N/A</c:v>
                </c:pt>
                <c:pt idx="240">
                  <c:v>#N/A</c:v>
                </c:pt>
                <c:pt idx="241">
                  <c:v>#N/A</c:v>
                </c:pt>
                <c:pt idx="242">
                  <c:v>#N/A</c:v>
                </c:pt>
                <c:pt idx="243">
                  <c:v>#N/A</c:v>
                </c:pt>
                <c:pt idx="244">
                  <c:v>673.88888999999995</c:v>
                </c:pt>
                <c:pt idx="245">
                  <c:v>#N/A</c:v>
                </c:pt>
                <c:pt idx="246">
                  <c:v>#N/A</c:v>
                </c:pt>
                <c:pt idx="247">
                  <c:v>#N/A</c:v>
                </c:pt>
                <c:pt idx="248">
                  <c:v>#N/A</c:v>
                </c:pt>
                <c:pt idx="249">
                  <c:v>#N/A</c:v>
                </c:pt>
                <c:pt idx="250">
                  <c:v>#N/A</c:v>
                </c:pt>
                <c:pt idx="251">
                  <c:v>857.87302</c:v>
                </c:pt>
                <c:pt idx="252">
                  <c:v>#N/A</c:v>
                </c:pt>
                <c:pt idx="253">
                  <c:v>#N/A</c:v>
                </c:pt>
                <c:pt idx="254">
                  <c:v>#N/A</c:v>
                </c:pt>
                <c:pt idx="255">
                  <c:v>#N/A</c:v>
                </c:pt>
                <c:pt idx="256">
                  <c:v>#N/A</c:v>
                </c:pt>
                <c:pt idx="257">
                  <c:v>#N/A</c:v>
                </c:pt>
                <c:pt idx="258">
                  <c:v>1328.9047599999999</c:v>
                </c:pt>
                <c:pt idx="259">
                  <c:v>#N/A</c:v>
                </c:pt>
                <c:pt idx="260">
                  <c:v>#N/A</c:v>
                </c:pt>
                <c:pt idx="261">
                  <c:v>#N/A</c:v>
                </c:pt>
                <c:pt idx="262">
                  <c:v>#N/A</c:v>
                </c:pt>
                <c:pt idx="263">
                  <c:v>#N/A</c:v>
                </c:pt>
                <c:pt idx="264">
                  <c:v>#N/A</c:v>
                </c:pt>
                <c:pt idx="265">
                  <c:v>1337.8571400000001</c:v>
                </c:pt>
                <c:pt idx="266">
                  <c:v>#N/A</c:v>
                </c:pt>
                <c:pt idx="267">
                  <c:v>#N/A</c:v>
                </c:pt>
                <c:pt idx="268">
                  <c:v>#N/A</c:v>
                </c:pt>
                <c:pt idx="269">
                  <c:v>#N/A</c:v>
                </c:pt>
                <c:pt idx="270">
                  <c:v>#N/A</c:v>
                </c:pt>
                <c:pt idx="271">
                  <c:v>#N/A</c:v>
                </c:pt>
                <c:pt idx="272">
                  <c:v>1358.4251999999999</c:v>
                </c:pt>
                <c:pt idx="273">
                  <c:v>#N/A</c:v>
                </c:pt>
                <c:pt idx="274">
                  <c:v>#N/A</c:v>
                </c:pt>
                <c:pt idx="275">
                  <c:v>#N/A</c:v>
                </c:pt>
                <c:pt idx="276">
                  <c:v>#N/A</c:v>
                </c:pt>
                <c:pt idx="277">
                  <c:v>#N/A</c:v>
                </c:pt>
                <c:pt idx="278">
                  <c:v>#N/A</c:v>
                </c:pt>
                <c:pt idx="279">
                  <c:v>1342.34375</c:v>
                </c:pt>
                <c:pt idx="280">
                  <c:v>#N/A</c:v>
                </c:pt>
                <c:pt idx="281">
                  <c:v>#N/A</c:v>
                </c:pt>
                <c:pt idx="282">
                  <c:v>#N/A</c:v>
                </c:pt>
                <c:pt idx="283">
                  <c:v>#N/A</c:v>
                </c:pt>
                <c:pt idx="284">
                  <c:v>#N/A</c:v>
                </c:pt>
                <c:pt idx="285">
                  <c:v>#N/A</c:v>
                </c:pt>
                <c:pt idx="286">
                  <c:v>1312.06107</c:v>
                </c:pt>
                <c:pt idx="287">
                  <c:v>#N/A</c:v>
                </c:pt>
                <c:pt idx="288">
                  <c:v>#N/A</c:v>
                </c:pt>
                <c:pt idx="289">
                  <c:v>#N/A</c:v>
                </c:pt>
                <c:pt idx="290">
                  <c:v>#N/A</c:v>
                </c:pt>
                <c:pt idx="291">
                  <c:v>#N/A</c:v>
                </c:pt>
                <c:pt idx="292">
                  <c:v>#N/A</c:v>
                </c:pt>
                <c:pt idx="293">
                  <c:v>1300.2272700000001</c:v>
                </c:pt>
                <c:pt idx="294">
                  <c:v>#N/A</c:v>
                </c:pt>
                <c:pt idx="295">
                  <c:v>#N/A</c:v>
                </c:pt>
                <c:pt idx="296">
                  <c:v>#N/A</c:v>
                </c:pt>
                <c:pt idx="297">
                  <c:v>#N/A</c:v>
                </c:pt>
                <c:pt idx="298">
                  <c:v>#N/A</c:v>
                </c:pt>
                <c:pt idx="299">
                  <c:v>#N/A</c:v>
                </c:pt>
                <c:pt idx="300">
                  <c:v>1268.9624100000001</c:v>
                </c:pt>
                <c:pt idx="301">
                  <c:v>#N/A</c:v>
                </c:pt>
                <c:pt idx="302">
                  <c:v>#N/A</c:v>
                </c:pt>
                <c:pt idx="303">
                  <c:v>#N/A</c:v>
                </c:pt>
                <c:pt idx="304">
                  <c:v>#N/A</c:v>
                </c:pt>
                <c:pt idx="305">
                  <c:v>#N/A</c:v>
                </c:pt>
                <c:pt idx="306">
                  <c:v>#N/A</c:v>
                </c:pt>
                <c:pt idx="307">
                  <c:v>970.09023000000002</c:v>
                </c:pt>
                <c:pt idx="308">
                  <c:v>#N/A</c:v>
                </c:pt>
                <c:pt idx="309">
                  <c:v>#N/A</c:v>
                </c:pt>
                <c:pt idx="310">
                  <c:v>#N/A</c:v>
                </c:pt>
                <c:pt idx="311">
                  <c:v>#N/A</c:v>
                </c:pt>
                <c:pt idx="312">
                  <c:v>#N/A</c:v>
                </c:pt>
                <c:pt idx="313">
                  <c:v>#N/A</c:v>
                </c:pt>
                <c:pt idx="314">
                  <c:v>701.59397999999999</c:v>
                </c:pt>
                <c:pt idx="315">
                  <c:v>#N/A</c:v>
                </c:pt>
                <c:pt idx="316">
                  <c:v>#N/A</c:v>
                </c:pt>
                <c:pt idx="317">
                  <c:v>#N/A</c:v>
                </c:pt>
                <c:pt idx="318">
                  <c:v>#N/A</c:v>
                </c:pt>
                <c:pt idx="319">
                  <c:v>#N/A</c:v>
                </c:pt>
                <c:pt idx="320">
                  <c:v>#N/A</c:v>
                </c:pt>
                <c:pt idx="321">
                  <c:v>461.71852000000001</c:v>
                </c:pt>
                <c:pt idx="322">
                  <c:v>#N/A</c:v>
                </c:pt>
                <c:pt idx="323">
                  <c:v>#N/A</c:v>
                </c:pt>
                <c:pt idx="324">
                  <c:v>#N/A</c:v>
                </c:pt>
                <c:pt idx="325">
                  <c:v>#N/A</c:v>
                </c:pt>
                <c:pt idx="326">
                  <c:v>#N/A</c:v>
                </c:pt>
                <c:pt idx="327">
                  <c:v>#N/A</c:v>
                </c:pt>
                <c:pt idx="328">
                  <c:v>459.49630000000002</c:v>
                </c:pt>
                <c:pt idx="329">
                  <c:v>#N/A</c:v>
                </c:pt>
                <c:pt idx="330">
                  <c:v>#N/A</c:v>
                </c:pt>
                <c:pt idx="331">
                  <c:v>#N/A</c:v>
                </c:pt>
                <c:pt idx="332">
                  <c:v>#N/A</c:v>
                </c:pt>
                <c:pt idx="333">
                  <c:v>#N/A</c:v>
                </c:pt>
                <c:pt idx="334">
                  <c:v>#N/A</c:v>
                </c:pt>
                <c:pt idx="335">
                  <c:v>464.57353000000001</c:v>
                </c:pt>
                <c:pt idx="336">
                  <c:v>#N/A</c:v>
                </c:pt>
                <c:pt idx="337">
                  <c:v>#N/A</c:v>
                </c:pt>
                <c:pt idx="338">
                  <c:v>#N/A</c:v>
                </c:pt>
                <c:pt idx="339">
                  <c:v>#N/A</c:v>
                </c:pt>
                <c:pt idx="340">
                  <c:v>#N/A</c:v>
                </c:pt>
                <c:pt idx="341">
                  <c:v>#N/A</c:v>
                </c:pt>
                <c:pt idx="342">
                  <c:v>134.07751999999999</c:v>
                </c:pt>
                <c:pt idx="343">
                  <c:v>#N/A</c:v>
                </c:pt>
                <c:pt idx="344">
                  <c:v>#N/A</c:v>
                </c:pt>
                <c:pt idx="345">
                  <c:v>#N/A</c:v>
                </c:pt>
                <c:pt idx="346">
                  <c:v>#N/A</c:v>
                </c:pt>
                <c:pt idx="347">
                  <c:v>#N/A</c:v>
                </c:pt>
                <c:pt idx="348">
                  <c:v>#N/A</c:v>
                </c:pt>
                <c:pt idx="349">
                  <c:v>225.92701</c:v>
                </c:pt>
                <c:pt idx="350">
                  <c:v>#N/A</c:v>
                </c:pt>
                <c:pt idx="351">
                  <c:v>#N/A</c:v>
                </c:pt>
                <c:pt idx="352">
                  <c:v>#N/A</c:v>
                </c:pt>
                <c:pt idx="353">
                  <c:v>#N/A</c:v>
                </c:pt>
                <c:pt idx="354">
                  <c:v>#N/A</c:v>
                </c:pt>
                <c:pt idx="355">
                  <c:v>#N/A</c:v>
                </c:pt>
                <c:pt idx="356">
                  <c:v>277.59124000000003</c:v>
                </c:pt>
                <c:pt idx="357">
                  <c:v>#N/A</c:v>
                </c:pt>
                <c:pt idx="358">
                  <c:v>#N/A</c:v>
                </c:pt>
                <c:pt idx="359">
                  <c:v>#N/A</c:v>
                </c:pt>
                <c:pt idx="360">
                  <c:v>#N/A</c:v>
                </c:pt>
                <c:pt idx="361">
                  <c:v>#N/A</c:v>
                </c:pt>
                <c:pt idx="362">
                  <c:v>#N/A</c:v>
                </c:pt>
                <c:pt idx="363">
                  <c:v>427.3913</c:v>
                </c:pt>
                <c:pt idx="364">
                  <c:v>#N/A</c:v>
                </c:pt>
                <c:pt idx="365">
                  <c:v>#N/A</c:v>
                </c:pt>
              </c:numCache>
            </c:numRef>
          </c:val>
          <c:smooth val="0"/>
          <c:extLst>
            <c:ext xmlns:c16="http://schemas.microsoft.com/office/drawing/2014/chart" uri="{C3380CC4-5D6E-409C-BE32-E72D297353CC}">
              <c16:uniqueId val="{00000003-F363-422C-B0C0-B548B946FEE0}"/>
            </c:ext>
          </c:extLst>
        </c:ser>
        <c:ser>
          <c:idx val="4"/>
          <c:order val="4"/>
          <c:tx>
            <c:strRef>
              <c:f>金属硅周度图表!$BJ$2</c:f>
              <c:strCache>
                <c:ptCount val="1"/>
                <c:pt idx="0">
                  <c:v>2024</c:v>
                </c:pt>
              </c:strCache>
            </c:strRef>
          </c:tx>
          <c:spPr>
            <a:ln w="28575" cap="rnd">
              <a:solidFill>
                <a:schemeClr val="tx1"/>
              </a:solidFill>
              <a:round/>
            </a:ln>
            <a:effectLst/>
          </c:spPr>
          <c:marker>
            <c:symbol val="none"/>
          </c:marker>
          <c:cat>
            <c:strRef>
              <c:f>金属硅周度图表!$BE$3:$BE$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BJ$3:$BJ$368</c:f>
              <c:numCache>
                <c:formatCode>General</c:formatCode>
                <c:ptCount val="366"/>
                <c:pt idx="0">
                  <c:v>435.72464000000002</c:v>
                </c:pt>
                <c:pt idx="1">
                  <c:v>435.72464000000002</c:v>
                </c:pt>
                <c:pt idx="2">
                  <c:v>435.72464000000002</c:v>
                </c:pt>
                <c:pt idx="3">
                  <c:v>435.72464000000002</c:v>
                </c:pt>
                <c:pt idx="4">
                  <c:v>435.72464000000002</c:v>
                </c:pt>
                <c:pt idx="5">
                  <c:v>424.85507000000001</c:v>
                </c:pt>
                <c:pt idx="6">
                  <c:v>424.85507000000001</c:v>
                </c:pt>
                <c:pt idx="7">
                  <c:v>424.85507000000001</c:v>
                </c:pt>
                <c:pt idx="8">
                  <c:v>424.85507000000001</c:v>
                </c:pt>
                <c:pt idx="9">
                  <c:v>424.85507000000001</c:v>
                </c:pt>
                <c:pt idx="10">
                  <c:v>424.85507000000001</c:v>
                </c:pt>
                <c:pt idx="11">
                  <c:v>424.85507000000001</c:v>
                </c:pt>
                <c:pt idx="12">
                  <c:v>264.60431999999997</c:v>
                </c:pt>
                <c:pt idx="13">
                  <c:v>264.60431999999997</c:v>
                </c:pt>
                <c:pt idx="14">
                  <c:v>264.60431999999997</c:v>
                </c:pt>
                <c:pt idx="15">
                  <c:v>264.60431999999997</c:v>
                </c:pt>
                <c:pt idx="16">
                  <c:v>264.60431999999997</c:v>
                </c:pt>
                <c:pt idx="17">
                  <c:v>264.60431999999997</c:v>
                </c:pt>
                <c:pt idx="18">
                  <c:v>264.60431999999997</c:v>
                </c:pt>
                <c:pt idx="19">
                  <c:v>240.57142999999999</c:v>
                </c:pt>
                <c:pt idx="20">
                  <c:v>240.57142999999999</c:v>
                </c:pt>
                <c:pt idx="21">
                  <c:v>240.57142999999999</c:v>
                </c:pt>
                <c:pt idx="22">
                  <c:v>240.57142999999999</c:v>
                </c:pt>
                <c:pt idx="23">
                  <c:v>240.57142999999999</c:v>
                </c:pt>
                <c:pt idx="24">
                  <c:v>240.57142999999999</c:v>
                </c:pt>
                <c:pt idx="25">
                  <c:v>240.57142999999999</c:v>
                </c:pt>
                <c:pt idx="26">
                  <c:v>189</c:v>
                </c:pt>
                <c:pt idx="27">
                  <c:v>189</c:v>
                </c:pt>
                <c:pt idx="28">
                  <c:v>189</c:v>
                </c:pt>
                <c:pt idx="29">
                  <c:v>189</c:v>
                </c:pt>
                <c:pt idx="30">
                  <c:v>189</c:v>
                </c:pt>
                <c:pt idx="31">
                  <c:v>189</c:v>
                </c:pt>
                <c:pt idx="32">
                  <c:v>189</c:v>
                </c:pt>
                <c:pt idx="33">
                  <c:v>174.35713999999999</c:v>
                </c:pt>
                <c:pt idx="34">
                  <c:v>174.35713999999999</c:v>
                </c:pt>
                <c:pt idx="35">
                  <c:v>174.35713999999999</c:v>
                </c:pt>
                <c:pt idx="36">
                  <c:v>174.35713999999999</c:v>
                </c:pt>
                <c:pt idx="37">
                  <c:v>174.35713999999999</c:v>
                </c:pt>
                <c:pt idx="38">
                  <c:v>174.35713999999999</c:v>
                </c:pt>
                <c:pt idx="39">
                  <c:v>174.35713999999999</c:v>
                </c:pt>
                <c:pt idx="40">
                  <c:v>160.07142999999999</c:v>
                </c:pt>
                <c:pt idx="41">
                  <c:v>160.07142999999999</c:v>
                </c:pt>
                <c:pt idx="42">
                  <c:v>160.07142999999999</c:v>
                </c:pt>
                <c:pt idx="43">
                  <c:v>160.07142999999999</c:v>
                </c:pt>
                <c:pt idx="44">
                  <c:v>160.07142999999999</c:v>
                </c:pt>
                <c:pt idx="45">
                  <c:v>160.07142999999999</c:v>
                </c:pt>
                <c:pt idx="46">
                  <c:v>160.07142999999999</c:v>
                </c:pt>
                <c:pt idx="47">
                  <c:v>76.928569999999993</c:v>
                </c:pt>
                <c:pt idx="48">
                  <c:v>76.928569999999993</c:v>
                </c:pt>
                <c:pt idx="49">
                  <c:v>76.928569999999993</c:v>
                </c:pt>
                <c:pt idx="50">
                  <c:v>76.928569999999993</c:v>
                </c:pt>
                <c:pt idx="51">
                  <c:v>76.928569999999993</c:v>
                </c:pt>
                <c:pt idx="52">
                  <c:v>76.928569999999993</c:v>
                </c:pt>
                <c:pt idx="53">
                  <c:v>76.928569999999993</c:v>
                </c:pt>
                <c:pt idx="54">
                  <c:v>1.8248200000000001</c:v>
                </c:pt>
                <c:pt idx="55">
                  <c:v>1.8248200000000001</c:v>
                </c:pt>
                <c:pt idx="56">
                  <c:v>1.8248200000000001</c:v>
                </c:pt>
                <c:pt idx="57">
                  <c:v>1.8248200000000001</c:v>
                </c:pt>
                <c:pt idx="58">
                  <c:v>1.8248200000000001</c:v>
                </c:pt>
                <c:pt idx="59">
                  <c:v>1.8248200000000001</c:v>
                </c:pt>
                <c:pt idx="60">
                  <c:v>1.8248200000000001</c:v>
                </c:pt>
                <c:pt idx="61">
                  <c:v>-43.02158</c:v>
                </c:pt>
                <c:pt idx="62">
                  <c:v>-43.02158</c:v>
                </c:pt>
                <c:pt idx="63">
                  <c:v>-43.02158</c:v>
                </c:pt>
                <c:pt idx="64">
                  <c:v>-43.02158</c:v>
                </c:pt>
                <c:pt idx="65">
                  <c:v>-43.02158</c:v>
                </c:pt>
                <c:pt idx="66">
                  <c:v>-43.02158</c:v>
                </c:pt>
                <c:pt idx="67">
                  <c:v>-43.02158</c:v>
                </c:pt>
                <c:pt idx="68">
                  <c:v>-15.251799999999999</c:v>
                </c:pt>
                <c:pt idx="69">
                  <c:v>-15.251799999999999</c:v>
                </c:pt>
                <c:pt idx="70">
                  <c:v>-15.251799999999999</c:v>
                </c:pt>
                <c:pt idx="71">
                  <c:v>-15.251799999999999</c:v>
                </c:pt>
                <c:pt idx="72">
                  <c:v>-15.251799999999999</c:v>
                </c:pt>
                <c:pt idx="73">
                  <c:v>-15.251799999999999</c:v>
                </c:pt>
                <c:pt idx="74">
                  <c:v>-15.251799999999999</c:v>
                </c:pt>
                <c:pt idx="75">
                  <c:v>-25.323740000000001</c:v>
                </c:pt>
                <c:pt idx="76">
                  <c:v>-25.323740000000001</c:v>
                </c:pt>
                <c:pt idx="77">
                  <c:v>-25.323740000000001</c:v>
                </c:pt>
                <c:pt idx="78">
                  <c:v>-25.323740000000001</c:v>
                </c:pt>
                <c:pt idx="79">
                  <c:v>-25.323740000000001</c:v>
                </c:pt>
                <c:pt idx="80">
                  <c:v>-25.323740000000001</c:v>
                </c:pt>
                <c:pt idx="81">
                  <c:v>-25.323740000000001</c:v>
                </c:pt>
                <c:pt idx="82">
                  <c:v>-119.56835</c:v>
                </c:pt>
                <c:pt idx="83">
                  <c:v>-119.56835</c:v>
                </c:pt>
                <c:pt idx="84">
                  <c:v>-119.56835</c:v>
                </c:pt>
                <c:pt idx="85">
                  <c:v>-119.56835</c:v>
                </c:pt>
                <c:pt idx="86">
                  <c:v>-119.56835</c:v>
                </c:pt>
                <c:pt idx="87">
                  <c:v>-119.56835</c:v>
                </c:pt>
                <c:pt idx="88">
                  <c:v>-119.56835</c:v>
                </c:pt>
                <c:pt idx="89">
                  <c:v>-264.31655000000001</c:v>
                </c:pt>
                <c:pt idx="90">
                  <c:v>-264.31655000000001</c:v>
                </c:pt>
                <c:pt idx="91">
                  <c:v>-264.31655000000001</c:v>
                </c:pt>
                <c:pt idx="92">
                  <c:v>-264.31655000000001</c:v>
                </c:pt>
                <c:pt idx="93">
                  <c:v>-264.31655000000001</c:v>
                </c:pt>
                <c:pt idx="94">
                  <c:v>-264.31655000000001</c:v>
                </c:pt>
                <c:pt idx="95">
                  <c:v>-264.31655000000001</c:v>
                </c:pt>
                <c:pt idx="96">
                  <c:v>-269.71222999999998</c:v>
                </c:pt>
                <c:pt idx="97">
                  <c:v>-269.71222999999998</c:v>
                </c:pt>
                <c:pt idx="98">
                  <c:v>-269.71222999999998</c:v>
                </c:pt>
                <c:pt idx="99">
                  <c:v>-269.71222999999998</c:v>
                </c:pt>
                <c:pt idx="100">
                  <c:v>-269.71222999999998</c:v>
                </c:pt>
                <c:pt idx="101">
                  <c:v>-269.71222999999998</c:v>
                </c:pt>
                <c:pt idx="102">
                  <c:v>-269.71222999999998</c:v>
                </c:pt>
                <c:pt idx="103">
                  <c:v>-245.18248</c:v>
                </c:pt>
                <c:pt idx="104">
                  <c:v>-245.18248</c:v>
                </c:pt>
                <c:pt idx="105">
                  <c:v>-245.18248</c:v>
                </c:pt>
                <c:pt idx="106">
                  <c:v>-245.18248</c:v>
                </c:pt>
                <c:pt idx="107">
                  <c:v>-245.18248</c:v>
                </c:pt>
                <c:pt idx="108">
                  <c:v>-245.18248</c:v>
                </c:pt>
                <c:pt idx="109">
                  <c:v>-245.18248</c:v>
                </c:pt>
                <c:pt idx="110">
                  <c:v>-255.37037000000001</c:v>
                </c:pt>
                <c:pt idx="111">
                  <c:v>-255.37037000000001</c:v>
                </c:pt>
                <c:pt idx="112">
                  <c:v>-255.37037000000001</c:v>
                </c:pt>
                <c:pt idx="113">
                  <c:v>-255.37037000000001</c:v>
                </c:pt>
                <c:pt idx="114">
                  <c:v>-255.37037000000001</c:v>
                </c:pt>
                <c:pt idx="115">
                  <c:v>-255.37037000000001</c:v>
                </c:pt>
                <c:pt idx="116">
                  <c:v>-255.37037000000001</c:v>
                </c:pt>
                <c:pt idx="117">
                  <c:v>-290.28302000000002</c:v>
                </c:pt>
                <c:pt idx="118">
                  <c:v>-290.28302000000002</c:v>
                </c:pt>
                <c:pt idx="119">
                  <c:v>-290.28302000000002</c:v>
                </c:pt>
                <c:pt idx="120">
                  <c:v>-290.28302000000002</c:v>
                </c:pt>
                <c:pt idx="121">
                  <c:v>-290.28302000000002</c:v>
                </c:pt>
                <c:pt idx="122">
                  <c:v>-290.28302000000002</c:v>
                </c:pt>
                <c:pt idx="123">
                  <c:v>-290.28302000000002</c:v>
                </c:pt>
                <c:pt idx="124">
                  <c:v>-222.3</c:v>
                </c:pt>
                <c:pt idx="125">
                  <c:v>-222.3</c:v>
                </c:pt>
                <c:pt idx="126">
                  <c:v>-222.3</c:v>
                </c:pt>
                <c:pt idx="127">
                  <c:v>-222.3</c:v>
                </c:pt>
                <c:pt idx="128">
                  <c:v>-222.3</c:v>
                </c:pt>
                <c:pt idx="129">
                  <c:v>-222.3</c:v>
                </c:pt>
                <c:pt idx="130">
                  <c:v>-222.3</c:v>
                </c:pt>
                <c:pt idx="131">
                  <c:v>-79.902910000000006</c:v>
                </c:pt>
                <c:pt idx="132">
                  <c:v>-79.902910000000006</c:v>
                </c:pt>
                <c:pt idx="133">
                  <c:v>-79.902910000000006</c:v>
                </c:pt>
                <c:pt idx="134">
                  <c:v>-79.902910000000006</c:v>
                </c:pt>
                <c:pt idx="135">
                  <c:v>-79.902910000000006</c:v>
                </c:pt>
                <c:pt idx="136">
                  <c:v>-79.902910000000006</c:v>
                </c:pt>
                <c:pt idx="137">
                  <c:v>-79.902910000000006</c:v>
                </c:pt>
                <c:pt idx="138">
                  <c:v>-42.336449999999999</c:v>
                </c:pt>
                <c:pt idx="139">
                  <c:v>-42.336449999999999</c:v>
                </c:pt>
                <c:pt idx="140">
                  <c:v>-42.336449999999999</c:v>
                </c:pt>
                <c:pt idx="141">
                  <c:v>-42.336449999999999</c:v>
                </c:pt>
                <c:pt idx="142">
                  <c:v>-42.336449999999999</c:v>
                </c:pt>
                <c:pt idx="143">
                  <c:v>-42.336449999999999</c:v>
                </c:pt>
                <c:pt idx="144">
                  <c:v>-42.336449999999999</c:v>
                </c:pt>
                <c:pt idx="145">
                  <c:v>40.188679999999998</c:v>
                </c:pt>
                <c:pt idx="146">
                  <c:v>40.188679999999998</c:v>
                </c:pt>
                <c:pt idx="147">
                  <c:v>40.188679999999998</c:v>
                </c:pt>
                <c:pt idx="148">
                  <c:v>40.188679999999998</c:v>
                </c:pt>
                <c:pt idx="149">
                  <c:v>40.188679999999998</c:v>
                </c:pt>
                <c:pt idx="150">
                  <c:v>40.188679999999998</c:v>
                </c:pt>
                <c:pt idx="151">
                  <c:v>40.188679999999998</c:v>
                </c:pt>
                <c:pt idx="152">
                  <c:v>131.22807</c:v>
                </c:pt>
                <c:pt idx="153">
                  <c:v>131.22807</c:v>
                </c:pt>
                <c:pt idx="154">
                  <c:v>131.22807</c:v>
                </c:pt>
                <c:pt idx="155">
                  <c:v>131.22807</c:v>
                </c:pt>
                <c:pt idx="156">
                  <c:v>131.22807</c:v>
                </c:pt>
                <c:pt idx="157">
                  <c:v>131.22807</c:v>
                </c:pt>
                <c:pt idx="158">
                  <c:v>131.22807</c:v>
                </c:pt>
                <c:pt idx="159">
                  <c:v>146.20689999999999</c:v>
                </c:pt>
                <c:pt idx="160">
                  <c:v>146.20689999999999</c:v>
                </c:pt>
                <c:pt idx="161">
                  <c:v>146.20689999999999</c:v>
                </c:pt>
                <c:pt idx="162">
                  <c:v>146.20689999999999</c:v>
                </c:pt>
                <c:pt idx="163">
                  <c:v>146.20689999999999</c:v>
                </c:pt>
                <c:pt idx="164">
                  <c:v>146.20689999999999</c:v>
                </c:pt>
                <c:pt idx="165">
                  <c:v>146.20689999999999</c:v>
                </c:pt>
                <c:pt idx="166">
                  <c:v>109.28</c:v>
                </c:pt>
                <c:pt idx="167">
                  <c:v>109.28</c:v>
                </c:pt>
                <c:pt idx="168">
                  <c:v>109.28</c:v>
                </c:pt>
                <c:pt idx="169">
                  <c:v>109.28</c:v>
                </c:pt>
                <c:pt idx="170">
                  <c:v>109.28</c:v>
                </c:pt>
                <c:pt idx="171">
                  <c:v>109.28</c:v>
                </c:pt>
                <c:pt idx="172">
                  <c:v>109.28</c:v>
                </c:pt>
                <c:pt idx="173">
                  <c:v>123.07692</c:v>
                </c:pt>
                <c:pt idx="174">
                  <c:v>123.07692</c:v>
                </c:pt>
                <c:pt idx="175">
                  <c:v>123.07692</c:v>
                </c:pt>
                <c:pt idx="176">
                  <c:v>123.07692</c:v>
                </c:pt>
                <c:pt idx="177">
                  <c:v>123.07692</c:v>
                </c:pt>
                <c:pt idx="178">
                  <c:v>123.07692</c:v>
                </c:pt>
                <c:pt idx="179">
                  <c:v>123.07692</c:v>
                </c:pt>
                <c:pt idx="180">
                  <c:v>195.25926000000001</c:v>
                </c:pt>
                <c:pt idx="181">
                  <c:v>195.25926000000001</c:v>
                </c:pt>
                <c:pt idx="182">
                  <c:v>195.25926000000001</c:v>
                </c:pt>
                <c:pt idx="183">
                  <c:v>195.25926000000001</c:v>
                </c:pt>
                <c:pt idx="184">
                  <c:v>195.25926000000001</c:v>
                </c:pt>
                <c:pt idx="185">
                  <c:v>195.25926000000001</c:v>
                </c:pt>
                <c:pt idx="186">
                  <c:v>195.25926000000001</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4-F363-422C-B0C0-B548B946FEE0}"/>
            </c:ext>
          </c:extLst>
        </c:ser>
        <c:dLbls>
          <c:showLegendKey val="0"/>
          <c:showVal val="0"/>
          <c:showCatName val="0"/>
          <c:showSerName val="0"/>
          <c:showPercent val="0"/>
          <c:showBubbleSize val="0"/>
        </c:dLbls>
        <c:smooth val="0"/>
        <c:axId val="2047084672"/>
        <c:axId val="1823652239"/>
      </c:lineChart>
      <c:catAx>
        <c:axId val="20470846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823652239"/>
        <c:crosses val="autoZero"/>
        <c:auto val="1"/>
        <c:lblAlgn val="ctr"/>
        <c:lblOffset val="100"/>
        <c:noMultiLvlLbl val="0"/>
      </c:catAx>
      <c:valAx>
        <c:axId val="1823652239"/>
        <c:scaling>
          <c:orientation val="minMax"/>
          <c:max val="8000"/>
          <c:min val="-1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20470846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zh-CN"/>
              <a:t>区域周度成本</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1"/>
          <c:order val="0"/>
          <c:tx>
            <c:strRef>
              <c:f>'区域成本利润（周度）'!$D$2</c:f>
              <c:strCache>
                <c:ptCount val="1"/>
                <c:pt idx="0">
                  <c:v>西南</c:v>
                </c:pt>
              </c:strCache>
            </c:strRef>
          </c:tx>
          <c:spPr>
            <a:ln w="28575" cap="rnd">
              <a:solidFill>
                <a:srgbClr val="C00000"/>
              </a:solidFill>
              <a:round/>
            </a:ln>
            <a:effectLst/>
          </c:spPr>
          <c:marker>
            <c:symbol val="none"/>
          </c:marker>
          <c:cat>
            <c:numRef>
              <c:f>'区域成本利润（周度）'!$B$3:$B$21</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区域成本利润（周度）'!$D$3:$D$21</c:f>
              <c:numCache>
                <c:formatCode>0.00</c:formatCode>
                <c:ptCount val="19"/>
                <c:pt idx="0">
                  <c:v>12470</c:v>
                </c:pt>
                <c:pt idx="1">
                  <c:v>12977.73</c:v>
                </c:pt>
                <c:pt idx="2">
                  <c:v>13061.14</c:v>
                </c:pt>
                <c:pt idx="3">
                  <c:v>13114.43</c:v>
                </c:pt>
                <c:pt idx="4">
                  <c:v>13163.45</c:v>
                </c:pt>
                <c:pt idx="5">
                  <c:v>13289.8</c:v>
                </c:pt>
                <c:pt idx="6">
                  <c:v>13451.6</c:v>
                </c:pt>
                <c:pt idx="7">
                  <c:v>13586.52</c:v>
                </c:pt>
                <c:pt idx="8">
                  <c:v>13654.18</c:v>
                </c:pt>
                <c:pt idx="9">
                  <c:v>14355.4</c:v>
                </c:pt>
                <c:pt idx="10">
                  <c:v>14507.88</c:v>
                </c:pt>
                <c:pt idx="11">
                  <c:v>15113.12</c:v>
                </c:pt>
                <c:pt idx="12">
                  <c:v>15153.29</c:v>
                </c:pt>
                <c:pt idx="13">
                  <c:v>15159.87</c:v>
                </c:pt>
                <c:pt idx="14">
                  <c:v>15178.86</c:v>
                </c:pt>
                <c:pt idx="15">
                  <c:v>15180.13</c:v>
                </c:pt>
                <c:pt idx="16">
                  <c:v>15209.87</c:v>
                </c:pt>
                <c:pt idx="17">
                  <c:v>15249.24</c:v>
                </c:pt>
                <c:pt idx="18">
                  <c:v>15240.13</c:v>
                </c:pt>
              </c:numCache>
            </c:numRef>
          </c:val>
          <c:smooth val="0"/>
          <c:extLst>
            <c:ext xmlns:c16="http://schemas.microsoft.com/office/drawing/2014/chart" uri="{C3380CC4-5D6E-409C-BE32-E72D297353CC}">
              <c16:uniqueId val="{00000000-5AE1-495F-9FCC-58DDAF5C7736}"/>
            </c:ext>
          </c:extLst>
        </c:ser>
        <c:ser>
          <c:idx val="2"/>
          <c:order val="1"/>
          <c:tx>
            <c:strRef>
              <c:f>'区域成本利润（周度）'!$E$2</c:f>
              <c:strCache>
                <c:ptCount val="1"/>
                <c:pt idx="0">
                  <c:v>西北</c:v>
                </c:pt>
              </c:strCache>
            </c:strRef>
          </c:tx>
          <c:spPr>
            <a:ln w="28575" cap="rnd">
              <a:solidFill>
                <a:schemeClr val="accent5">
                  <a:lumMod val="75000"/>
                </a:schemeClr>
              </a:solidFill>
              <a:round/>
            </a:ln>
            <a:effectLst/>
          </c:spPr>
          <c:marker>
            <c:symbol val="none"/>
          </c:marker>
          <c:cat>
            <c:numRef>
              <c:f>'区域成本利润（周度）'!$B$3:$B$21</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区域成本利润（周度）'!$E$3:$E$21</c:f>
              <c:numCache>
                <c:formatCode>0.00</c:formatCode>
                <c:ptCount val="19"/>
                <c:pt idx="0">
                  <c:v>12603.03</c:v>
                </c:pt>
                <c:pt idx="1">
                  <c:v>13203.33</c:v>
                </c:pt>
                <c:pt idx="2">
                  <c:v>13243.75</c:v>
                </c:pt>
                <c:pt idx="3">
                  <c:v>13290.63</c:v>
                </c:pt>
                <c:pt idx="4">
                  <c:v>13359.38</c:v>
                </c:pt>
                <c:pt idx="5">
                  <c:v>13387.1</c:v>
                </c:pt>
                <c:pt idx="6">
                  <c:v>13430</c:v>
                </c:pt>
                <c:pt idx="7">
                  <c:v>13482.5</c:v>
                </c:pt>
                <c:pt idx="8">
                  <c:v>13760.63</c:v>
                </c:pt>
                <c:pt idx="9">
                  <c:v>13953</c:v>
                </c:pt>
                <c:pt idx="10">
                  <c:v>13953</c:v>
                </c:pt>
                <c:pt idx="11">
                  <c:v>14275.81</c:v>
                </c:pt>
                <c:pt idx="12">
                  <c:v>14282.26</c:v>
                </c:pt>
                <c:pt idx="13">
                  <c:v>14282.26</c:v>
                </c:pt>
                <c:pt idx="14">
                  <c:v>14282.26</c:v>
                </c:pt>
                <c:pt idx="15">
                  <c:v>14282.26</c:v>
                </c:pt>
                <c:pt idx="16">
                  <c:v>14289.68</c:v>
                </c:pt>
                <c:pt idx="17">
                  <c:v>14289.68</c:v>
                </c:pt>
                <c:pt idx="18">
                  <c:v>14293.75</c:v>
                </c:pt>
              </c:numCache>
            </c:numRef>
          </c:val>
          <c:smooth val="0"/>
          <c:extLst>
            <c:ext xmlns:c16="http://schemas.microsoft.com/office/drawing/2014/chart" uri="{C3380CC4-5D6E-409C-BE32-E72D297353CC}">
              <c16:uniqueId val="{00000001-5AE1-495F-9FCC-58DDAF5C7736}"/>
            </c:ext>
          </c:extLst>
        </c:ser>
        <c:ser>
          <c:idx val="3"/>
          <c:order val="2"/>
          <c:tx>
            <c:strRef>
              <c:f>'区域成本利润（周度）'!$F$2</c:f>
              <c:strCache>
                <c:ptCount val="1"/>
                <c:pt idx="0">
                  <c:v>华北</c:v>
                </c:pt>
              </c:strCache>
            </c:strRef>
          </c:tx>
          <c:spPr>
            <a:ln w="28575" cap="rnd">
              <a:solidFill>
                <a:schemeClr val="bg1">
                  <a:lumMod val="50000"/>
                </a:schemeClr>
              </a:solidFill>
              <a:round/>
            </a:ln>
            <a:effectLst/>
          </c:spPr>
          <c:marker>
            <c:symbol val="none"/>
          </c:marker>
          <c:cat>
            <c:numRef>
              <c:f>'区域成本利润（周度）'!$B$3:$B$21</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区域成本利润（周度）'!$F$3:$F$21</c:f>
              <c:numCache>
                <c:formatCode>0.00</c:formatCode>
                <c:ptCount val="19"/>
                <c:pt idx="0">
                  <c:v>12520</c:v>
                </c:pt>
                <c:pt idx="1">
                  <c:v>13030</c:v>
                </c:pt>
                <c:pt idx="2">
                  <c:v>13120</c:v>
                </c:pt>
                <c:pt idx="3">
                  <c:v>13260</c:v>
                </c:pt>
                <c:pt idx="4">
                  <c:v>13416.67</c:v>
                </c:pt>
                <c:pt idx="5">
                  <c:v>13433.33</c:v>
                </c:pt>
                <c:pt idx="6">
                  <c:v>13433.33</c:v>
                </c:pt>
                <c:pt idx="7">
                  <c:v>13483.33</c:v>
                </c:pt>
                <c:pt idx="8">
                  <c:v>13566.67</c:v>
                </c:pt>
                <c:pt idx="9">
                  <c:v>13686.67</c:v>
                </c:pt>
                <c:pt idx="10">
                  <c:v>13686.67</c:v>
                </c:pt>
                <c:pt idx="11">
                  <c:v>14422.22</c:v>
                </c:pt>
                <c:pt idx="12">
                  <c:v>14422.22</c:v>
                </c:pt>
                <c:pt idx="13">
                  <c:v>14422.22</c:v>
                </c:pt>
                <c:pt idx="14">
                  <c:v>14422.22</c:v>
                </c:pt>
                <c:pt idx="15">
                  <c:v>14422.22</c:v>
                </c:pt>
                <c:pt idx="16">
                  <c:v>14422.22</c:v>
                </c:pt>
                <c:pt idx="17">
                  <c:v>14422.22</c:v>
                </c:pt>
                <c:pt idx="18">
                  <c:v>14422.22</c:v>
                </c:pt>
              </c:numCache>
            </c:numRef>
          </c:val>
          <c:smooth val="0"/>
          <c:extLst>
            <c:ext xmlns:c16="http://schemas.microsoft.com/office/drawing/2014/chart" uri="{C3380CC4-5D6E-409C-BE32-E72D297353CC}">
              <c16:uniqueId val="{00000002-5AE1-495F-9FCC-58DDAF5C7736}"/>
            </c:ext>
          </c:extLst>
        </c:ser>
        <c:ser>
          <c:idx val="4"/>
          <c:order val="3"/>
          <c:tx>
            <c:strRef>
              <c:f>'区域成本利润（周度）'!$G$2</c:f>
              <c:strCache>
                <c:ptCount val="1"/>
                <c:pt idx="0">
                  <c:v>华中</c:v>
                </c:pt>
              </c:strCache>
            </c:strRef>
          </c:tx>
          <c:spPr>
            <a:ln w="28575" cap="rnd">
              <a:solidFill>
                <a:srgbClr val="55A5AB"/>
              </a:solidFill>
              <a:round/>
            </a:ln>
            <a:effectLst/>
          </c:spPr>
          <c:marker>
            <c:symbol val="none"/>
          </c:marker>
          <c:cat>
            <c:numRef>
              <c:f>'区域成本利润（周度）'!$B$3:$B$21</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区域成本利润（周度）'!$G$3:$G$21</c:f>
              <c:numCache>
                <c:formatCode>0.00</c:formatCode>
                <c:ptCount val="19"/>
                <c:pt idx="0">
                  <c:v>13472</c:v>
                </c:pt>
                <c:pt idx="1">
                  <c:v>13965</c:v>
                </c:pt>
                <c:pt idx="2">
                  <c:v>14172</c:v>
                </c:pt>
                <c:pt idx="3">
                  <c:v>14232</c:v>
                </c:pt>
                <c:pt idx="4">
                  <c:v>14232</c:v>
                </c:pt>
                <c:pt idx="5">
                  <c:v>14232</c:v>
                </c:pt>
                <c:pt idx="6">
                  <c:v>14232</c:v>
                </c:pt>
                <c:pt idx="7">
                  <c:v>14242</c:v>
                </c:pt>
                <c:pt idx="8">
                  <c:v>14242</c:v>
                </c:pt>
                <c:pt idx="9">
                  <c:v>14568.33</c:v>
                </c:pt>
                <c:pt idx="10">
                  <c:v>14568.33</c:v>
                </c:pt>
                <c:pt idx="11">
                  <c:v>14802.86</c:v>
                </c:pt>
                <c:pt idx="12">
                  <c:v>14802.86</c:v>
                </c:pt>
                <c:pt idx="13">
                  <c:v>14802.86</c:v>
                </c:pt>
                <c:pt idx="14">
                  <c:v>14802.86</c:v>
                </c:pt>
                <c:pt idx="15">
                  <c:v>14802.86</c:v>
                </c:pt>
                <c:pt idx="16">
                  <c:v>14818.57</c:v>
                </c:pt>
                <c:pt idx="17">
                  <c:v>14805</c:v>
                </c:pt>
                <c:pt idx="18">
                  <c:v>14805</c:v>
                </c:pt>
              </c:numCache>
            </c:numRef>
          </c:val>
          <c:smooth val="0"/>
          <c:extLst>
            <c:ext xmlns:c16="http://schemas.microsoft.com/office/drawing/2014/chart" uri="{C3380CC4-5D6E-409C-BE32-E72D297353CC}">
              <c16:uniqueId val="{00000003-5AE1-495F-9FCC-58DDAF5C7736}"/>
            </c:ext>
          </c:extLst>
        </c:ser>
        <c:dLbls>
          <c:showLegendKey val="0"/>
          <c:showVal val="0"/>
          <c:showCatName val="0"/>
          <c:showSerName val="0"/>
          <c:showPercent val="0"/>
          <c:showBubbleSize val="0"/>
        </c:dLbls>
        <c:smooth val="0"/>
        <c:axId val="1947532831"/>
        <c:axId val="1683467824"/>
      </c:lineChart>
      <c:dateAx>
        <c:axId val="1947532831"/>
        <c:scaling>
          <c:orientation val="minMax"/>
        </c:scaling>
        <c:delete val="0"/>
        <c:axPos val="b"/>
        <c:numFmt formatCode="mm/dd"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683467824"/>
        <c:crosses val="autoZero"/>
        <c:auto val="1"/>
        <c:lblOffset val="100"/>
        <c:baseTimeUnit val="days"/>
      </c:dateAx>
      <c:valAx>
        <c:axId val="1683467824"/>
        <c:scaling>
          <c:orientation val="minMax"/>
          <c:max val="15500"/>
          <c:min val="12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9475328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zh-CN"/>
              <a:t>区域周度毛利</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1"/>
          <c:order val="0"/>
          <c:tx>
            <c:strRef>
              <c:f>'区域成本利润（周度）'!$R$2</c:f>
              <c:strCache>
                <c:ptCount val="1"/>
                <c:pt idx="0">
                  <c:v>西南</c:v>
                </c:pt>
              </c:strCache>
            </c:strRef>
          </c:tx>
          <c:spPr>
            <a:ln w="28575" cap="rnd">
              <a:solidFill>
                <a:srgbClr val="C00000"/>
              </a:solidFill>
              <a:round/>
            </a:ln>
            <a:effectLst/>
          </c:spPr>
          <c:marker>
            <c:symbol val="none"/>
          </c:marker>
          <c:cat>
            <c:numRef>
              <c:f>'区域成本利润（周度）'!$O$3:$O$21</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区域成本利润（周度）'!$R$3:$R$21</c:f>
              <c:numCache>
                <c:formatCode>0.00</c:formatCode>
                <c:ptCount val="19"/>
                <c:pt idx="0">
                  <c:v>345.19</c:v>
                </c:pt>
                <c:pt idx="1">
                  <c:v>236.93</c:v>
                </c:pt>
                <c:pt idx="2">
                  <c:v>223.14</c:v>
                </c:pt>
                <c:pt idx="3">
                  <c:v>270.82</c:v>
                </c:pt>
                <c:pt idx="4">
                  <c:v>257.24</c:v>
                </c:pt>
                <c:pt idx="5">
                  <c:v>100.39</c:v>
                </c:pt>
                <c:pt idx="6">
                  <c:v>-63.6</c:v>
                </c:pt>
                <c:pt idx="7">
                  <c:v>-116.96</c:v>
                </c:pt>
                <c:pt idx="8">
                  <c:v>-388.81</c:v>
                </c:pt>
                <c:pt idx="9">
                  <c:v>-508.4</c:v>
                </c:pt>
                <c:pt idx="10">
                  <c:v>-434.81</c:v>
                </c:pt>
                <c:pt idx="11">
                  <c:v>-504.68</c:v>
                </c:pt>
                <c:pt idx="12">
                  <c:v>-538.73</c:v>
                </c:pt>
                <c:pt idx="13">
                  <c:v>-536.46</c:v>
                </c:pt>
                <c:pt idx="14">
                  <c:v>-423.8</c:v>
                </c:pt>
                <c:pt idx="15">
                  <c:v>-299.75</c:v>
                </c:pt>
                <c:pt idx="16">
                  <c:v>-316.83999999999997</c:v>
                </c:pt>
                <c:pt idx="17">
                  <c:v>-339.13</c:v>
                </c:pt>
                <c:pt idx="18">
                  <c:v>-298.58999999999997</c:v>
                </c:pt>
              </c:numCache>
            </c:numRef>
          </c:val>
          <c:smooth val="0"/>
          <c:extLst>
            <c:ext xmlns:c16="http://schemas.microsoft.com/office/drawing/2014/chart" uri="{C3380CC4-5D6E-409C-BE32-E72D297353CC}">
              <c16:uniqueId val="{00000001-722C-4301-8FE7-9F2425B70DD5}"/>
            </c:ext>
          </c:extLst>
        </c:ser>
        <c:ser>
          <c:idx val="2"/>
          <c:order val="1"/>
          <c:tx>
            <c:strRef>
              <c:f>'区域成本利润（周度）'!$S$2</c:f>
              <c:strCache>
                <c:ptCount val="1"/>
                <c:pt idx="0">
                  <c:v>西北</c:v>
                </c:pt>
              </c:strCache>
            </c:strRef>
          </c:tx>
          <c:spPr>
            <a:ln w="28575" cap="rnd">
              <a:solidFill>
                <a:schemeClr val="accent5">
                  <a:lumMod val="75000"/>
                </a:schemeClr>
              </a:solidFill>
              <a:round/>
            </a:ln>
            <a:effectLst/>
          </c:spPr>
          <c:marker>
            <c:symbol val="none"/>
          </c:marker>
          <c:cat>
            <c:numRef>
              <c:f>'区域成本利润（周度）'!$O$3:$O$21</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区域成本利润（周度）'!$S$3:$S$21</c:f>
              <c:numCache>
                <c:formatCode>0.00</c:formatCode>
                <c:ptCount val="19"/>
                <c:pt idx="0">
                  <c:v>56.06</c:v>
                </c:pt>
                <c:pt idx="1">
                  <c:v>-1.82</c:v>
                </c:pt>
                <c:pt idx="2">
                  <c:v>9.3800000000000008</c:v>
                </c:pt>
                <c:pt idx="3">
                  <c:v>62.5</c:v>
                </c:pt>
                <c:pt idx="4">
                  <c:v>62.5</c:v>
                </c:pt>
                <c:pt idx="5">
                  <c:v>48.39</c:v>
                </c:pt>
                <c:pt idx="6">
                  <c:v>33.64</c:v>
                </c:pt>
                <c:pt idx="7">
                  <c:v>-10.63</c:v>
                </c:pt>
                <c:pt idx="8">
                  <c:v>-110.63</c:v>
                </c:pt>
                <c:pt idx="9">
                  <c:v>-82.41</c:v>
                </c:pt>
                <c:pt idx="10">
                  <c:v>-82.41</c:v>
                </c:pt>
                <c:pt idx="11">
                  <c:v>101.43</c:v>
                </c:pt>
                <c:pt idx="12">
                  <c:v>94.29</c:v>
                </c:pt>
                <c:pt idx="13">
                  <c:v>101.43</c:v>
                </c:pt>
                <c:pt idx="14">
                  <c:v>455</c:v>
                </c:pt>
                <c:pt idx="15">
                  <c:v>565.71</c:v>
                </c:pt>
                <c:pt idx="16">
                  <c:v>657.14</c:v>
                </c:pt>
                <c:pt idx="17">
                  <c:v>667.86</c:v>
                </c:pt>
                <c:pt idx="18">
                  <c:v>665.52</c:v>
                </c:pt>
              </c:numCache>
            </c:numRef>
          </c:val>
          <c:smooth val="0"/>
          <c:extLst>
            <c:ext xmlns:c16="http://schemas.microsoft.com/office/drawing/2014/chart" uri="{C3380CC4-5D6E-409C-BE32-E72D297353CC}">
              <c16:uniqueId val="{00000002-722C-4301-8FE7-9F2425B70DD5}"/>
            </c:ext>
          </c:extLst>
        </c:ser>
        <c:ser>
          <c:idx val="0"/>
          <c:order val="2"/>
          <c:tx>
            <c:strRef>
              <c:f>'区域成本利润（周度）'!$Q$2</c:f>
              <c:strCache>
                <c:ptCount val="1"/>
                <c:pt idx="0">
                  <c:v>华北</c:v>
                </c:pt>
              </c:strCache>
            </c:strRef>
          </c:tx>
          <c:spPr>
            <a:ln w="28575" cap="rnd">
              <a:solidFill>
                <a:schemeClr val="bg1">
                  <a:lumMod val="65000"/>
                </a:schemeClr>
              </a:solidFill>
              <a:round/>
            </a:ln>
            <a:effectLst/>
          </c:spPr>
          <c:marker>
            <c:symbol val="none"/>
          </c:marker>
          <c:cat>
            <c:numRef>
              <c:f>'区域成本利润（周度）'!$O$3:$O$21</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区域成本利润（周度）'!$Q$3:$Q$21</c:f>
              <c:numCache>
                <c:formatCode>0.00</c:formatCode>
                <c:ptCount val="19"/>
                <c:pt idx="0">
                  <c:v>40</c:v>
                </c:pt>
                <c:pt idx="1">
                  <c:v>150</c:v>
                </c:pt>
                <c:pt idx="2">
                  <c:v>180</c:v>
                </c:pt>
                <c:pt idx="3">
                  <c:v>220</c:v>
                </c:pt>
                <c:pt idx="4">
                  <c:v>83.33</c:v>
                </c:pt>
                <c:pt idx="5">
                  <c:v>66.67</c:v>
                </c:pt>
                <c:pt idx="6">
                  <c:v>66.67</c:v>
                </c:pt>
                <c:pt idx="7">
                  <c:v>83.33</c:v>
                </c:pt>
                <c:pt idx="8">
                  <c:v>108.33</c:v>
                </c:pt>
                <c:pt idx="9">
                  <c:v>105</c:v>
                </c:pt>
                <c:pt idx="10">
                  <c:v>105</c:v>
                </c:pt>
                <c:pt idx="11">
                  <c:v>77.78</c:v>
                </c:pt>
                <c:pt idx="12">
                  <c:v>77.78</c:v>
                </c:pt>
                <c:pt idx="13">
                  <c:v>88.89</c:v>
                </c:pt>
                <c:pt idx="14">
                  <c:v>122.22</c:v>
                </c:pt>
                <c:pt idx="15">
                  <c:v>144.44</c:v>
                </c:pt>
                <c:pt idx="16">
                  <c:v>144.44</c:v>
                </c:pt>
                <c:pt idx="17">
                  <c:v>144.44</c:v>
                </c:pt>
                <c:pt idx="18">
                  <c:v>144.44</c:v>
                </c:pt>
              </c:numCache>
            </c:numRef>
          </c:val>
          <c:smooth val="0"/>
          <c:extLst>
            <c:ext xmlns:c16="http://schemas.microsoft.com/office/drawing/2014/chart" uri="{C3380CC4-5D6E-409C-BE32-E72D297353CC}">
              <c16:uniqueId val="{00000000-722C-4301-8FE7-9F2425B70DD5}"/>
            </c:ext>
          </c:extLst>
        </c:ser>
        <c:ser>
          <c:idx val="3"/>
          <c:order val="3"/>
          <c:tx>
            <c:strRef>
              <c:f>'区域成本利润（周度）'!$T$2</c:f>
              <c:strCache>
                <c:ptCount val="1"/>
                <c:pt idx="0">
                  <c:v>华中</c:v>
                </c:pt>
              </c:strCache>
            </c:strRef>
          </c:tx>
          <c:spPr>
            <a:ln w="28575" cap="rnd">
              <a:solidFill>
                <a:schemeClr val="accent4"/>
              </a:solidFill>
              <a:round/>
            </a:ln>
            <a:effectLst/>
          </c:spPr>
          <c:marker>
            <c:symbol val="none"/>
          </c:marker>
          <c:cat>
            <c:numRef>
              <c:f>'区域成本利润（周度）'!$O$3:$O$21</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区域成本利润（周度）'!$T$3:$T$21</c:f>
              <c:numCache>
                <c:formatCode>0.00</c:formatCode>
                <c:ptCount val="19"/>
                <c:pt idx="0">
                  <c:v>-532</c:v>
                </c:pt>
                <c:pt idx="1">
                  <c:v>-565</c:v>
                </c:pt>
                <c:pt idx="2">
                  <c:v>-632</c:v>
                </c:pt>
                <c:pt idx="3">
                  <c:v>-532</c:v>
                </c:pt>
                <c:pt idx="4">
                  <c:v>-532</c:v>
                </c:pt>
                <c:pt idx="5">
                  <c:v>-532</c:v>
                </c:pt>
                <c:pt idx="6">
                  <c:v>-552</c:v>
                </c:pt>
                <c:pt idx="7">
                  <c:v>-562</c:v>
                </c:pt>
                <c:pt idx="8">
                  <c:v>-562</c:v>
                </c:pt>
                <c:pt idx="9">
                  <c:v>-768.33</c:v>
                </c:pt>
                <c:pt idx="10">
                  <c:v>-768.33</c:v>
                </c:pt>
                <c:pt idx="11">
                  <c:v>-17.14</c:v>
                </c:pt>
                <c:pt idx="12">
                  <c:v>-17.14</c:v>
                </c:pt>
                <c:pt idx="13">
                  <c:v>-17.14</c:v>
                </c:pt>
                <c:pt idx="14">
                  <c:v>68.569999999999993</c:v>
                </c:pt>
                <c:pt idx="15">
                  <c:v>68.569999999999993</c:v>
                </c:pt>
                <c:pt idx="16">
                  <c:v>138.57</c:v>
                </c:pt>
                <c:pt idx="17">
                  <c:v>128.33000000000001</c:v>
                </c:pt>
                <c:pt idx="18">
                  <c:v>128.33000000000001</c:v>
                </c:pt>
              </c:numCache>
            </c:numRef>
          </c:val>
          <c:smooth val="0"/>
          <c:extLst>
            <c:ext xmlns:c16="http://schemas.microsoft.com/office/drawing/2014/chart" uri="{C3380CC4-5D6E-409C-BE32-E72D297353CC}">
              <c16:uniqueId val="{00000003-722C-4301-8FE7-9F2425B70DD5}"/>
            </c:ext>
          </c:extLst>
        </c:ser>
        <c:dLbls>
          <c:showLegendKey val="0"/>
          <c:showVal val="0"/>
          <c:showCatName val="0"/>
          <c:showSerName val="0"/>
          <c:showPercent val="0"/>
          <c:showBubbleSize val="0"/>
        </c:dLbls>
        <c:smooth val="0"/>
        <c:axId val="1946324527"/>
        <c:axId val="792692943"/>
      </c:lineChart>
      <c:dateAx>
        <c:axId val="1946324527"/>
        <c:scaling>
          <c:orientation val="minMax"/>
        </c:scaling>
        <c:delete val="0"/>
        <c:axPos val="b"/>
        <c:numFmt formatCode="mm/dd" sourceLinked="0"/>
        <c:majorTickMark val="out"/>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ea"/>
                <a:sym typeface="+mn-lt"/>
              </a:defRPr>
            </a:pPr>
            <a:endParaRPr lang="zh-CN"/>
          </a:p>
        </c:txPr>
        <c:crossAx val="792692943"/>
        <c:crosses val="autoZero"/>
        <c:auto val="1"/>
        <c:lblOffset val="100"/>
        <c:baseTimeUnit val="days"/>
      </c:dateAx>
      <c:valAx>
        <c:axId val="792692943"/>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9463245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zh-CN"/>
              <a:t>工业硅周度产量</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金属硅周度图表!$I$3</c:f>
              <c:strCache>
                <c:ptCount val="1"/>
                <c:pt idx="0">
                  <c:v>2020</c:v>
                </c:pt>
              </c:strCache>
            </c:strRef>
          </c:tx>
          <c:spPr>
            <a:ln w="19050" cap="rnd">
              <a:solidFill>
                <a:srgbClr val="7030A0">
                  <a:alpha val="60000"/>
                </a:srgbClr>
              </a:solidFill>
              <a:round/>
            </a:ln>
            <a:effectLst/>
          </c:spPr>
          <c:marker>
            <c:symbol val="none"/>
          </c:marker>
          <c:cat>
            <c:strRef>
              <c:f>金属硅周度图表!$H$4:$H$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I$4:$I$369</c:f>
              <c:numCache>
                <c:formatCode>General</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43715</c:v>
                </c:pt>
                <c:pt idx="17">
                  <c:v>#N/A</c:v>
                </c:pt>
                <c:pt idx="18">
                  <c:v>#N/A</c:v>
                </c:pt>
                <c:pt idx="19">
                  <c:v>#N/A</c:v>
                </c:pt>
                <c:pt idx="20">
                  <c:v>#N/A</c:v>
                </c:pt>
                <c:pt idx="21">
                  <c:v>#N/A</c:v>
                </c:pt>
                <c:pt idx="22">
                  <c:v>#N/A</c:v>
                </c:pt>
                <c:pt idx="23">
                  <c:v>39570</c:v>
                </c:pt>
                <c:pt idx="24">
                  <c:v>#N/A</c:v>
                </c:pt>
                <c:pt idx="25">
                  <c:v>#N/A</c:v>
                </c:pt>
                <c:pt idx="26">
                  <c:v>#N/A</c:v>
                </c:pt>
                <c:pt idx="27">
                  <c:v>#N/A</c:v>
                </c:pt>
                <c:pt idx="28">
                  <c:v>#N/A</c:v>
                </c:pt>
                <c:pt idx="29">
                  <c:v>#N/A</c:v>
                </c:pt>
                <c:pt idx="30">
                  <c:v>39545</c:v>
                </c:pt>
                <c:pt idx="31">
                  <c:v>#N/A</c:v>
                </c:pt>
                <c:pt idx="32">
                  <c:v>#N/A</c:v>
                </c:pt>
                <c:pt idx="33">
                  <c:v>#N/A</c:v>
                </c:pt>
                <c:pt idx="34">
                  <c:v>#N/A</c:v>
                </c:pt>
                <c:pt idx="35">
                  <c:v>#N/A</c:v>
                </c:pt>
                <c:pt idx="36">
                  <c:v>#N/A</c:v>
                </c:pt>
                <c:pt idx="37">
                  <c:v>39095</c:v>
                </c:pt>
                <c:pt idx="38">
                  <c:v>#N/A</c:v>
                </c:pt>
                <c:pt idx="39">
                  <c:v>#N/A</c:v>
                </c:pt>
                <c:pt idx="40">
                  <c:v>#N/A</c:v>
                </c:pt>
                <c:pt idx="41">
                  <c:v>#N/A</c:v>
                </c:pt>
                <c:pt idx="42">
                  <c:v>#N/A</c:v>
                </c:pt>
                <c:pt idx="43">
                  <c:v>#N/A</c:v>
                </c:pt>
                <c:pt idx="44">
                  <c:v>39545</c:v>
                </c:pt>
                <c:pt idx="45">
                  <c:v>#N/A</c:v>
                </c:pt>
                <c:pt idx="46">
                  <c:v>#N/A</c:v>
                </c:pt>
                <c:pt idx="47">
                  <c:v>#N/A</c:v>
                </c:pt>
                <c:pt idx="48">
                  <c:v>#N/A</c:v>
                </c:pt>
                <c:pt idx="49">
                  <c:v>#N/A</c:v>
                </c:pt>
                <c:pt idx="50">
                  <c:v>#N/A</c:v>
                </c:pt>
                <c:pt idx="51">
                  <c:v>39645</c:v>
                </c:pt>
                <c:pt idx="52">
                  <c:v>#N/A</c:v>
                </c:pt>
                <c:pt idx="53">
                  <c:v>#N/A</c:v>
                </c:pt>
                <c:pt idx="54">
                  <c:v>#N/A</c:v>
                </c:pt>
                <c:pt idx="55">
                  <c:v>#N/A</c:v>
                </c:pt>
                <c:pt idx="56">
                  <c:v>#N/A</c:v>
                </c:pt>
                <c:pt idx="57">
                  <c:v>#N/A</c:v>
                </c:pt>
                <c:pt idx="58">
                  <c:v>39545</c:v>
                </c:pt>
                <c:pt idx="59">
                  <c:v>#N/A</c:v>
                </c:pt>
                <c:pt idx="60">
                  <c:v>#N/A</c:v>
                </c:pt>
                <c:pt idx="61">
                  <c:v>#N/A</c:v>
                </c:pt>
                <c:pt idx="62">
                  <c:v>#N/A</c:v>
                </c:pt>
                <c:pt idx="63">
                  <c:v>#N/A</c:v>
                </c:pt>
                <c:pt idx="64">
                  <c:v>#N/A</c:v>
                </c:pt>
                <c:pt idx="65">
                  <c:v>35582.5</c:v>
                </c:pt>
                <c:pt idx="66">
                  <c:v>#N/A</c:v>
                </c:pt>
                <c:pt idx="67">
                  <c:v>#N/A</c:v>
                </c:pt>
                <c:pt idx="68">
                  <c:v>#N/A</c:v>
                </c:pt>
                <c:pt idx="69">
                  <c:v>#N/A</c:v>
                </c:pt>
                <c:pt idx="70">
                  <c:v>#N/A</c:v>
                </c:pt>
                <c:pt idx="71">
                  <c:v>#N/A</c:v>
                </c:pt>
                <c:pt idx="72">
                  <c:v>38240</c:v>
                </c:pt>
                <c:pt idx="73">
                  <c:v>#N/A</c:v>
                </c:pt>
                <c:pt idx="74">
                  <c:v>#N/A</c:v>
                </c:pt>
                <c:pt idx="75">
                  <c:v>#N/A</c:v>
                </c:pt>
                <c:pt idx="76">
                  <c:v>#N/A</c:v>
                </c:pt>
                <c:pt idx="77">
                  <c:v>#N/A</c:v>
                </c:pt>
                <c:pt idx="78">
                  <c:v>#N/A</c:v>
                </c:pt>
                <c:pt idx="79">
                  <c:v>38465</c:v>
                </c:pt>
                <c:pt idx="80">
                  <c:v>#N/A</c:v>
                </c:pt>
                <c:pt idx="81">
                  <c:v>#N/A</c:v>
                </c:pt>
                <c:pt idx="82">
                  <c:v>#N/A</c:v>
                </c:pt>
                <c:pt idx="83">
                  <c:v>#N/A</c:v>
                </c:pt>
                <c:pt idx="84">
                  <c:v>#N/A</c:v>
                </c:pt>
                <c:pt idx="85">
                  <c:v>#N/A</c:v>
                </c:pt>
                <c:pt idx="86">
                  <c:v>38015</c:v>
                </c:pt>
                <c:pt idx="87">
                  <c:v>#N/A</c:v>
                </c:pt>
                <c:pt idx="88">
                  <c:v>#N/A</c:v>
                </c:pt>
                <c:pt idx="89">
                  <c:v>#N/A</c:v>
                </c:pt>
                <c:pt idx="90">
                  <c:v>#N/A</c:v>
                </c:pt>
                <c:pt idx="91">
                  <c:v>#N/A</c:v>
                </c:pt>
                <c:pt idx="92">
                  <c:v>#N/A</c:v>
                </c:pt>
                <c:pt idx="93">
                  <c:v>37840</c:v>
                </c:pt>
                <c:pt idx="94">
                  <c:v>#N/A</c:v>
                </c:pt>
                <c:pt idx="95">
                  <c:v>#N/A</c:v>
                </c:pt>
                <c:pt idx="96">
                  <c:v>#N/A</c:v>
                </c:pt>
                <c:pt idx="97">
                  <c:v>#N/A</c:v>
                </c:pt>
                <c:pt idx="98">
                  <c:v>#N/A</c:v>
                </c:pt>
                <c:pt idx="99">
                  <c:v>#N/A</c:v>
                </c:pt>
                <c:pt idx="100">
                  <c:v>39335</c:v>
                </c:pt>
                <c:pt idx="101">
                  <c:v>#N/A</c:v>
                </c:pt>
                <c:pt idx="102">
                  <c:v>#N/A</c:v>
                </c:pt>
                <c:pt idx="103">
                  <c:v>#N/A</c:v>
                </c:pt>
                <c:pt idx="104">
                  <c:v>#N/A</c:v>
                </c:pt>
                <c:pt idx="105">
                  <c:v>#N/A</c:v>
                </c:pt>
                <c:pt idx="106">
                  <c:v>#N/A</c:v>
                </c:pt>
                <c:pt idx="107">
                  <c:v>39335</c:v>
                </c:pt>
                <c:pt idx="108">
                  <c:v>#N/A</c:v>
                </c:pt>
                <c:pt idx="109">
                  <c:v>#N/A</c:v>
                </c:pt>
                <c:pt idx="110">
                  <c:v>#N/A</c:v>
                </c:pt>
                <c:pt idx="111">
                  <c:v>#N/A</c:v>
                </c:pt>
                <c:pt idx="112">
                  <c:v>#N/A</c:v>
                </c:pt>
                <c:pt idx="113">
                  <c:v>#N/A</c:v>
                </c:pt>
                <c:pt idx="114">
                  <c:v>38420</c:v>
                </c:pt>
                <c:pt idx="115">
                  <c:v>#N/A</c:v>
                </c:pt>
                <c:pt idx="116">
                  <c:v>#N/A</c:v>
                </c:pt>
                <c:pt idx="117">
                  <c:v>#N/A</c:v>
                </c:pt>
                <c:pt idx="118">
                  <c:v>#N/A</c:v>
                </c:pt>
                <c:pt idx="119">
                  <c:v>#N/A</c:v>
                </c:pt>
                <c:pt idx="120">
                  <c:v>#N/A</c:v>
                </c:pt>
                <c:pt idx="121">
                  <c:v>38420</c:v>
                </c:pt>
                <c:pt idx="122">
                  <c:v>#N/A</c:v>
                </c:pt>
                <c:pt idx="123">
                  <c:v>#N/A</c:v>
                </c:pt>
                <c:pt idx="124">
                  <c:v>#N/A</c:v>
                </c:pt>
                <c:pt idx="125">
                  <c:v>#N/A</c:v>
                </c:pt>
                <c:pt idx="126">
                  <c:v>#N/A</c:v>
                </c:pt>
                <c:pt idx="127">
                  <c:v>#N/A</c:v>
                </c:pt>
                <c:pt idx="128">
                  <c:v>39140</c:v>
                </c:pt>
                <c:pt idx="129">
                  <c:v>#N/A</c:v>
                </c:pt>
                <c:pt idx="130">
                  <c:v>#N/A</c:v>
                </c:pt>
                <c:pt idx="131">
                  <c:v>#N/A</c:v>
                </c:pt>
                <c:pt idx="132">
                  <c:v>#N/A</c:v>
                </c:pt>
                <c:pt idx="133">
                  <c:v>#N/A</c:v>
                </c:pt>
                <c:pt idx="134">
                  <c:v>#N/A</c:v>
                </c:pt>
                <c:pt idx="135">
                  <c:v>35340</c:v>
                </c:pt>
                <c:pt idx="136">
                  <c:v>#N/A</c:v>
                </c:pt>
                <c:pt idx="137">
                  <c:v>#N/A</c:v>
                </c:pt>
                <c:pt idx="138">
                  <c:v>#N/A</c:v>
                </c:pt>
                <c:pt idx="139">
                  <c:v>#N/A</c:v>
                </c:pt>
                <c:pt idx="140">
                  <c:v>#N/A</c:v>
                </c:pt>
                <c:pt idx="141">
                  <c:v>#N/A</c:v>
                </c:pt>
                <c:pt idx="142">
                  <c:v>40660</c:v>
                </c:pt>
                <c:pt idx="143">
                  <c:v>#N/A</c:v>
                </c:pt>
                <c:pt idx="144">
                  <c:v>#N/A</c:v>
                </c:pt>
                <c:pt idx="145">
                  <c:v>#N/A</c:v>
                </c:pt>
                <c:pt idx="146">
                  <c:v>#N/A</c:v>
                </c:pt>
                <c:pt idx="147">
                  <c:v>#N/A</c:v>
                </c:pt>
                <c:pt idx="148">
                  <c:v>#N/A</c:v>
                </c:pt>
                <c:pt idx="149">
                  <c:v>41010</c:v>
                </c:pt>
                <c:pt idx="150">
                  <c:v>#N/A</c:v>
                </c:pt>
                <c:pt idx="151">
                  <c:v>#N/A</c:v>
                </c:pt>
                <c:pt idx="152">
                  <c:v>#N/A</c:v>
                </c:pt>
                <c:pt idx="153">
                  <c:v>#N/A</c:v>
                </c:pt>
                <c:pt idx="154">
                  <c:v>#N/A</c:v>
                </c:pt>
                <c:pt idx="155">
                  <c:v>#N/A</c:v>
                </c:pt>
                <c:pt idx="156">
                  <c:v>40705</c:v>
                </c:pt>
                <c:pt idx="157">
                  <c:v>#N/A</c:v>
                </c:pt>
                <c:pt idx="158">
                  <c:v>#N/A</c:v>
                </c:pt>
                <c:pt idx="159">
                  <c:v>#N/A</c:v>
                </c:pt>
                <c:pt idx="160">
                  <c:v>#N/A</c:v>
                </c:pt>
                <c:pt idx="161">
                  <c:v>#N/A</c:v>
                </c:pt>
                <c:pt idx="162">
                  <c:v>#N/A</c:v>
                </c:pt>
                <c:pt idx="163">
                  <c:v>40705</c:v>
                </c:pt>
                <c:pt idx="164">
                  <c:v>#N/A</c:v>
                </c:pt>
                <c:pt idx="165">
                  <c:v>#N/A</c:v>
                </c:pt>
                <c:pt idx="166">
                  <c:v>#N/A</c:v>
                </c:pt>
                <c:pt idx="167">
                  <c:v>#N/A</c:v>
                </c:pt>
                <c:pt idx="168">
                  <c:v>#N/A</c:v>
                </c:pt>
                <c:pt idx="169">
                  <c:v>#N/A</c:v>
                </c:pt>
                <c:pt idx="170">
                  <c:v>41585</c:v>
                </c:pt>
                <c:pt idx="171">
                  <c:v>#N/A</c:v>
                </c:pt>
                <c:pt idx="172">
                  <c:v>#N/A</c:v>
                </c:pt>
                <c:pt idx="173">
                  <c:v>#N/A</c:v>
                </c:pt>
                <c:pt idx="174">
                  <c:v>#N/A</c:v>
                </c:pt>
                <c:pt idx="175">
                  <c:v>#N/A</c:v>
                </c:pt>
                <c:pt idx="176">
                  <c:v>#N/A</c:v>
                </c:pt>
                <c:pt idx="177">
                  <c:v>42985</c:v>
                </c:pt>
                <c:pt idx="178">
                  <c:v>#N/A</c:v>
                </c:pt>
                <c:pt idx="179">
                  <c:v>#N/A</c:v>
                </c:pt>
                <c:pt idx="180">
                  <c:v>#N/A</c:v>
                </c:pt>
                <c:pt idx="181">
                  <c:v>#N/A</c:v>
                </c:pt>
                <c:pt idx="182">
                  <c:v>#N/A</c:v>
                </c:pt>
                <c:pt idx="183">
                  <c:v>#N/A</c:v>
                </c:pt>
                <c:pt idx="184">
                  <c:v>42085</c:v>
                </c:pt>
                <c:pt idx="185">
                  <c:v>#N/A</c:v>
                </c:pt>
                <c:pt idx="186">
                  <c:v>#N/A</c:v>
                </c:pt>
                <c:pt idx="187">
                  <c:v>#N/A</c:v>
                </c:pt>
                <c:pt idx="188">
                  <c:v>#N/A</c:v>
                </c:pt>
                <c:pt idx="189">
                  <c:v>#N/A</c:v>
                </c:pt>
                <c:pt idx="190">
                  <c:v>#N/A</c:v>
                </c:pt>
                <c:pt idx="191">
                  <c:v>42085</c:v>
                </c:pt>
                <c:pt idx="192">
                  <c:v>#N/A</c:v>
                </c:pt>
                <c:pt idx="193">
                  <c:v>#N/A</c:v>
                </c:pt>
                <c:pt idx="194">
                  <c:v>#N/A</c:v>
                </c:pt>
                <c:pt idx="195">
                  <c:v>#N/A</c:v>
                </c:pt>
                <c:pt idx="196">
                  <c:v>#N/A</c:v>
                </c:pt>
                <c:pt idx="197">
                  <c:v>#N/A</c:v>
                </c:pt>
                <c:pt idx="198">
                  <c:v>41185</c:v>
                </c:pt>
                <c:pt idx="199">
                  <c:v>#N/A</c:v>
                </c:pt>
                <c:pt idx="200">
                  <c:v>#N/A</c:v>
                </c:pt>
                <c:pt idx="201">
                  <c:v>#N/A</c:v>
                </c:pt>
                <c:pt idx="202">
                  <c:v>#N/A</c:v>
                </c:pt>
                <c:pt idx="203">
                  <c:v>#N/A</c:v>
                </c:pt>
                <c:pt idx="204">
                  <c:v>#N/A</c:v>
                </c:pt>
                <c:pt idx="205">
                  <c:v>40585</c:v>
                </c:pt>
                <c:pt idx="206">
                  <c:v>#N/A</c:v>
                </c:pt>
                <c:pt idx="207">
                  <c:v>#N/A</c:v>
                </c:pt>
                <c:pt idx="208">
                  <c:v>#N/A</c:v>
                </c:pt>
                <c:pt idx="209">
                  <c:v>#N/A</c:v>
                </c:pt>
                <c:pt idx="210">
                  <c:v>#N/A</c:v>
                </c:pt>
                <c:pt idx="211">
                  <c:v>#N/A</c:v>
                </c:pt>
                <c:pt idx="212">
                  <c:v>40585</c:v>
                </c:pt>
                <c:pt idx="213">
                  <c:v>#N/A</c:v>
                </c:pt>
                <c:pt idx="214">
                  <c:v>#N/A</c:v>
                </c:pt>
                <c:pt idx="215">
                  <c:v>#N/A</c:v>
                </c:pt>
                <c:pt idx="216">
                  <c:v>#N/A</c:v>
                </c:pt>
                <c:pt idx="217">
                  <c:v>#N/A</c:v>
                </c:pt>
                <c:pt idx="218">
                  <c:v>#N/A</c:v>
                </c:pt>
                <c:pt idx="219">
                  <c:v>41335</c:v>
                </c:pt>
                <c:pt idx="220">
                  <c:v>#N/A</c:v>
                </c:pt>
                <c:pt idx="221">
                  <c:v>#N/A</c:v>
                </c:pt>
                <c:pt idx="222">
                  <c:v>#N/A</c:v>
                </c:pt>
                <c:pt idx="223">
                  <c:v>#N/A</c:v>
                </c:pt>
                <c:pt idx="224">
                  <c:v>#N/A</c:v>
                </c:pt>
                <c:pt idx="225">
                  <c:v>#N/A</c:v>
                </c:pt>
                <c:pt idx="226">
                  <c:v>41335</c:v>
                </c:pt>
                <c:pt idx="227">
                  <c:v>#N/A</c:v>
                </c:pt>
                <c:pt idx="228">
                  <c:v>#N/A</c:v>
                </c:pt>
                <c:pt idx="229">
                  <c:v>#N/A</c:v>
                </c:pt>
                <c:pt idx="230">
                  <c:v>#N/A</c:v>
                </c:pt>
                <c:pt idx="231">
                  <c:v>#N/A</c:v>
                </c:pt>
                <c:pt idx="232">
                  <c:v>#N/A</c:v>
                </c:pt>
                <c:pt idx="233">
                  <c:v>41835</c:v>
                </c:pt>
                <c:pt idx="234">
                  <c:v>#N/A</c:v>
                </c:pt>
                <c:pt idx="235">
                  <c:v>#N/A</c:v>
                </c:pt>
                <c:pt idx="236">
                  <c:v>#N/A</c:v>
                </c:pt>
                <c:pt idx="237">
                  <c:v>#N/A</c:v>
                </c:pt>
                <c:pt idx="238">
                  <c:v>#N/A</c:v>
                </c:pt>
                <c:pt idx="239">
                  <c:v>#N/A</c:v>
                </c:pt>
                <c:pt idx="240">
                  <c:v>41835</c:v>
                </c:pt>
                <c:pt idx="241">
                  <c:v>#N/A</c:v>
                </c:pt>
                <c:pt idx="242">
                  <c:v>#N/A</c:v>
                </c:pt>
                <c:pt idx="243">
                  <c:v>#N/A</c:v>
                </c:pt>
                <c:pt idx="244">
                  <c:v>#N/A</c:v>
                </c:pt>
                <c:pt idx="245">
                  <c:v>#N/A</c:v>
                </c:pt>
                <c:pt idx="246">
                  <c:v>#N/A</c:v>
                </c:pt>
                <c:pt idx="247">
                  <c:v>41835</c:v>
                </c:pt>
                <c:pt idx="248">
                  <c:v>#N/A</c:v>
                </c:pt>
                <c:pt idx="249">
                  <c:v>#N/A</c:v>
                </c:pt>
                <c:pt idx="250">
                  <c:v>#N/A</c:v>
                </c:pt>
                <c:pt idx="251">
                  <c:v>#N/A</c:v>
                </c:pt>
                <c:pt idx="252">
                  <c:v>#N/A</c:v>
                </c:pt>
                <c:pt idx="253">
                  <c:v>#N/A</c:v>
                </c:pt>
                <c:pt idx="254">
                  <c:v>42325</c:v>
                </c:pt>
                <c:pt idx="255">
                  <c:v>#N/A</c:v>
                </c:pt>
                <c:pt idx="256">
                  <c:v>#N/A</c:v>
                </c:pt>
                <c:pt idx="257">
                  <c:v>#N/A</c:v>
                </c:pt>
                <c:pt idx="258">
                  <c:v>#N/A</c:v>
                </c:pt>
                <c:pt idx="259">
                  <c:v>#N/A</c:v>
                </c:pt>
                <c:pt idx="260">
                  <c:v>#N/A</c:v>
                </c:pt>
                <c:pt idx="261">
                  <c:v>42325</c:v>
                </c:pt>
                <c:pt idx="262">
                  <c:v>#N/A</c:v>
                </c:pt>
                <c:pt idx="263">
                  <c:v>#N/A</c:v>
                </c:pt>
                <c:pt idx="264">
                  <c:v>#N/A</c:v>
                </c:pt>
                <c:pt idx="265">
                  <c:v>#N/A</c:v>
                </c:pt>
                <c:pt idx="266">
                  <c:v>#N/A</c:v>
                </c:pt>
                <c:pt idx="267">
                  <c:v>#N/A</c:v>
                </c:pt>
                <c:pt idx="268">
                  <c:v>42275</c:v>
                </c:pt>
                <c:pt idx="269">
                  <c:v>#N/A</c:v>
                </c:pt>
                <c:pt idx="270">
                  <c:v>#N/A</c:v>
                </c:pt>
                <c:pt idx="271">
                  <c:v>#N/A</c:v>
                </c:pt>
                <c:pt idx="272">
                  <c:v>#N/A</c:v>
                </c:pt>
                <c:pt idx="273">
                  <c:v>#N/A</c:v>
                </c:pt>
                <c:pt idx="274">
                  <c:v>#N/A</c:v>
                </c:pt>
                <c:pt idx="275">
                  <c:v>43682.5</c:v>
                </c:pt>
                <c:pt idx="276">
                  <c:v>#N/A</c:v>
                </c:pt>
                <c:pt idx="277">
                  <c:v>#N/A</c:v>
                </c:pt>
                <c:pt idx="278">
                  <c:v>#N/A</c:v>
                </c:pt>
                <c:pt idx="279">
                  <c:v>#N/A</c:v>
                </c:pt>
                <c:pt idx="280">
                  <c:v>#N/A</c:v>
                </c:pt>
                <c:pt idx="281">
                  <c:v>#N/A</c:v>
                </c:pt>
                <c:pt idx="282">
                  <c:v>44292.5</c:v>
                </c:pt>
                <c:pt idx="283">
                  <c:v>#N/A</c:v>
                </c:pt>
                <c:pt idx="284">
                  <c:v>#N/A</c:v>
                </c:pt>
                <c:pt idx="285">
                  <c:v>#N/A</c:v>
                </c:pt>
                <c:pt idx="286">
                  <c:v>#N/A</c:v>
                </c:pt>
                <c:pt idx="287">
                  <c:v>#N/A</c:v>
                </c:pt>
                <c:pt idx="288">
                  <c:v>#N/A</c:v>
                </c:pt>
                <c:pt idx="289">
                  <c:v>44432.5</c:v>
                </c:pt>
                <c:pt idx="290">
                  <c:v>#N/A</c:v>
                </c:pt>
                <c:pt idx="291">
                  <c:v>#N/A</c:v>
                </c:pt>
                <c:pt idx="292">
                  <c:v>#N/A</c:v>
                </c:pt>
                <c:pt idx="293">
                  <c:v>#N/A</c:v>
                </c:pt>
                <c:pt idx="294">
                  <c:v>#N/A</c:v>
                </c:pt>
                <c:pt idx="295">
                  <c:v>#N/A</c:v>
                </c:pt>
                <c:pt idx="296">
                  <c:v>44432.5</c:v>
                </c:pt>
                <c:pt idx="297">
                  <c:v>#N/A</c:v>
                </c:pt>
                <c:pt idx="298">
                  <c:v>#N/A</c:v>
                </c:pt>
                <c:pt idx="299">
                  <c:v>#N/A</c:v>
                </c:pt>
                <c:pt idx="300">
                  <c:v>#N/A</c:v>
                </c:pt>
                <c:pt idx="301">
                  <c:v>#N/A</c:v>
                </c:pt>
                <c:pt idx="302">
                  <c:v>#N/A</c:v>
                </c:pt>
                <c:pt idx="303">
                  <c:v>44432.5</c:v>
                </c:pt>
                <c:pt idx="304">
                  <c:v>#N/A</c:v>
                </c:pt>
                <c:pt idx="305">
                  <c:v>#N/A</c:v>
                </c:pt>
                <c:pt idx="306">
                  <c:v>#N/A</c:v>
                </c:pt>
                <c:pt idx="307">
                  <c:v>#N/A</c:v>
                </c:pt>
                <c:pt idx="308">
                  <c:v>#N/A</c:v>
                </c:pt>
                <c:pt idx="309">
                  <c:v>#N/A</c:v>
                </c:pt>
                <c:pt idx="310">
                  <c:v>44432.5</c:v>
                </c:pt>
                <c:pt idx="311">
                  <c:v>#N/A</c:v>
                </c:pt>
                <c:pt idx="312">
                  <c:v>#N/A</c:v>
                </c:pt>
                <c:pt idx="313">
                  <c:v>#N/A</c:v>
                </c:pt>
                <c:pt idx="314">
                  <c:v>#N/A</c:v>
                </c:pt>
                <c:pt idx="315">
                  <c:v>#N/A</c:v>
                </c:pt>
                <c:pt idx="316">
                  <c:v>#N/A</c:v>
                </c:pt>
                <c:pt idx="317">
                  <c:v>44602.5</c:v>
                </c:pt>
                <c:pt idx="318">
                  <c:v>#N/A</c:v>
                </c:pt>
                <c:pt idx="319">
                  <c:v>#N/A</c:v>
                </c:pt>
                <c:pt idx="320">
                  <c:v>#N/A</c:v>
                </c:pt>
                <c:pt idx="321">
                  <c:v>#N/A</c:v>
                </c:pt>
                <c:pt idx="322">
                  <c:v>#N/A</c:v>
                </c:pt>
                <c:pt idx="323">
                  <c:v>#N/A</c:v>
                </c:pt>
                <c:pt idx="324">
                  <c:v>45202.5</c:v>
                </c:pt>
                <c:pt idx="325">
                  <c:v>#N/A</c:v>
                </c:pt>
                <c:pt idx="326">
                  <c:v>#N/A</c:v>
                </c:pt>
                <c:pt idx="327">
                  <c:v>#N/A</c:v>
                </c:pt>
                <c:pt idx="328">
                  <c:v>#N/A</c:v>
                </c:pt>
                <c:pt idx="329">
                  <c:v>#N/A</c:v>
                </c:pt>
                <c:pt idx="330">
                  <c:v>#N/A</c:v>
                </c:pt>
                <c:pt idx="331">
                  <c:v>45402.5</c:v>
                </c:pt>
                <c:pt idx="332">
                  <c:v>#N/A</c:v>
                </c:pt>
                <c:pt idx="333">
                  <c:v>#N/A</c:v>
                </c:pt>
                <c:pt idx="334">
                  <c:v>#N/A</c:v>
                </c:pt>
                <c:pt idx="335">
                  <c:v>#N/A</c:v>
                </c:pt>
                <c:pt idx="336">
                  <c:v>#N/A</c:v>
                </c:pt>
                <c:pt idx="337">
                  <c:v>#N/A</c:v>
                </c:pt>
                <c:pt idx="338">
                  <c:v>45202.5</c:v>
                </c:pt>
                <c:pt idx="339">
                  <c:v>#N/A</c:v>
                </c:pt>
                <c:pt idx="340">
                  <c:v>#N/A</c:v>
                </c:pt>
                <c:pt idx="341">
                  <c:v>#N/A</c:v>
                </c:pt>
                <c:pt idx="342">
                  <c:v>#N/A</c:v>
                </c:pt>
                <c:pt idx="343">
                  <c:v>#N/A</c:v>
                </c:pt>
                <c:pt idx="344">
                  <c:v>#N/A</c:v>
                </c:pt>
                <c:pt idx="345">
                  <c:v>45202.5</c:v>
                </c:pt>
                <c:pt idx="346">
                  <c:v>#N/A</c:v>
                </c:pt>
                <c:pt idx="347">
                  <c:v>#N/A</c:v>
                </c:pt>
                <c:pt idx="348">
                  <c:v>#N/A</c:v>
                </c:pt>
                <c:pt idx="349">
                  <c:v>#N/A</c:v>
                </c:pt>
                <c:pt idx="350">
                  <c:v>#N/A</c:v>
                </c:pt>
                <c:pt idx="351">
                  <c:v>#N/A</c:v>
                </c:pt>
                <c:pt idx="352">
                  <c:v>45502.5</c:v>
                </c:pt>
                <c:pt idx="353">
                  <c:v>#N/A</c:v>
                </c:pt>
                <c:pt idx="354">
                  <c:v>#N/A</c:v>
                </c:pt>
                <c:pt idx="355">
                  <c:v>#N/A</c:v>
                </c:pt>
                <c:pt idx="356">
                  <c:v>#N/A</c:v>
                </c:pt>
                <c:pt idx="357">
                  <c:v>#N/A</c:v>
                </c:pt>
                <c:pt idx="358">
                  <c:v>#N/A</c:v>
                </c:pt>
                <c:pt idx="359">
                  <c:v>46177.5</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0-F932-4917-98D5-5255F485518C}"/>
            </c:ext>
          </c:extLst>
        </c:ser>
        <c:ser>
          <c:idx val="1"/>
          <c:order val="1"/>
          <c:tx>
            <c:strRef>
              <c:f>金属硅周度图表!$J$3</c:f>
              <c:strCache>
                <c:ptCount val="1"/>
                <c:pt idx="0">
                  <c:v>2021</c:v>
                </c:pt>
              </c:strCache>
            </c:strRef>
          </c:tx>
          <c:spPr>
            <a:ln w="19050" cap="rnd">
              <a:solidFill>
                <a:schemeClr val="accent5">
                  <a:lumMod val="60000"/>
                  <a:lumOff val="40000"/>
                </a:schemeClr>
              </a:solidFill>
              <a:round/>
            </a:ln>
            <a:effectLst/>
          </c:spPr>
          <c:marker>
            <c:symbol val="none"/>
          </c:marker>
          <c:cat>
            <c:strRef>
              <c:f>金属硅周度图表!$H$4:$H$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J$4:$J$369</c:f>
              <c:numCache>
                <c:formatCode>General</c:formatCode>
                <c:ptCount val="366"/>
                <c:pt idx="0">
                  <c:v>46177.5</c:v>
                </c:pt>
                <c:pt idx="1">
                  <c:v>#N/A</c:v>
                </c:pt>
                <c:pt idx="2">
                  <c:v>#N/A</c:v>
                </c:pt>
                <c:pt idx="3">
                  <c:v>#N/A</c:v>
                </c:pt>
                <c:pt idx="4">
                  <c:v>#N/A</c:v>
                </c:pt>
                <c:pt idx="5">
                  <c:v>#N/A</c:v>
                </c:pt>
                <c:pt idx="6">
                  <c:v>#N/A</c:v>
                </c:pt>
                <c:pt idx="7">
                  <c:v>44777.5</c:v>
                </c:pt>
                <c:pt idx="8">
                  <c:v>#N/A</c:v>
                </c:pt>
                <c:pt idx="9">
                  <c:v>#N/A</c:v>
                </c:pt>
                <c:pt idx="10">
                  <c:v>#N/A</c:v>
                </c:pt>
                <c:pt idx="11">
                  <c:v>#N/A</c:v>
                </c:pt>
                <c:pt idx="12">
                  <c:v>#N/A</c:v>
                </c:pt>
                <c:pt idx="13">
                  <c:v>#N/A</c:v>
                </c:pt>
                <c:pt idx="14">
                  <c:v>41577.5</c:v>
                </c:pt>
                <c:pt idx="15">
                  <c:v>#N/A</c:v>
                </c:pt>
                <c:pt idx="16">
                  <c:v>#N/A</c:v>
                </c:pt>
                <c:pt idx="17">
                  <c:v>#N/A</c:v>
                </c:pt>
                <c:pt idx="18">
                  <c:v>#N/A</c:v>
                </c:pt>
                <c:pt idx="19">
                  <c:v>#N/A</c:v>
                </c:pt>
                <c:pt idx="20">
                  <c:v>#N/A</c:v>
                </c:pt>
                <c:pt idx="21">
                  <c:v>41577.5</c:v>
                </c:pt>
                <c:pt idx="22">
                  <c:v>#N/A</c:v>
                </c:pt>
                <c:pt idx="23">
                  <c:v>#N/A</c:v>
                </c:pt>
                <c:pt idx="24">
                  <c:v>#N/A</c:v>
                </c:pt>
                <c:pt idx="25">
                  <c:v>#N/A</c:v>
                </c:pt>
                <c:pt idx="26">
                  <c:v>#N/A</c:v>
                </c:pt>
                <c:pt idx="27">
                  <c:v>#N/A</c:v>
                </c:pt>
                <c:pt idx="28">
                  <c:v>45055</c:v>
                </c:pt>
                <c:pt idx="29">
                  <c:v>#N/A</c:v>
                </c:pt>
                <c:pt idx="30">
                  <c:v>#N/A</c:v>
                </c:pt>
                <c:pt idx="31">
                  <c:v>#N/A</c:v>
                </c:pt>
                <c:pt idx="32">
                  <c:v>#N/A</c:v>
                </c:pt>
                <c:pt idx="33">
                  <c:v>#N/A</c:v>
                </c:pt>
                <c:pt idx="34">
                  <c:v>#N/A</c:v>
                </c:pt>
                <c:pt idx="35">
                  <c:v>45055</c:v>
                </c:pt>
                <c:pt idx="36">
                  <c:v>#N/A</c:v>
                </c:pt>
                <c:pt idx="37">
                  <c:v>#N/A</c:v>
                </c:pt>
                <c:pt idx="38">
                  <c:v>#N/A</c:v>
                </c:pt>
                <c:pt idx="39">
                  <c:v>#N/A</c:v>
                </c:pt>
                <c:pt idx="40">
                  <c:v>#N/A</c:v>
                </c:pt>
                <c:pt idx="41">
                  <c:v>#N/A</c:v>
                </c:pt>
                <c:pt idx="42">
                  <c:v>43605</c:v>
                </c:pt>
                <c:pt idx="43">
                  <c:v>#N/A</c:v>
                </c:pt>
                <c:pt idx="44">
                  <c:v>#N/A</c:v>
                </c:pt>
                <c:pt idx="45">
                  <c:v>#N/A</c:v>
                </c:pt>
                <c:pt idx="46">
                  <c:v>#N/A</c:v>
                </c:pt>
                <c:pt idx="47">
                  <c:v>#N/A</c:v>
                </c:pt>
                <c:pt idx="48">
                  <c:v>#N/A</c:v>
                </c:pt>
                <c:pt idx="49">
                  <c:v>43535</c:v>
                </c:pt>
                <c:pt idx="50">
                  <c:v>#N/A</c:v>
                </c:pt>
                <c:pt idx="51">
                  <c:v>#N/A</c:v>
                </c:pt>
                <c:pt idx="52">
                  <c:v>#N/A</c:v>
                </c:pt>
                <c:pt idx="53">
                  <c:v>#N/A</c:v>
                </c:pt>
                <c:pt idx="54">
                  <c:v>#N/A</c:v>
                </c:pt>
                <c:pt idx="55">
                  <c:v>#N/A</c:v>
                </c:pt>
                <c:pt idx="56">
                  <c:v>44835</c:v>
                </c:pt>
                <c:pt idx="57">
                  <c:v>#N/A</c:v>
                </c:pt>
                <c:pt idx="58">
                  <c:v>#N/A</c:v>
                </c:pt>
                <c:pt idx="60">
                  <c:v>#N/A</c:v>
                </c:pt>
                <c:pt idx="61">
                  <c:v>#N/A</c:v>
                </c:pt>
                <c:pt idx="62">
                  <c:v>#N/A</c:v>
                </c:pt>
                <c:pt idx="63">
                  <c:v>#N/A</c:v>
                </c:pt>
                <c:pt idx="64">
                  <c:v>45135</c:v>
                </c:pt>
                <c:pt idx="65">
                  <c:v>#N/A</c:v>
                </c:pt>
                <c:pt idx="66">
                  <c:v>#N/A</c:v>
                </c:pt>
                <c:pt idx="67">
                  <c:v>#N/A</c:v>
                </c:pt>
                <c:pt idx="68">
                  <c:v>#N/A</c:v>
                </c:pt>
                <c:pt idx="69">
                  <c:v>#N/A</c:v>
                </c:pt>
                <c:pt idx="70">
                  <c:v>#N/A</c:v>
                </c:pt>
                <c:pt idx="71">
                  <c:v>44985</c:v>
                </c:pt>
                <c:pt idx="72">
                  <c:v>#N/A</c:v>
                </c:pt>
                <c:pt idx="73">
                  <c:v>#N/A</c:v>
                </c:pt>
                <c:pt idx="74">
                  <c:v>#N/A</c:v>
                </c:pt>
                <c:pt idx="75">
                  <c:v>#N/A</c:v>
                </c:pt>
                <c:pt idx="76">
                  <c:v>#N/A</c:v>
                </c:pt>
                <c:pt idx="77">
                  <c:v>#N/A</c:v>
                </c:pt>
                <c:pt idx="78">
                  <c:v>45185</c:v>
                </c:pt>
                <c:pt idx="79">
                  <c:v>#N/A</c:v>
                </c:pt>
                <c:pt idx="80">
                  <c:v>#N/A</c:v>
                </c:pt>
                <c:pt idx="81">
                  <c:v>#N/A</c:v>
                </c:pt>
                <c:pt idx="82">
                  <c:v>#N/A</c:v>
                </c:pt>
                <c:pt idx="83">
                  <c:v>#N/A</c:v>
                </c:pt>
                <c:pt idx="84">
                  <c:v>#N/A</c:v>
                </c:pt>
                <c:pt idx="85">
                  <c:v>44985</c:v>
                </c:pt>
                <c:pt idx="86">
                  <c:v>#N/A</c:v>
                </c:pt>
                <c:pt idx="87">
                  <c:v>#N/A</c:v>
                </c:pt>
                <c:pt idx="88">
                  <c:v>#N/A</c:v>
                </c:pt>
                <c:pt idx="89">
                  <c:v>#N/A</c:v>
                </c:pt>
                <c:pt idx="90">
                  <c:v>#N/A</c:v>
                </c:pt>
                <c:pt idx="91">
                  <c:v>#N/A</c:v>
                </c:pt>
                <c:pt idx="92">
                  <c:v>44585</c:v>
                </c:pt>
                <c:pt idx="93">
                  <c:v>#N/A</c:v>
                </c:pt>
                <c:pt idx="94">
                  <c:v>#N/A</c:v>
                </c:pt>
                <c:pt idx="95">
                  <c:v>#N/A</c:v>
                </c:pt>
                <c:pt idx="96">
                  <c:v>#N/A</c:v>
                </c:pt>
                <c:pt idx="97">
                  <c:v>#N/A</c:v>
                </c:pt>
                <c:pt idx="98">
                  <c:v>#N/A</c:v>
                </c:pt>
                <c:pt idx="99">
                  <c:v>44585</c:v>
                </c:pt>
                <c:pt idx="100">
                  <c:v>#N/A</c:v>
                </c:pt>
                <c:pt idx="101">
                  <c:v>#N/A</c:v>
                </c:pt>
                <c:pt idx="102">
                  <c:v>#N/A</c:v>
                </c:pt>
                <c:pt idx="103">
                  <c:v>#N/A</c:v>
                </c:pt>
                <c:pt idx="104">
                  <c:v>#N/A</c:v>
                </c:pt>
                <c:pt idx="105">
                  <c:v>#N/A</c:v>
                </c:pt>
                <c:pt idx="106">
                  <c:v>46345</c:v>
                </c:pt>
                <c:pt idx="107">
                  <c:v>#N/A</c:v>
                </c:pt>
                <c:pt idx="108">
                  <c:v>#N/A</c:v>
                </c:pt>
                <c:pt idx="109">
                  <c:v>#N/A</c:v>
                </c:pt>
                <c:pt idx="110">
                  <c:v>#N/A</c:v>
                </c:pt>
                <c:pt idx="111">
                  <c:v>#N/A</c:v>
                </c:pt>
                <c:pt idx="112">
                  <c:v>#N/A</c:v>
                </c:pt>
                <c:pt idx="113">
                  <c:v>46305</c:v>
                </c:pt>
                <c:pt idx="114">
                  <c:v>#N/A</c:v>
                </c:pt>
                <c:pt idx="115">
                  <c:v>#N/A</c:v>
                </c:pt>
                <c:pt idx="116">
                  <c:v>#N/A</c:v>
                </c:pt>
                <c:pt idx="117">
                  <c:v>#N/A</c:v>
                </c:pt>
                <c:pt idx="118">
                  <c:v>#N/A</c:v>
                </c:pt>
                <c:pt idx="119">
                  <c:v>#N/A</c:v>
                </c:pt>
                <c:pt idx="120">
                  <c:v>46455</c:v>
                </c:pt>
                <c:pt idx="121">
                  <c:v>#N/A</c:v>
                </c:pt>
                <c:pt idx="122">
                  <c:v>#N/A</c:v>
                </c:pt>
                <c:pt idx="123">
                  <c:v>#N/A</c:v>
                </c:pt>
                <c:pt idx="124">
                  <c:v>#N/A</c:v>
                </c:pt>
                <c:pt idx="125">
                  <c:v>#N/A</c:v>
                </c:pt>
                <c:pt idx="126">
                  <c:v>#N/A</c:v>
                </c:pt>
                <c:pt idx="127">
                  <c:v>46455</c:v>
                </c:pt>
                <c:pt idx="128">
                  <c:v>#N/A</c:v>
                </c:pt>
                <c:pt idx="129">
                  <c:v>#N/A</c:v>
                </c:pt>
                <c:pt idx="130">
                  <c:v>#N/A</c:v>
                </c:pt>
                <c:pt idx="131">
                  <c:v>#N/A</c:v>
                </c:pt>
                <c:pt idx="132">
                  <c:v>#N/A</c:v>
                </c:pt>
                <c:pt idx="133">
                  <c:v>#N/A</c:v>
                </c:pt>
                <c:pt idx="134">
                  <c:v>46455</c:v>
                </c:pt>
                <c:pt idx="135">
                  <c:v>#N/A</c:v>
                </c:pt>
                <c:pt idx="136">
                  <c:v>#N/A</c:v>
                </c:pt>
                <c:pt idx="137">
                  <c:v>#N/A</c:v>
                </c:pt>
                <c:pt idx="138">
                  <c:v>#N/A</c:v>
                </c:pt>
                <c:pt idx="139">
                  <c:v>#N/A</c:v>
                </c:pt>
                <c:pt idx="140">
                  <c:v>#N/A</c:v>
                </c:pt>
                <c:pt idx="141">
                  <c:v>44155</c:v>
                </c:pt>
                <c:pt idx="142">
                  <c:v>#N/A</c:v>
                </c:pt>
                <c:pt idx="143">
                  <c:v>#N/A</c:v>
                </c:pt>
                <c:pt idx="144">
                  <c:v>#N/A</c:v>
                </c:pt>
                <c:pt idx="145">
                  <c:v>#N/A</c:v>
                </c:pt>
                <c:pt idx="146">
                  <c:v>#N/A</c:v>
                </c:pt>
                <c:pt idx="147">
                  <c:v>#N/A</c:v>
                </c:pt>
                <c:pt idx="148">
                  <c:v>44155</c:v>
                </c:pt>
                <c:pt idx="149">
                  <c:v>#N/A</c:v>
                </c:pt>
                <c:pt idx="150">
                  <c:v>#N/A</c:v>
                </c:pt>
                <c:pt idx="151">
                  <c:v>#N/A</c:v>
                </c:pt>
                <c:pt idx="152">
                  <c:v>#N/A</c:v>
                </c:pt>
                <c:pt idx="153">
                  <c:v>#N/A</c:v>
                </c:pt>
                <c:pt idx="154">
                  <c:v>#N/A</c:v>
                </c:pt>
                <c:pt idx="155">
                  <c:v>43205</c:v>
                </c:pt>
                <c:pt idx="156">
                  <c:v>#N/A</c:v>
                </c:pt>
                <c:pt idx="157">
                  <c:v>#N/A</c:v>
                </c:pt>
                <c:pt idx="158">
                  <c:v>#N/A</c:v>
                </c:pt>
                <c:pt idx="159">
                  <c:v>#N/A</c:v>
                </c:pt>
                <c:pt idx="160">
                  <c:v>#N/A</c:v>
                </c:pt>
                <c:pt idx="161">
                  <c:v>#N/A</c:v>
                </c:pt>
                <c:pt idx="162">
                  <c:v>41130</c:v>
                </c:pt>
                <c:pt idx="163">
                  <c:v>#N/A</c:v>
                </c:pt>
                <c:pt idx="164">
                  <c:v>#N/A</c:v>
                </c:pt>
                <c:pt idx="165">
                  <c:v>#N/A</c:v>
                </c:pt>
                <c:pt idx="166">
                  <c:v>#N/A</c:v>
                </c:pt>
                <c:pt idx="167">
                  <c:v>#N/A</c:v>
                </c:pt>
                <c:pt idx="168">
                  <c:v>#N/A</c:v>
                </c:pt>
                <c:pt idx="169">
                  <c:v>41130</c:v>
                </c:pt>
                <c:pt idx="170">
                  <c:v>#N/A</c:v>
                </c:pt>
                <c:pt idx="171">
                  <c:v>#N/A</c:v>
                </c:pt>
                <c:pt idx="172">
                  <c:v>#N/A</c:v>
                </c:pt>
                <c:pt idx="173">
                  <c:v>#N/A</c:v>
                </c:pt>
                <c:pt idx="174">
                  <c:v>#N/A</c:v>
                </c:pt>
                <c:pt idx="175">
                  <c:v>#N/A</c:v>
                </c:pt>
                <c:pt idx="176">
                  <c:v>48630</c:v>
                </c:pt>
                <c:pt idx="177">
                  <c:v>#N/A</c:v>
                </c:pt>
                <c:pt idx="178">
                  <c:v>#N/A</c:v>
                </c:pt>
                <c:pt idx="179">
                  <c:v>#N/A</c:v>
                </c:pt>
                <c:pt idx="180">
                  <c:v>#N/A</c:v>
                </c:pt>
                <c:pt idx="181">
                  <c:v>#N/A</c:v>
                </c:pt>
                <c:pt idx="182">
                  <c:v>#N/A</c:v>
                </c:pt>
                <c:pt idx="183">
                  <c:v>52020</c:v>
                </c:pt>
                <c:pt idx="184">
                  <c:v>#N/A</c:v>
                </c:pt>
                <c:pt idx="185">
                  <c:v>#N/A</c:v>
                </c:pt>
                <c:pt idx="186">
                  <c:v>#N/A</c:v>
                </c:pt>
                <c:pt idx="187">
                  <c:v>#N/A</c:v>
                </c:pt>
                <c:pt idx="188">
                  <c:v>#N/A</c:v>
                </c:pt>
                <c:pt idx="189">
                  <c:v>#N/A</c:v>
                </c:pt>
                <c:pt idx="190">
                  <c:v>54670</c:v>
                </c:pt>
                <c:pt idx="191">
                  <c:v>#N/A</c:v>
                </c:pt>
                <c:pt idx="192">
                  <c:v>#N/A</c:v>
                </c:pt>
                <c:pt idx="193">
                  <c:v>#N/A</c:v>
                </c:pt>
                <c:pt idx="194">
                  <c:v>#N/A</c:v>
                </c:pt>
                <c:pt idx="195">
                  <c:v>#N/A</c:v>
                </c:pt>
                <c:pt idx="196">
                  <c:v>#N/A</c:v>
                </c:pt>
                <c:pt idx="197">
                  <c:v>55070</c:v>
                </c:pt>
                <c:pt idx="198">
                  <c:v>#N/A</c:v>
                </c:pt>
                <c:pt idx="199">
                  <c:v>#N/A</c:v>
                </c:pt>
                <c:pt idx="200">
                  <c:v>#N/A</c:v>
                </c:pt>
                <c:pt idx="201">
                  <c:v>#N/A</c:v>
                </c:pt>
                <c:pt idx="202">
                  <c:v>#N/A</c:v>
                </c:pt>
                <c:pt idx="203">
                  <c:v>#N/A</c:v>
                </c:pt>
                <c:pt idx="204">
                  <c:v>53570</c:v>
                </c:pt>
                <c:pt idx="205">
                  <c:v>#N/A</c:v>
                </c:pt>
                <c:pt idx="206">
                  <c:v>#N/A</c:v>
                </c:pt>
                <c:pt idx="207">
                  <c:v>#N/A</c:v>
                </c:pt>
                <c:pt idx="208">
                  <c:v>#N/A</c:v>
                </c:pt>
                <c:pt idx="209">
                  <c:v>#N/A</c:v>
                </c:pt>
                <c:pt idx="210">
                  <c:v>#N/A</c:v>
                </c:pt>
                <c:pt idx="211">
                  <c:v>53620</c:v>
                </c:pt>
                <c:pt idx="212">
                  <c:v>#N/A</c:v>
                </c:pt>
                <c:pt idx="213">
                  <c:v>#N/A</c:v>
                </c:pt>
                <c:pt idx="214">
                  <c:v>#N/A</c:v>
                </c:pt>
                <c:pt idx="215">
                  <c:v>#N/A</c:v>
                </c:pt>
                <c:pt idx="216">
                  <c:v>#N/A</c:v>
                </c:pt>
                <c:pt idx="217">
                  <c:v>#N/A</c:v>
                </c:pt>
                <c:pt idx="218">
                  <c:v>52060</c:v>
                </c:pt>
                <c:pt idx="219">
                  <c:v>#N/A</c:v>
                </c:pt>
                <c:pt idx="220">
                  <c:v>#N/A</c:v>
                </c:pt>
                <c:pt idx="221">
                  <c:v>#N/A</c:v>
                </c:pt>
                <c:pt idx="222">
                  <c:v>#N/A</c:v>
                </c:pt>
                <c:pt idx="223">
                  <c:v>#N/A</c:v>
                </c:pt>
                <c:pt idx="224">
                  <c:v>#N/A</c:v>
                </c:pt>
                <c:pt idx="225">
                  <c:v>52060</c:v>
                </c:pt>
                <c:pt idx="226">
                  <c:v>#N/A</c:v>
                </c:pt>
                <c:pt idx="227">
                  <c:v>#N/A</c:v>
                </c:pt>
                <c:pt idx="228">
                  <c:v>#N/A</c:v>
                </c:pt>
                <c:pt idx="229">
                  <c:v>#N/A</c:v>
                </c:pt>
                <c:pt idx="230">
                  <c:v>#N/A</c:v>
                </c:pt>
                <c:pt idx="231">
                  <c:v>#N/A</c:v>
                </c:pt>
                <c:pt idx="232">
                  <c:v>52110</c:v>
                </c:pt>
                <c:pt idx="233">
                  <c:v>#N/A</c:v>
                </c:pt>
                <c:pt idx="234">
                  <c:v>#N/A</c:v>
                </c:pt>
                <c:pt idx="235">
                  <c:v>#N/A</c:v>
                </c:pt>
                <c:pt idx="236">
                  <c:v>#N/A</c:v>
                </c:pt>
                <c:pt idx="237">
                  <c:v>#N/A</c:v>
                </c:pt>
                <c:pt idx="238">
                  <c:v>#N/A</c:v>
                </c:pt>
                <c:pt idx="239">
                  <c:v>53960</c:v>
                </c:pt>
                <c:pt idx="240">
                  <c:v>#N/A</c:v>
                </c:pt>
                <c:pt idx="241">
                  <c:v>#N/A</c:v>
                </c:pt>
                <c:pt idx="242">
                  <c:v>#N/A</c:v>
                </c:pt>
                <c:pt idx="243">
                  <c:v>#N/A</c:v>
                </c:pt>
                <c:pt idx="244">
                  <c:v>#N/A</c:v>
                </c:pt>
                <c:pt idx="245">
                  <c:v>#N/A</c:v>
                </c:pt>
                <c:pt idx="246">
                  <c:v>53960</c:v>
                </c:pt>
                <c:pt idx="247">
                  <c:v>#N/A</c:v>
                </c:pt>
                <c:pt idx="248">
                  <c:v>#N/A</c:v>
                </c:pt>
                <c:pt idx="249">
                  <c:v>#N/A</c:v>
                </c:pt>
                <c:pt idx="250">
                  <c:v>#N/A</c:v>
                </c:pt>
                <c:pt idx="251">
                  <c:v>#N/A</c:v>
                </c:pt>
                <c:pt idx="252">
                  <c:v>#N/A</c:v>
                </c:pt>
                <c:pt idx="253">
                  <c:v>54725</c:v>
                </c:pt>
                <c:pt idx="254">
                  <c:v>#N/A</c:v>
                </c:pt>
                <c:pt idx="255">
                  <c:v>#N/A</c:v>
                </c:pt>
                <c:pt idx="256">
                  <c:v>#N/A</c:v>
                </c:pt>
                <c:pt idx="257">
                  <c:v>#N/A</c:v>
                </c:pt>
                <c:pt idx="258">
                  <c:v>#N/A</c:v>
                </c:pt>
                <c:pt idx="259">
                  <c:v>#N/A</c:v>
                </c:pt>
                <c:pt idx="260">
                  <c:v>54725</c:v>
                </c:pt>
                <c:pt idx="261">
                  <c:v>#N/A</c:v>
                </c:pt>
                <c:pt idx="262">
                  <c:v>#N/A</c:v>
                </c:pt>
                <c:pt idx="263">
                  <c:v>#N/A</c:v>
                </c:pt>
                <c:pt idx="264">
                  <c:v>#N/A</c:v>
                </c:pt>
                <c:pt idx="265">
                  <c:v>#N/A</c:v>
                </c:pt>
                <c:pt idx="266">
                  <c:v>#N/A</c:v>
                </c:pt>
                <c:pt idx="267">
                  <c:v>50180</c:v>
                </c:pt>
                <c:pt idx="268">
                  <c:v>#N/A</c:v>
                </c:pt>
                <c:pt idx="269">
                  <c:v>#N/A</c:v>
                </c:pt>
                <c:pt idx="270">
                  <c:v>#N/A</c:v>
                </c:pt>
                <c:pt idx="271">
                  <c:v>#N/A</c:v>
                </c:pt>
                <c:pt idx="272">
                  <c:v>#N/A</c:v>
                </c:pt>
                <c:pt idx="273">
                  <c:v>#N/A</c:v>
                </c:pt>
                <c:pt idx="274">
                  <c:v>49780</c:v>
                </c:pt>
                <c:pt idx="275">
                  <c:v>#N/A</c:v>
                </c:pt>
                <c:pt idx="276">
                  <c:v>#N/A</c:v>
                </c:pt>
                <c:pt idx="277">
                  <c:v>#N/A</c:v>
                </c:pt>
                <c:pt idx="278">
                  <c:v>#N/A</c:v>
                </c:pt>
                <c:pt idx="279">
                  <c:v>#N/A</c:v>
                </c:pt>
                <c:pt idx="280">
                  <c:v>#N/A</c:v>
                </c:pt>
                <c:pt idx="281">
                  <c:v>52455</c:v>
                </c:pt>
                <c:pt idx="282">
                  <c:v>#N/A</c:v>
                </c:pt>
                <c:pt idx="283">
                  <c:v>#N/A</c:v>
                </c:pt>
                <c:pt idx="284">
                  <c:v>#N/A</c:v>
                </c:pt>
                <c:pt idx="285">
                  <c:v>#N/A</c:v>
                </c:pt>
                <c:pt idx="286">
                  <c:v>#N/A</c:v>
                </c:pt>
                <c:pt idx="287">
                  <c:v>#N/A</c:v>
                </c:pt>
                <c:pt idx="288">
                  <c:v>52370</c:v>
                </c:pt>
                <c:pt idx="289">
                  <c:v>#N/A</c:v>
                </c:pt>
                <c:pt idx="290">
                  <c:v>#N/A</c:v>
                </c:pt>
                <c:pt idx="291">
                  <c:v>#N/A</c:v>
                </c:pt>
                <c:pt idx="292">
                  <c:v>#N/A</c:v>
                </c:pt>
                <c:pt idx="293">
                  <c:v>#N/A</c:v>
                </c:pt>
                <c:pt idx="294">
                  <c:v>#N/A</c:v>
                </c:pt>
                <c:pt idx="295">
                  <c:v>51240</c:v>
                </c:pt>
                <c:pt idx="296">
                  <c:v>#N/A</c:v>
                </c:pt>
                <c:pt idx="297">
                  <c:v>#N/A</c:v>
                </c:pt>
                <c:pt idx="298">
                  <c:v>#N/A</c:v>
                </c:pt>
                <c:pt idx="299">
                  <c:v>#N/A</c:v>
                </c:pt>
                <c:pt idx="300">
                  <c:v>#N/A</c:v>
                </c:pt>
                <c:pt idx="301">
                  <c:v>#N/A</c:v>
                </c:pt>
                <c:pt idx="302">
                  <c:v>53400</c:v>
                </c:pt>
                <c:pt idx="303">
                  <c:v>#N/A</c:v>
                </c:pt>
                <c:pt idx="304">
                  <c:v>#N/A</c:v>
                </c:pt>
                <c:pt idx="305">
                  <c:v>#N/A</c:v>
                </c:pt>
                <c:pt idx="306">
                  <c:v>#N/A</c:v>
                </c:pt>
                <c:pt idx="307">
                  <c:v>#N/A</c:v>
                </c:pt>
                <c:pt idx="308">
                  <c:v>#N/A</c:v>
                </c:pt>
                <c:pt idx="309">
                  <c:v>54000</c:v>
                </c:pt>
                <c:pt idx="310">
                  <c:v>#N/A</c:v>
                </c:pt>
                <c:pt idx="311">
                  <c:v>#N/A</c:v>
                </c:pt>
                <c:pt idx="312">
                  <c:v>#N/A</c:v>
                </c:pt>
                <c:pt idx="313">
                  <c:v>#N/A</c:v>
                </c:pt>
                <c:pt idx="314">
                  <c:v>#N/A</c:v>
                </c:pt>
                <c:pt idx="315">
                  <c:v>#N/A</c:v>
                </c:pt>
                <c:pt idx="316">
                  <c:v>54235</c:v>
                </c:pt>
                <c:pt idx="317">
                  <c:v>#N/A</c:v>
                </c:pt>
                <c:pt idx="318">
                  <c:v>#N/A</c:v>
                </c:pt>
                <c:pt idx="319">
                  <c:v>#N/A</c:v>
                </c:pt>
                <c:pt idx="320">
                  <c:v>#N/A</c:v>
                </c:pt>
                <c:pt idx="321">
                  <c:v>#N/A</c:v>
                </c:pt>
                <c:pt idx="322">
                  <c:v>#N/A</c:v>
                </c:pt>
                <c:pt idx="323">
                  <c:v>54235</c:v>
                </c:pt>
                <c:pt idx="324">
                  <c:v>#N/A</c:v>
                </c:pt>
                <c:pt idx="325">
                  <c:v>#N/A</c:v>
                </c:pt>
                <c:pt idx="326">
                  <c:v>#N/A</c:v>
                </c:pt>
                <c:pt idx="327">
                  <c:v>#N/A</c:v>
                </c:pt>
                <c:pt idx="328">
                  <c:v>#N/A</c:v>
                </c:pt>
                <c:pt idx="329">
                  <c:v>#N/A</c:v>
                </c:pt>
                <c:pt idx="330">
                  <c:v>53695</c:v>
                </c:pt>
                <c:pt idx="331">
                  <c:v>#N/A</c:v>
                </c:pt>
                <c:pt idx="332">
                  <c:v>#N/A</c:v>
                </c:pt>
                <c:pt idx="333">
                  <c:v>#N/A</c:v>
                </c:pt>
                <c:pt idx="334">
                  <c:v>#N/A</c:v>
                </c:pt>
                <c:pt idx="335">
                  <c:v>#N/A</c:v>
                </c:pt>
                <c:pt idx="336">
                  <c:v>#N/A</c:v>
                </c:pt>
                <c:pt idx="337">
                  <c:v>53695</c:v>
                </c:pt>
                <c:pt idx="338">
                  <c:v>#N/A</c:v>
                </c:pt>
                <c:pt idx="339">
                  <c:v>#N/A</c:v>
                </c:pt>
                <c:pt idx="340">
                  <c:v>#N/A</c:v>
                </c:pt>
                <c:pt idx="341">
                  <c:v>#N/A</c:v>
                </c:pt>
                <c:pt idx="342">
                  <c:v>#N/A</c:v>
                </c:pt>
                <c:pt idx="343">
                  <c:v>#N/A</c:v>
                </c:pt>
                <c:pt idx="344">
                  <c:v>53095</c:v>
                </c:pt>
                <c:pt idx="345">
                  <c:v>#N/A</c:v>
                </c:pt>
                <c:pt idx="346">
                  <c:v>#N/A</c:v>
                </c:pt>
                <c:pt idx="347">
                  <c:v>#N/A</c:v>
                </c:pt>
                <c:pt idx="348">
                  <c:v>#N/A</c:v>
                </c:pt>
                <c:pt idx="349">
                  <c:v>#N/A</c:v>
                </c:pt>
                <c:pt idx="350">
                  <c:v>#N/A</c:v>
                </c:pt>
                <c:pt idx="351">
                  <c:v>52495</c:v>
                </c:pt>
                <c:pt idx="352">
                  <c:v>#N/A</c:v>
                </c:pt>
                <c:pt idx="353">
                  <c:v>#N/A</c:v>
                </c:pt>
                <c:pt idx="354">
                  <c:v>#N/A</c:v>
                </c:pt>
                <c:pt idx="355">
                  <c:v>#N/A</c:v>
                </c:pt>
                <c:pt idx="356">
                  <c:v>#N/A</c:v>
                </c:pt>
                <c:pt idx="357">
                  <c:v>#N/A</c:v>
                </c:pt>
                <c:pt idx="358">
                  <c:v>52675</c:v>
                </c:pt>
                <c:pt idx="359">
                  <c:v>#N/A</c:v>
                </c:pt>
                <c:pt idx="360">
                  <c:v>#N/A</c:v>
                </c:pt>
                <c:pt idx="361">
                  <c:v>#N/A</c:v>
                </c:pt>
                <c:pt idx="362">
                  <c:v>#N/A</c:v>
                </c:pt>
                <c:pt idx="363">
                  <c:v>#N/A</c:v>
                </c:pt>
                <c:pt idx="364">
                  <c:v>#N/A</c:v>
                </c:pt>
                <c:pt idx="365">
                  <c:v>52175</c:v>
                </c:pt>
              </c:numCache>
            </c:numRef>
          </c:val>
          <c:smooth val="0"/>
          <c:extLst>
            <c:ext xmlns:c16="http://schemas.microsoft.com/office/drawing/2014/chart" uri="{C3380CC4-5D6E-409C-BE32-E72D297353CC}">
              <c16:uniqueId val="{00000001-F932-4917-98D5-5255F485518C}"/>
            </c:ext>
          </c:extLst>
        </c:ser>
        <c:ser>
          <c:idx val="2"/>
          <c:order val="2"/>
          <c:tx>
            <c:strRef>
              <c:f>金属硅周度图表!$K$3</c:f>
              <c:strCache>
                <c:ptCount val="1"/>
                <c:pt idx="0">
                  <c:v>2022</c:v>
                </c:pt>
              </c:strCache>
            </c:strRef>
          </c:tx>
          <c:spPr>
            <a:ln w="19050" cap="rnd">
              <a:solidFill>
                <a:schemeClr val="bg1">
                  <a:lumMod val="65000"/>
                  <a:alpha val="60000"/>
                </a:schemeClr>
              </a:solidFill>
              <a:round/>
            </a:ln>
            <a:effectLst/>
          </c:spPr>
          <c:marker>
            <c:symbol val="none"/>
          </c:marker>
          <c:cat>
            <c:strRef>
              <c:f>金属硅周度图表!$H$4:$H$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K$4:$K$369</c:f>
              <c:numCache>
                <c:formatCode>General</c:formatCode>
                <c:ptCount val="366"/>
                <c:pt idx="0">
                  <c:v>#N/A</c:v>
                </c:pt>
                <c:pt idx="1">
                  <c:v>#N/A</c:v>
                </c:pt>
                <c:pt idx="2">
                  <c:v>#N/A</c:v>
                </c:pt>
                <c:pt idx="3">
                  <c:v>#N/A</c:v>
                </c:pt>
                <c:pt idx="4">
                  <c:v>#N/A</c:v>
                </c:pt>
                <c:pt idx="5">
                  <c:v>#N/A</c:v>
                </c:pt>
                <c:pt idx="6">
                  <c:v>54675</c:v>
                </c:pt>
                <c:pt idx="7">
                  <c:v>#N/A</c:v>
                </c:pt>
                <c:pt idx="8">
                  <c:v>#N/A</c:v>
                </c:pt>
                <c:pt idx="9">
                  <c:v>#N/A</c:v>
                </c:pt>
                <c:pt idx="10">
                  <c:v>#N/A</c:v>
                </c:pt>
                <c:pt idx="11">
                  <c:v>#N/A</c:v>
                </c:pt>
                <c:pt idx="12">
                  <c:v>#N/A</c:v>
                </c:pt>
                <c:pt idx="13">
                  <c:v>54470</c:v>
                </c:pt>
                <c:pt idx="14">
                  <c:v>#N/A</c:v>
                </c:pt>
                <c:pt idx="15">
                  <c:v>#N/A</c:v>
                </c:pt>
                <c:pt idx="16">
                  <c:v>#N/A</c:v>
                </c:pt>
                <c:pt idx="17">
                  <c:v>#N/A</c:v>
                </c:pt>
                <c:pt idx="18">
                  <c:v>#N/A</c:v>
                </c:pt>
                <c:pt idx="19">
                  <c:v>#N/A</c:v>
                </c:pt>
                <c:pt idx="20">
                  <c:v>52145</c:v>
                </c:pt>
                <c:pt idx="21">
                  <c:v>#N/A</c:v>
                </c:pt>
                <c:pt idx="22">
                  <c:v>#N/A</c:v>
                </c:pt>
                <c:pt idx="23">
                  <c:v>#N/A</c:v>
                </c:pt>
                <c:pt idx="24">
                  <c:v>#N/A</c:v>
                </c:pt>
                <c:pt idx="25">
                  <c:v>#N/A</c:v>
                </c:pt>
                <c:pt idx="26">
                  <c:v>#N/A</c:v>
                </c:pt>
                <c:pt idx="27">
                  <c:v>51775</c:v>
                </c:pt>
                <c:pt idx="28">
                  <c:v>#N/A</c:v>
                </c:pt>
                <c:pt idx="29">
                  <c:v>#N/A</c:v>
                </c:pt>
                <c:pt idx="30">
                  <c:v>#N/A</c:v>
                </c:pt>
                <c:pt idx="31">
                  <c:v>#N/A</c:v>
                </c:pt>
                <c:pt idx="32">
                  <c:v>#N/A</c:v>
                </c:pt>
                <c:pt idx="33">
                  <c:v>#N/A</c:v>
                </c:pt>
                <c:pt idx="34">
                  <c:v>51775</c:v>
                </c:pt>
                <c:pt idx="35">
                  <c:v>#N/A</c:v>
                </c:pt>
                <c:pt idx="36">
                  <c:v>#N/A</c:v>
                </c:pt>
                <c:pt idx="37">
                  <c:v>#N/A</c:v>
                </c:pt>
                <c:pt idx="38">
                  <c:v>#N/A</c:v>
                </c:pt>
                <c:pt idx="39">
                  <c:v>#N/A</c:v>
                </c:pt>
                <c:pt idx="40">
                  <c:v>#N/A</c:v>
                </c:pt>
                <c:pt idx="41">
                  <c:v>51775</c:v>
                </c:pt>
                <c:pt idx="42">
                  <c:v>#N/A</c:v>
                </c:pt>
                <c:pt idx="43">
                  <c:v>#N/A</c:v>
                </c:pt>
                <c:pt idx="44">
                  <c:v>#N/A</c:v>
                </c:pt>
                <c:pt idx="45">
                  <c:v>#N/A</c:v>
                </c:pt>
                <c:pt idx="46">
                  <c:v>#N/A</c:v>
                </c:pt>
                <c:pt idx="47">
                  <c:v>#N/A</c:v>
                </c:pt>
                <c:pt idx="48">
                  <c:v>51575</c:v>
                </c:pt>
                <c:pt idx="49">
                  <c:v>#N/A</c:v>
                </c:pt>
                <c:pt idx="50">
                  <c:v>#N/A</c:v>
                </c:pt>
                <c:pt idx="51">
                  <c:v>#N/A</c:v>
                </c:pt>
                <c:pt idx="52">
                  <c:v>#N/A</c:v>
                </c:pt>
                <c:pt idx="53">
                  <c:v>#N/A</c:v>
                </c:pt>
                <c:pt idx="54">
                  <c:v>#N/A</c:v>
                </c:pt>
                <c:pt idx="55">
                  <c:v>50775</c:v>
                </c:pt>
                <c:pt idx="56">
                  <c:v>#N/A</c:v>
                </c:pt>
                <c:pt idx="57">
                  <c:v>#N/A</c:v>
                </c:pt>
                <c:pt idx="58">
                  <c:v>#N/A</c:v>
                </c:pt>
                <c:pt idx="60">
                  <c:v>#N/A</c:v>
                </c:pt>
                <c:pt idx="61">
                  <c:v>#N/A</c:v>
                </c:pt>
                <c:pt idx="62">
                  <c:v>#N/A</c:v>
                </c:pt>
                <c:pt idx="63">
                  <c:v>50775</c:v>
                </c:pt>
                <c:pt idx="64">
                  <c:v>#N/A</c:v>
                </c:pt>
                <c:pt idx="65">
                  <c:v>#N/A</c:v>
                </c:pt>
                <c:pt idx="66">
                  <c:v>#N/A</c:v>
                </c:pt>
                <c:pt idx="67">
                  <c:v>#N/A</c:v>
                </c:pt>
                <c:pt idx="68">
                  <c:v>#N/A</c:v>
                </c:pt>
                <c:pt idx="69">
                  <c:v>#N/A</c:v>
                </c:pt>
                <c:pt idx="70">
                  <c:v>50945</c:v>
                </c:pt>
                <c:pt idx="71">
                  <c:v>#N/A</c:v>
                </c:pt>
                <c:pt idx="72">
                  <c:v>#N/A</c:v>
                </c:pt>
                <c:pt idx="73">
                  <c:v>#N/A</c:v>
                </c:pt>
                <c:pt idx="74">
                  <c:v>#N/A</c:v>
                </c:pt>
                <c:pt idx="75">
                  <c:v>#N/A</c:v>
                </c:pt>
                <c:pt idx="76">
                  <c:v>#N/A</c:v>
                </c:pt>
                <c:pt idx="77">
                  <c:v>50945</c:v>
                </c:pt>
                <c:pt idx="78">
                  <c:v>#N/A</c:v>
                </c:pt>
                <c:pt idx="79">
                  <c:v>#N/A</c:v>
                </c:pt>
                <c:pt idx="80">
                  <c:v>#N/A</c:v>
                </c:pt>
                <c:pt idx="81">
                  <c:v>#N/A</c:v>
                </c:pt>
                <c:pt idx="82">
                  <c:v>#N/A</c:v>
                </c:pt>
                <c:pt idx="83">
                  <c:v>#N/A</c:v>
                </c:pt>
                <c:pt idx="84">
                  <c:v>49695</c:v>
                </c:pt>
                <c:pt idx="85">
                  <c:v>#N/A</c:v>
                </c:pt>
                <c:pt idx="86">
                  <c:v>#N/A</c:v>
                </c:pt>
                <c:pt idx="87">
                  <c:v>#N/A</c:v>
                </c:pt>
                <c:pt idx="88">
                  <c:v>#N/A</c:v>
                </c:pt>
                <c:pt idx="89">
                  <c:v>#N/A</c:v>
                </c:pt>
                <c:pt idx="90">
                  <c:v>#N/A</c:v>
                </c:pt>
                <c:pt idx="91">
                  <c:v>57730</c:v>
                </c:pt>
                <c:pt idx="92">
                  <c:v>#N/A</c:v>
                </c:pt>
                <c:pt idx="93">
                  <c:v>#N/A</c:v>
                </c:pt>
                <c:pt idx="94">
                  <c:v>#N/A</c:v>
                </c:pt>
                <c:pt idx="95">
                  <c:v>#N/A</c:v>
                </c:pt>
                <c:pt idx="96">
                  <c:v>#N/A</c:v>
                </c:pt>
                <c:pt idx="97">
                  <c:v>#N/A</c:v>
                </c:pt>
                <c:pt idx="98">
                  <c:v>57730</c:v>
                </c:pt>
                <c:pt idx="99">
                  <c:v>#N/A</c:v>
                </c:pt>
                <c:pt idx="100">
                  <c:v>#N/A</c:v>
                </c:pt>
                <c:pt idx="101">
                  <c:v>#N/A</c:v>
                </c:pt>
                <c:pt idx="102">
                  <c:v>#N/A</c:v>
                </c:pt>
                <c:pt idx="103">
                  <c:v>#N/A</c:v>
                </c:pt>
                <c:pt idx="104">
                  <c:v>#N/A</c:v>
                </c:pt>
                <c:pt idx="105">
                  <c:v>57330</c:v>
                </c:pt>
                <c:pt idx="106">
                  <c:v>#N/A</c:v>
                </c:pt>
                <c:pt idx="107">
                  <c:v>#N/A</c:v>
                </c:pt>
                <c:pt idx="108">
                  <c:v>#N/A</c:v>
                </c:pt>
                <c:pt idx="109">
                  <c:v>#N/A</c:v>
                </c:pt>
                <c:pt idx="110">
                  <c:v>#N/A</c:v>
                </c:pt>
                <c:pt idx="111">
                  <c:v>#N/A</c:v>
                </c:pt>
                <c:pt idx="112">
                  <c:v>57480</c:v>
                </c:pt>
                <c:pt idx="113">
                  <c:v>#N/A</c:v>
                </c:pt>
                <c:pt idx="114">
                  <c:v>#N/A</c:v>
                </c:pt>
                <c:pt idx="115">
                  <c:v>#N/A</c:v>
                </c:pt>
                <c:pt idx="116">
                  <c:v>#N/A</c:v>
                </c:pt>
                <c:pt idx="117">
                  <c:v>#N/A</c:v>
                </c:pt>
                <c:pt idx="118">
                  <c:v>#N/A</c:v>
                </c:pt>
                <c:pt idx="119">
                  <c:v>57480</c:v>
                </c:pt>
                <c:pt idx="120">
                  <c:v>#N/A</c:v>
                </c:pt>
                <c:pt idx="121">
                  <c:v>#N/A</c:v>
                </c:pt>
                <c:pt idx="122">
                  <c:v>#N/A</c:v>
                </c:pt>
                <c:pt idx="123">
                  <c:v>#N/A</c:v>
                </c:pt>
                <c:pt idx="124">
                  <c:v>#N/A</c:v>
                </c:pt>
                <c:pt idx="125">
                  <c:v>#N/A</c:v>
                </c:pt>
                <c:pt idx="126">
                  <c:v>57480</c:v>
                </c:pt>
                <c:pt idx="127">
                  <c:v>#N/A</c:v>
                </c:pt>
                <c:pt idx="128">
                  <c:v>#N/A</c:v>
                </c:pt>
                <c:pt idx="129">
                  <c:v>#N/A</c:v>
                </c:pt>
                <c:pt idx="130">
                  <c:v>#N/A</c:v>
                </c:pt>
                <c:pt idx="131">
                  <c:v>#N/A</c:v>
                </c:pt>
                <c:pt idx="132">
                  <c:v>#N/A</c:v>
                </c:pt>
                <c:pt idx="133">
                  <c:v>57180</c:v>
                </c:pt>
                <c:pt idx="134">
                  <c:v>#N/A</c:v>
                </c:pt>
                <c:pt idx="135">
                  <c:v>#N/A</c:v>
                </c:pt>
                <c:pt idx="136">
                  <c:v>#N/A</c:v>
                </c:pt>
                <c:pt idx="137">
                  <c:v>#N/A</c:v>
                </c:pt>
                <c:pt idx="138">
                  <c:v>#N/A</c:v>
                </c:pt>
                <c:pt idx="139">
                  <c:v>#N/A</c:v>
                </c:pt>
                <c:pt idx="140">
                  <c:v>57480</c:v>
                </c:pt>
                <c:pt idx="141">
                  <c:v>#N/A</c:v>
                </c:pt>
                <c:pt idx="142">
                  <c:v>#N/A</c:v>
                </c:pt>
                <c:pt idx="143">
                  <c:v>#N/A</c:v>
                </c:pt>
                <c:pt idx="144">
                  <c:v>#N/A</c:v>
                </c:pt>
                <c:pt idx="145">
                  <c:v>#N/A</c:v>
                </c:pt>
                <c:pt idx="146">
                  <c:v>#N/A</c:v>
                </c:pt>
                <c:pt idx="147">
                  <c:v>57480</c:v>
                </c:pt>
                <c:pt idx="148">
                  <c:v>#N/A</c:v>
                </c:pt>
                <c:pt idx="149">
                  <c:v>#N/A</c:v>
                </c:pt>
                <c:pt idx="150">
                  <c:v>#N/A</c:v>
                </c:pt>
                <c:pt idx="151">
                  <c:v>#N/A</c:v>
                </c:pt>
                <c:pt idx="152">
                  <c:v>#N/A</c:v>
                </c:pt>
                <c:pt idx="153">
                  <c:v>#N/A</c:v>
                </c:pt>
                <c:pt idx="154">
                  <c:v>57600</c:v>
                </c:pt>
                <c:pt idx="155">
                  <c:v>#N/A</c:v>
                </c:pt>
                <c:pt idx="156">
                  <c:v>#N/A</c:v>
                </c:pt>
                <c:pt idx="157">
                  <c:v>#N/A</c:v>
                </c:pt>
                <c:pt idx="158">
                  <c:v>#N/A</c:v>
                </c:pt>
                <c:pt idx="159">
                  <c:v>#N/A</c:v>
                </c:pt>
                <c:pt idx="160">
                  <c:v>#N/A</c:v>
                </c:pt>
                <c:pt idx="161">
                  <c:v>57600</c:v>
                </c:pt>
                <c:pt idx="162">
                  <c:v>#N/A</c:v>
                </c:pt>
                <c:pt idx="163">
                  <c:v>#N/A</c:v>
                </c:pt>
                <c:pt idx="164">
                  <c:v>#N/A</c:v>
                </c:pt>
                <c:pt idx="165">
                  <c:v>#N/A</c:v>
                </c:pt>
                <c:pt idx="166">
                  <c:v>#N/A</c:v>
                </c:pt>
                <c:pt idx="167">
                  <c:v>#N/A</c:v>
                </c:pt>
                <c:pt idx="168">
                  <c:v>56920</c:v>
                </c:pt>
                <c:pt idx="169">
                  <c:v>#N/A</c:v>
                </c:pt>
                <c:pt idx="170">
                  <c:v>#N/A</c:v>
                </c:pt>
                <c:pt idx="171">
                  <c:v>#N/A</c:v>
                </c:pt>
                <c:pt idx="172">
                  <c:v>#N/A</c:v>
                </c:pt>
                <c:pt idx="173">
                  <c:v>#N/A</c:v>
                </c:pt>
                <c:pt idx="174">
                  <c:v>#N/A</c:v>
                </c:pt>
                <c:pt idx="175">
                  <c:v>57320</c:v>
                </c:pt>
                <c:pt idx="176">
                  <c:v>#N/A</c:v>
                </c:pt>
                <c:pt idx="177">
                  <c:v>#N/A</c:v>
                </c:pt>
                <c:pt idx="178">
                  <c:v>#N/A</c:v>
                </c:pt>
                <c:pt idx="179">
                  <c:v>#N/A</c:v>
                </c:pt>
                <c:pt idx="180">
                  <c:v>#N/A</c:v>
                </c:pt>
                <c:pt idx="181">
                  <c:v>#N/A</c:v>
                </c:pt>
                <c:pt idx="182">
                  <c:v>57335</c:v>
                </c:pt>
                <c:pt idx="183">
                  <c:v>#N/A</c:v>
                </c:pt>
                <c:pt idx="184">
                  <c:v>#N/A</c:v>
                </c:pt>
                <c:pt idx="185">
                  <c:v>#N/A</c:v>
                </c:pt>
                <c:pt idx="186">
                  <c:v>#N/A</c:v>
                </c:pt>
                <c:pt idx="187">
                  <c:v>#N/A</c:v>
                </c:pt>
                <c:pt idx="188">
                  <c:v>#N/A</c:v>
                </c:pt>
                <c:pt idx="189">
                  <c:v>56995</c:v>
                </c:pt>
                <c:pt idx="190">
                  <c:v>#N/A</c:v>
                </c:pt>
                <c:pt idx="191">
                  <c:v>#N/A</c:v>
                </c:pt>
                <c:pt idx="192">
                  <c:v>#N/A</c:v>
                </c:pt>
                <c:pt idx="193">
                  <c:v>#N/A</c:v>
                </c:pt>
                <c:pt idx="194">
                  <c:v>#N/A</c:v>
                </c:pt>
                <c:pt idx="195">
                  <c:v>#N/A</c:v>
                </c:pt>
                <c:pt idx="196">
                  <c:v>56795</c:v>
                </c:pt>
                <c:pt idx="197">
                  <c:v>#N/A</c:v>
                </c:pt>
                <c:pt idx="198">
                  <c:v>#N/A</c:v>
                </c:pt>
                <c:pt idx="199">
                  <c:v>#N/A</c:v>
                </c:pt>
                <c:pt idx="200">
                  <c:v>#N/A</c:v>
                </c:pt>
                <c:pt idx="201">
                  <c:v>#N/A</c:v>
                </c:pt>
                <c:pt idx="202">
                  <c:v>#N/A</c:v>
                </c:pt>
                <c:pt idx="203">
                  <c:v>56085</c:v>
                </c:pt>
                <c:pt idx="204">
                  <c:v>#N/A</c:v>
                </c:pt>
                <c:pt idx="205">
                  <c:v>#N/A</c:v>
                </c:pt>
                <c:pt idx="206">
                  <c:v>#N/A</c:v>
                </c:pt>
                <c:pt idx="207">
                  <c:v>#N/A</c:v>
                </c:pt>
                <c:pt idx="208">
                  <c:v>#N/A</c:v>
                </c:pt>
                <c:pt idx="209">
                  <c:v>#N/A</c:v>
                </c:pt>
                <c:pt idx="210">
                  <c:v>56185</c:v>
                </c:pt>
                <c:pt idx="211">
                  <c:v>#N/A</c:v>
                </c:pt>
                <c:pt idx="212">
                  <c:v>#N/A</c:v>
                </c:pt>
                <c:pt idx="213">
                  <c:v>#N/A</c:v>
                </c:pt>
                <c:pt idx="214">
                  <c:v>#N/A</c:v>
                </c:pt>
                <c:pt idx="215">
                  <c:v>#N/A</c:v>
                </c:pt>
                <c:pt idx="216">
                  <c:v>#N/A</c:v>
                </c:pt>
                <c:pt idx="217">
                  <c:v>55435</c:v>
                </c:pt>
                <c:pt idx="218">
                  <c:v>#N/A</c:v>
                </c:pt>
                <c:pt idx="219">
                  <c:v>#N/A</c:v>
                </c:pt>
                <c:pt idx="220">
                  <c:v>#N/A</c:v>
                </c:pt>
                <c:pt idx="221">
                  <c:v>#N/A</c:v>
                </c:pt>
                <c:pt idx="222">
                  <c:v>#N/A</c:v>
                </c:pt>
                <c:pt idx="223">
                  <c:v>#N/A</c:v>
                </c:pt>
                <c:pt idx="224">
                  <c:v>56035</c:v>
                </c:pt>
                <c:pt idx="225">
                  <c:v>#N/A</c:v>
                </c:pt>
                <c:pt idx="226">
                  <c:v>#N/A</c:v>
                </c:pt>
                <c:pt idx="227">
                  <c:v>#N/A</c:v>
                </c:pt>
                <c:pt idx="228">
                  <c:v>#N/A</c:v>
                </c:pt>
                <c:pt idx="229">
                  <c:v>#N/A</c:v>
                </c:pt>
                <c:pt idx="230">
                  <c:v>#N/A</c:v>
                </c:pt>
                <c:pt idx="231">
                  <c:v>45100</c:v>
                </c:pt>
                <c:pt idx="232">
                  <c:v>#N/A</c:v>
                </c:pt>
                <c:pt idx="233">
                  <c:v>#N/A</c:v>
                </c:pt>
                <c:pt idx="234">
                  <c:v>#N/A</c:v>
                </c:pt>
                <c:pt idx="235">
                  <c:v>#N/A</c:v>
                </c:pt>
                <c:pt idx="236">
                  <c:v>#N/A</c:v>
                </c:pt>
                <c:pt idx="237">
                  <c:v>#N/A</c:v>
                </c:pt>
                <c:pt idx="238">
                  <c:v>45050</c:v>
                </c:pt>
                <c:pt idx="239">
                  <c:v>#N/A</c:v>
                </c:pt>
                <c:pt idx="240">
                  <c:v>#N/A</c:v>
                </c:pt>
                <c:pt idx="241">
                  <c:v>#N/A</c:v>
                </c:pt>
                <c:pt idx="242">
                  <c:v>#N/A</c:v>
                </c:pt>
                <c:pt idx="243">
                  <c:v>#N/A</c:v>
                </c:pt>
                <c:pt idx="244">
                  <c:v>#N/A</c:v>
                </c:pt>
                <c:pt idx="245">
                  <c:v>47130</c:v>
                </c:pt>
                <c:pt idx="246">
                  <c:v>#N/A</c:v>
                </c:pt>
                <c:pt idx="247">
                  <c:v>#N/A</c:v>
                </c:pt>
                <c:pt idx="248">
                  <c:v>#N/A</c:v>
                </c:pt>
                <c:pt idx="249">
                  <c:v>#N/A</c:v>
                </c:pt>
                <c:pt idx="250">
                  <c:v>#N/A</c:v>
                </c:pt>
                <c:pt idx="251">
                  <c:v>#N/A</c:v>
                </c:pt>
                <c:pt idx="252">
                  <c:v>49730</c:v>
                </c:pt>
                <c:pt idx="253">
                  <c:v>#N/A</c:v>
                </c:pt>
                <c:pt idx="254">
                  <c:v>#N/A</c:v>
                </c:pt>
                <c:pt idx="255">
                  <c:v>#N/A</c:v>
                </c:pt>
                <c:pt idx="256">
                  <c:v>#N/A</c:v>
                </c:pt>
                <c:pt idx="257">
                  <c:v>#N/A</c:v>
                </c:pt>
                <c:pt idx="258">
                  <c:v>#N/A</c:v>
                </c:pt>
                <c:pt idx="259">
                  <c:v>51065</c:v>
                </c:pt>
                <c:pt idx="260">
                  <c:v>#N/A</c:v>
                </c:pt>
                <c:pt idx="261">
                  <c:v>#N/A</c:v>
                </c:pt>
                <c:pt idx="262">
                  <c:v>#N/A</c:v>
                </c:pt>
                <c:pt idx="263">
                  <c:v>#N/A</c:v>
                </c:pt>
                <c:pt idx="264">
                  <c:v>#N/A</c:v>
                </c:pt>
                <c:pt idx="265">
                  <c:v>#N/A</c:v>
                </c:pt>
                <c:pt idx="266">
                  <c:v>51515</c:v>
                </c:pt>
                <c:pt idx="267">
                  <c:v>#N/A</c:v>
                </c:pt>
                <c:pt idx="268">
                  <c:v>#N/A</c:v>
                </c:pt>
                <c:pt idx="269">
                  <c:v>#N/A</c:v>
                </c:pt>
                <c:pt idx="270">
                  <c:v>#N/A</c:v>
                </c:pt>
                <c:pt idx="271">
                  <c:v>#N/A</c:v>
                </c:pt>
                <c:pt idx="272">
                  <c:v>#N/A</c:v>
                </c:pt>
                <c:pt idx="273">
                  <c:v>56395</c:v>
                </c:pt>
                <c:pt idx="274">
                  <c:v>#N/A</c:v>
                </c:pt>
                <c:pt idx="275">
                  <c:v>#N/A</c:v>
                </c:pt>
                <c:pt idx="276">
                  <c:v>#N/A</c:v>
                </c:pt>
                <c:pt idx="277">
                  <c:v>#N/A</c:v>
                </c:pt>
                <c:pt idx="278">
                  <c:v>#N/A</c:v>
                </c:pt>
                <c:pt idx="279">
                  <c:v>#N/A</c:v>
                </c:pt>
                <c:pt idx="280">
                  <c:v>62700</c:v>
                </c:pt>
                <c:pt idx="281">
                  <c:v>#N/A</c:v>
                </c:pt>
                <c:pt idx="282">
                  <c:v>#N/A</c:v>
                </c:pt>
                <c:pt idx="283">
                  <c:v>#N/A</c:v>
                </c:pt>
                <c:pt idx="284">
                  <c:v>#N/A</c:v>
                </c:pt>
                <c:pt idx="285">
                  <c:v>#N/A</c:v>
                </c:pt>
                <c:pt idx="286">
                  <c:v>#N/A</c:v>
                </c:pt>
                <c:pt idx="287">
                  <c:v>66480</c:v>
                </c:pt>
                <c:pt idx="288">
                  <c:v>#N/A</c:v>
                </c:pt>
                <c:pt idx="289">
                  <c:v>#N/A</c:v>
                </c:pt>
                <c:pt idx="290">
                  <c:v>#N/A</c:v>
                </c:pt>
                <c:pt idx="291">
                  <c:v>#N/A</c:v>
                </c:pt>
                <c:pt idx="292">
                  <c:v>#N/A</c:v>
                </c:pt>
                <c:pt idx="293">
                  <c:v>#N/A</c:v>
                </c:pt>
                <c:pt idx="294">
                  <c:v>69250</c:v>
                </c:pt>
                <c:pt idx="295">
                  <c:v>#N/A</c:v>
                </c:pt>
                <c:pt idx="296">
                  <c:v>#N/A</c:v>
                </c:pt>
                <c:pt idx="297">
                  <c:v>#N/A</c:v>
                </c:pt>
                <c:pt idx="298">
                  <c:v>#N/A</c:v>
                </c:pt>
                <c:pt idx="299">
                  <c:v>#N/A</c:v>
                </c:pt>
                <c:pt idx="300">
                  <c:v>#N/A</c:v>
                </c:pt>
                <c:pt idx="301">
                  <c:v>67250</c:v>
                </c:pt>
                <c:pt idx="302">
                  <c:v>#N/A</c:v>
                </c:pt>
                <c:pt idx="303">
                  <c:v>#N/A</c:v>
                </c:pt>
                <c:pt idx="304">
                  <c:v>#N/A</c:v>
                </c:pt>
                <c:pt idx="305">
                  <c:v>#N/A</c:v>
                </c:pt>
                <c:pt idx="306">
                  <c:v>#N/A</c:v>
                </c:pt>
                <c:pt idx="307">
                  <c:v>#N/A</c:v>
                </c:pt>
                <c:pt idx="308">
                  <c:v>67650</c:v>
                </c:pt>
                <c:pt idx="309">
                  <c:v>#N/A</c:v>
                </c:pt>
                <c:pt idx="310">
                  <c:v>#N/A</c:v>
                </c:pt>
                <c:pt idx="311">
                  <c:v>#N/A</c:v>
                </c:pt>
                <c:pt idx="312">
                  <c:v>#N/A</c:v>
                </c:pt>
                <c:pt idx="313">
                  <c:v>#N/A</c:v>
                </c:pt>
                <c:pt idx="314">
                  <c:v>#N/A</c:v>
                </c:pt>
                <c:pt idx="315">
                  <c:v>64680</c:v>
                </c:pt>
                <c:pt idx="316">
                  <c:v>#N/A</c:v>
                </c:pt>
                <c:pt idx="317">
                  <c:v>#N/A</c:v>
                </c:pt>
                <c:pt idx="318">
                  <c:v>#N/A</c:v>
                </c:pt>
                <c:pt idx="319">
                  <c:v>#N/A</c:v>
                </c:pt>
                <c:pt idx="320">
                  <c:v>#N/A</c:v>
                </c:pt>
                <c:pt idx="321">
                  <c:v>#N/A</c:v>
                </c:pt>
                <c:pt idx="322">
                  <c:v>63720</c:v>
                </c:pt>
                <c:pt idx="323">
                  <c:v>#N/A</c:v>
                </c:pt>
                <c:pt idx="324">
                  <c:v>#N/A</c:v>
                </c:pt>
                <c:pt idx="325">
                  <c:v>#N/A</c:v>
                </c:pt>
                <c:pt idx="326">
                  <c:v>#N/A</c:v>
                </c:pt>
                <c:pt idx="327">
                  <c:v>#N/A</c:v>
                </c:pt>
                <c:pt idx="328">
                  <c:v>#N/A</c:v>
                </c:pt>
                <c:pt idx="329">
                  <c:v>63770</c:v>
                </c:pt>
                <c:pt idx="330">
                  <c:v>#N/A</c:v>
                </c:pt>
                <c:pt idx="331">
                  <c:v>#N/A</c:v>
                </c:pt>
                <c:pt idx="332">
                  <c:v>#N/A</c:v>
                </c:pt>
                <c:pt idx="333">
                  <c:v>#N/A</c:v>
                </c:pt>
                <c:pt idx="334">
                  <c:v>#N/A</c:v>
                </c:pt>
                <c:pt idx="335">
                  <c:v>#N/A</c:v>
                </c:pt>
                <c:pt idx="336">
                  <c:v>62450</c:v>
                </c:pt>
                <c:pt idx="337">
                  <c:v>#N/A</c:v>
                </c:pt>
                <c:pt idx="338">
                  <c:v>#N/A</c:v>
                </c:pt>
                <c:pt idx="339">
                  <c:v>#N/A</c:v>
                </c:pt>
                <c:pt idx="340">
                  <c:v>#N/A</c:v>
                </c:pt>
                <c:pt idx="341">
                  <c:v>#N/A</c:v>
                </c:pt>
                <c:pt idx="342">
                  <c:v>#N/A</c:v>
                </c:pt>
                <c:pt idx="343">
                  <c:v>61180</c:v>
                </c:pt>
                <c:pt idx="344">
                  <c:v>#N/A</c:v>
                </c:pt>
                <c:pt idx="345">
                  <c:v>#N/A</c:v>
                </c:pt>
                <c:pt idx="346">
                  <c:v>#N/A</c:v>
                </c:pt>
                <c:pt idx="347">
                  <c:v>#N/A</c:v>
                </c:pt>
                <c:pt idx="348">
                  <c:v>#N/A</c:v>
                </c:pt>
                <c:pt idx="349">
                  <c:v>#N/A</c:v>
                </c:pt>
                <c:pt idx="350">
                  <c:v>60730</c:v>
                </c:pt>
                <c:pt idx="351">
                  <c:v>#N/A</c:v>
                </c:pt>
                <c:pt idx="352">
                  <c:v>#N/A</c:v>
                </c:pt>
                <c:pt idx="353">
                  <c:v>#N/A</c:v>
                </c:pt>
                <c:pt idx="354">
                  <c:v>#N/A</c:v>
                </c:pt>
                <c:pt idx="355">
                  <c:v>#N/A</c:v>
                </c:pt>
                <c:pt idx="356">
                  <c:v>#N/A</c:v>
                </c:pt>
                <c:pt idx="357">
                  <c:v>62880</c:v>
                </c:pt>
                <c:pt idx="358">
                  <c:v>#N/A</c:v>
                </c:pt>
                <c:pt idx="359">
                  <c:v>#N/A</c:v>
                </c:pt>
                <c:pt idx="360">
                  <c:v>#N/A</c:v>
                </c:pt>
                <c:pt idx="361">
                  <c:v>#N/A</c:v>
                </c:pt>
                <c:pt idx="362">
                  <c:v>#N/A</c:v>
                </c:pt>
                <c:pt idx="363">
                  <c:v>#N/A</c:v>
                </c:pt>
                <c:pt idx="364">
                  <c:v>63095</c:v>
                </c:pt>
                <c:pt idx="365">
                  <c:v>#N/A</c:v>
                </c:pt>
              </c:numCache>
            </c:numRef>
          </c:val>
          <c:smooth val="0"/>
          <c:extLst>
            <c:ext xmlns:c16="http://schemas.microsoft.com/office/drawing/2014/chart" uri="{C3380CC4-5D6E-409C-BE32-E72D297353CC}">
              <c16:uniqueId val="{00000002-F932-4917-98D5-5255F485518C}"/>
            </c:ext>
          </c:extLst>
        </c:ser>
        <c:ser>
          <c:idx val="3"/>
          <c:order val="3"/>
          <c:tx>
            <c:strRef>
              <c:f>金属硅周度图表!$L$3</c:f>
              <c:strCache>
                <c:ptCount val="1"/>
                <c:pt idx="0">
                  <c:v>2023</c:v>
                </c:pt>
              </c:strCache>
            </c:strRef>
          </c:tx>
          <c:spPr>
            <a:ln w="19050" cap="rnd">
              <a:solidFill>
                <a:srgbClr val="55A5AB">
                  <a:alpha val="60000"/>
                </a:srgbClr>
              </a:solidFill>
              <a:round/>
            </a:ln>
            <a:effectLst/>
          </c:spPr>
          <c:marker>
            <c:symbol val="none"/>
          </c:marker>
          <c:cat>
            <c:strRef>
              <c:f>金属硅周度图表!$H$4:$H$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L$4:$L$369</c:f>
              <c:numCache>
                <c:formatCode>General</c:formatCode>
                <c:ptCount val="366"/>
                <c:pt idx="0">
                  <c:v>#N/A</c:v>
                </c:pt>
                <c:pt idx="1">
                  <c:v>#N/A</c:v>
                </c:pt>
                <c:pt idx="2">
                  <c:v>#N/A</c:v>
                </c:pt>
                <c:pt idx="3">
                  <c:v>#N/A</c:v>
                </c:pt>
                <c:pt idx="4">
                  <c:v>#N/A</c:v>
                </c:pt>
                <c:pt idx="5">
                  <c:v>63030</c:v>
                </c:pt>
                <c:pt idx="6">
                  <c:v>#N/A</c:v>
                </c:pt>
                <c:pt idx="7">
                  <c:v>#N/A</c:v>
                </c:pt>
                <c:pt idx="8">
                  <c:v>#N/A</c:v>
                </c:pt>
                <c:pt idx="9">
                  <c:v>#N/A</c:v>
                </c:pt>
                <c:pt idx="10">
                  <c:v>#N/A</c:v>
                </c:pt>
                <c:pt idx="11">
                  <c:v>#N/A</c:v>
                </c:pt>
                <c:pt idx="12">
                  <c:v>58110</c:v>
                </c:pt>
                <c:pt idx="13">
                  <c:v>#N/A</c:v>
                </c:pt>
                <c:pt idx="14">
                  <c:v>#N/A</c:v>
                </c:pt>
                <c:pt idx="15">
                  <c:v>#N/A</c:v>
                </c:pt>
                <c:pt idx="16">
                  <c:v>#N/A</c:v>
                </c:pt>
                <c:pt idx="17">
                  <c:v>#N/A</c:v>
                </c:pt>
                <c:pt idx="18">
                  <c:v>#N/A</c:v>
                </c:pt>
                <c:pt idx="19">
                  <c:v>56710</c:v>
                </c:pt>
                <c:pt idx="20">
                  <c:v>#N/A</c:v>
                </c:pt>
                <c:pt idx="21">
                  <c:v>#N/A</c:v>
                </c:pt>
                <c:pt idx="22">
                  <c:v>#N/A</c:v>
                </c:pt>
                <c:pt idx="23">
                  <c:v>#N/A</c:v>
                </c:pt>
                <c:pt idx="24">
                  <c:v>#N/A</c:v>
                </c:pt>
                <c:pt idx="25">
                  <c:v>#N/A</c:v>
                </c:pt>
                <c:pt idx="26">
                  <c:v>56710</c:v>
                </c:pt>
                <c:pt idx="27">
                  <c:v>#N/A</c:v>
                </c:pt>
                <c:pt idx="28">
                  <c:v>#N/A</c:v>
                </c:pt>
                <c:pt idx="29">
                  <c:v>#N/A</c:v>
                </c:pt>
                <c:pt idx="30">
                  <c:v>#N/A</c:v>
                </c:pt>
                <c:pt idx="31">
                  <c:v>#N/A</c:v>
                </c:pt>
                <c:pt idx="32">
                  <c:v>#N/A</c:v>
                </c:pt>
                <c:pt idx="33">
                  <c:v>56480</c:v>
                </c:pt>
                <c:pt idx="34">
                  <c:v>#N/A</c:v>
                </c:pt>
                <c:pt idx="35">
                  <c:v>#N/A</c:v>
                </c:pt>
                <c:pt idx="36">
                  <c:v>#N/A</c:v>
                </c:pt>
                <c:pt idx="37">
                  <c:v>#N/A</c:v>
                </c:pt>
                <c:pt idx="38">
                  <c:v>#N/A</c:v>
                </c:pt>
                <c:pt idx="39">
                  <c:v>#N/A</c:v>
                </c:pt>
                <c:pt idx="40">
                  <c:v>62530</c:v>
                </c:pt>
                <c:pt idx="41">
                  <c:v>#N/A</c:v>
                </c:pt>
                <c:pt idx="42">
                  <c:v>#N/A</c:v>
                </c:pt>
                <c:pt idx="43">
                  <c:v>#N/A</c:v>
                </c:pt>
                <c:pt idx="44">
                  <c:v>#N/A</c:v>
                </c:pt>
                <c:pt idx="45">
                  <c:v>#N/A</c:v>
                </c:pt>
                <c:pt idx="46">
                  <c:v>#N/A</c:v>
                </c:pt>
                <c:pt idx="47">
                  <c:v>62230</c:v>
                </c:pt>
                <c:pt idx="48">
                  <c:v>#N/A</c:v>
                </c:pt>
                <c:pt idx="49">
                  <c:v>#N/A</c:v>
                </c:pt>
                <c:pt idx="50">
                  <c:v>#N/A</c:v>
                </c:pt>
                <c:pt idx="51">
                  <c:v>#N/A</c:v>
                </c:pt>
                <c:pt idx="52">
                  <c:v>#N/A</c:v>
                </c:pt>
                <c:pt idx="53">
                  <c:v>#N/A</c:v>
                </c:pt>
                <c:pt idx="54">
                  <c:v>63980</c:v>
                </c:pt>
                <c:pt idx="55">
                  <c:v>#N/A</c:v>
                </c:pt>
                <c:pt idx="56">
                  <c:v>#N/A</c:v>
                </c:pt>
                <c:pt idx="57">
                  <c:v>#N/A</c:v>
                </c:pt>
                <c:pt idx="58">
                  <c:v>#N/A</c:v>
                </c:pt>
                <c:pt idx="60">
                  <c:v>#N/A</c:v>
                </c:pt>
                <c:pt idx="61">
                  <c:v>#N/A</c:v>
                </c:pt>
                <c:pt idx="62">
                  <c:v>63980</c:v>
                </c:pt>
                <c:pt idx="63">
                  <c:v>#N/A</c:v>
                </c:pt>
                <c:pt idx="64">
                  <c:v>#N/A</c:v>
                </c:pt>
                <c:pt idx="65">
                  <c:v>#N/A</c:v>
                </c:pt>
                <c:pt idx="66">
                  <c:v>#N/A</c:v>
                </c:pt>
                <c:pt idx="67">
                  <c:v>#N/A</c:v>
                </c:pt>
                <c:pt idx="68">
                  <c:v>#N/A</c:v>
                </c:pt>
                <c:pt idx="69">
                  <c:v>64430</c:v>
                </c:pt>
                <c:pt idx="70">
                  <c:v>#N/A</c:v>
                </c:pt>
                <c:pt idx="71">
                  <c:v>#N/A</c:v>
                </c:pt>
                <c:pt idx="72">
                  <c:v>#N/A</c:v>
                </c:pt>
                <c:pt idx="73">
                  <c:v>#N/A</c:v>
                </c:pt>
                <c:pt idx="74">
                  <c:v>#N/A</c:v>
                </c:pt>
                <c:pt idx="75">
                  <c:v>#N/A</c:v>
                </c:pt>
                <c:pt idx="76">
                  <c:v>65630</c:v>
                </c:pt>
                <c:pt idx="77">
                  <c:v>#N/A</c:v>
                </c:pt>
                <c:pt idx="78">
                  <c:v>#N/A</c:v>
                </c:pt>
                <c:pt idx="79">
                  <c:v>#N/A</c:v>
                </c:pt>
                <c:pt idx="80">
                  <c:v>#N/A</c:v>
                </c:pt>
                <c:pt idx="81">
                  <c:v>#N/A</c:v>
                </c:pt>
                <c:pt idx="82">
                  <c:v>#N/A</c:v>
                </c:pt>
                <c:pt idx="83">
                  <c:v>64220</c:v>
                </c:pt>
                <c:pt idx="84">
                  <c:v>#N/A</c:v>
                </c:pt>
                <c:pt idx="85">
                  <c:v>#N/A</c:v>
                </c:pt>
                <c:pt idx="86">
                  <c:v>#N/A</c:v>
                </c:pt>
                <c:pt idx="87">
                  <c:v>#N/A</c:v>
                </c:pt>
                <c:pt idx="88">
                  <c:v>#N/A</c:v>
                </c:pt>
                <c:pt idx="89">
                  <c:v>#N/A</c:v>
                </c:pt>
                <c:pt idx="90">
                  <c:v>63870</c:v>
                </c:pt>
                <c:pt idx="91">
                  <c:v>#N/A</c:v>
                </c:pt>
                <c:pt idx="92">
                  <c:v>#N/A</c:v>
                </c:pt>
                <c:pt idx="93">
                  <c:v>#N/A</c:v>
                </c:pt>
                <c:pt idx="94">
                  <c:v>#N/A</c:v>
                </c:pt>
                <c:pt idx="95">
                  <c:v>#N/A</c:v>
                </c:pt>
                <c:pt idx="96">
                  <c:v>#N/A</c:v>
                </c:pt>
                <c:pt idx="97">
                  <c:v>59570</c:v>
                </c:pt>
                <c:pt idx="98">
                  <c:v>#N/A</c:v>
                </c:pt>
                <c:pt idx="99">
                  <c:v>#N/A</c:v>
                </c:pt>
                <c:pt idx="100">
                  <c:v>#N/A</c:v>
                </c:pt>
                <c:pt idx="101">
                  <c:v>#N/A</c:v>
                </c:pt>
                <c:pt idx="102">
                  <c:v>#N/A</c:v>
                </c:pt>
                <c:pt idx="103">
                  <c:v>#N/A</c:v>
                </c:pt>
                <c:pt idx="104">
                  <c:v>59810</c:v>
                </c:pt>
                <c:pt idx="105">
                  <c:v>#N/A</c:v>
                </c:pt>
                <c:pt idx="106">
                  <c:v>#N/A</c:v>
                </c:pt>
                <c:pt idx="107">
                  <c:v>#N/A</c:v>
                </c:pt>
                <c:pt idx="108">
                  <c:v>#N/A</c:v>
                </c:pt>
                <c:pt idx="109">
                  <c:v>#N/A</c:v>
                </c:pt>
                <c:pt idx="110">
                  <c:v>#N/A</c:v>
                </c:pt>
                <c:pt idx="111">
                  <c:v>56790</c:v>
                </c:pt>
                <c:pt idx="112">
                  <c:v>#N/A</c:v>
                </c:pt>
                <c:pt idx="113">
                  <c:v>#N/A</c:v>
                </c:pt>
                <c:pt idx="114">
                  <c:v>#N/A</c:v>
                </c:pt>
                <c:pt idx="115">
                  <c:v>#N/A</c:v>
                </c:pt>
                <c:pt idx="116">
                  <c:v>#N/A</c:v>
                </c:pt>
                <c:pt idx="117">
                  <c:v>#N/A</c:v>
                </c:pt>
                <c:pt idx="118">
                  <c:v>60640</c:v>
                </c:pt>
                <c:pt idx="119">
                  <c:v>#N/A</c:v>
                </c:pt>
                <c:pt idx="120">
                  <c:v>#N/A</c:v>
                </c:pt>
                <c:pt idx="121">
                  <c:v>#N/A</c:v>
                </c:pt>
                <c:pt idx="122">
                  <c:v>#N/A</c:v>
                </c:pt>
                <c:pt idx="123">
                  <c:v>#N/A</c:v>
                </c:pt>
                <c:pt idx="124">
                  <c:v>#N/A</c:v>
                </c:pt>
                <c:pt idx="125">
                  <c:v>60610</c:v>
                </c:pt>
                <c:pt idx="126">
                  <c:v>#N/A</c:v>
                </c:pt>
                <c:pt idx="127">
                  <c:v>#N/A</c:v>
                </c:pt>
                <c:pt idx="128">
                  <c:v>#N/A</c:v>
                </c:pt>
                <c:pt idx="129">
                  <c:v>#N/A</c:v>
                </c:pt>
                <c:pt idx="130">
                  <c:v>#N/A</c:v>
                </c:pt>
                <c:pt idx="131">
                  <c:v>#N/A</c:v>
                </c:pt>
                <c:pt idx="132">
                  <c:v>61820</c:v>
                </c:pt>
                <c:pt idx="133">
                  <c:v>#N/A</c:v>
                </c:pt>
                <c:pt idx="134">
                  <c:v>#N/A</c:v>
                </c:pt>
                <c:pt idx="135">
                  <c:v>#N/A</c:v>
                </c:pt>
                <c:pt idx="136">
                  <c:v>#N/A</c:v>
                </c:pt>
                <c:pt idx="137">
                  <c:v>#N/A</c:v>
                </c:pt>
                <c:pt idx="138">
                  <c:v>#N/A</c:v>
                </c:pt>
                <c:pt idx="139">
                  <c:v>63350</c:v>
                </c:pt>
                <c:pt idx="140">
                  <c:v>#N/A</c:v>
                </c:pt>
                <c:pt idx="141">
                  <c:v>#N/A</c:v>
                </c:pt>
                <c:pt idx="142">
                  <c:v>#N/A</c:v>
                </c:pt>
                <c:pt idx="143">
                  <c:v>#N/A</c:v>
                </c:pt>
                <c:pt idx="144">
                  <c:v>#N/A</c:v>
                </c:pt>
                <c:pt idx="145">
                  <c:v>#N/A</c:v>
                </c:pt>
                <c:pt idx="146">
                  <c:v>62150</c:v>
                </c:pt>
                <c:pt idx="147">
                  <c:v>#N/A</c:v>
                </c:pt>
                <c:pt idx="148">
                  <c:v>#N/A</c:v>
                </c:pt>
                <c:pt idx="149">
                  <c:v>#N/A</c:v>
                </c:pt>
                <c:pt idx="150">
                  <c:v>#N/A</c:v>
                </c:pt>
                <c:pt idx="151">
                  <c:v>#N/A</c:v>
                </c:pt>
                <c:pt idx="152">
                  <c:v>#N/A</c:v>
                </c:pt>
                <c:pt idx="153">
                  <c:v>60640</c:v>
                </c:pt>
                <c:pt idx="154">
                  <c:v>#N/A</c:v>
                </c:pt>
                <c:pt idx="155">
                  <c:v>#N/A</c:v>
                </c:pt>
                <c:pt idx="156">
                  <c:v>#N/A</c:v>
                </c:pt>
                <c:pt idx="157">
                  <c:v>#N/A</c:v>
                </c:pt>
                <c:pt idx="158">
                  <c:v>#N/A</c:v>
                </c:pt>
                <c:pt idx="159">
                  <c:v>#N/A</c:v>
                </c:pt>
                <c:pt idx="160">
                  <c:v>65185</c:v>
                </c:pt>
                <c:pt idx="161">
                  <c:v>#N/A</c:v>
                </c:pt>
                <c:pt idx="162">
                  <c:v>#N/A</c:v>
                </c:pt>
                <c:pt idx="163">
                  <c:v>#N/A</c:v>
                </c:pt>
                <c:pt idx="164">
                  <c:v>#N/A</c:v>
                </c:pt>
                <c:pt idx="165">
                  <c:v>#N/A</c:v>
                </c:pt>
                <c:pt idx="166">
                  <c:v>#N/A</c:v>
                </c:pt>
                <c:pt idx="167">
                  <c:v>66635</c:v>
                </c:pt>
                <c:pt idx="168">
                  <c:v>#N/A</c:v>
                </c:pt>
                <c:pt idx="169">
                  <c:v>#N/A</c:v>
                </c:pt>
                <c:pt idx="170">
                  <c:v>#N/A</c:v>
                </c:pt>
                <c:pt idx="171">
                  <c:v>#N/A</c:v>
                </c:pt>
                <c:pt idx="172">
                  <c:v>#N/A</c:v>
                </c:pt>
                <c:pt idx="173">
                  <c:v>#N/A</c:v>
                </c:pt>
                <c:pt idx="174">
                  <c:v>64260</c:v>
                </c:pt>
                <c:pt idx="175">
                  <c:v>#N/A</c:v>
                </c:pt>
                <c:pt idx="176">
                  <c:v>#N/A</c:v>
                </c:pt>
                <c:pt idx="177">
                  <c:v>#N/A</c:v>
                </c:pt>
                <c:pt idx="178">
                  <c:v>#N/A</c:v>
                </c:pt>
                <c:pt idx="179">
                  <c:v>#N/A</c:v>
                </c:pt>
                <c:pt idx="180">
                  <c:v>#N/A</c:v>
                </c:pt>
                <c:pt idx="181">
                  <c:v>59020</c:v>
                </c:pt>
                <c:pt idx="182">
                  <c:v>#N/A</c:v>
                </c:pt>
                <c:pt idx="183">
                  <c:v>#N/A</c:v>
                </c:pt>
                <c:pt idx="184">
                  <c:v>#N/A</c:v>
                </c:pt>
                <c:pt idx="185">
                  <c:v>#N/A</c:v>
                </c:pt>
                <c:pt idx="186">
                  <c:v>#N/A</c:v>
                </c:pt>
                <c:pt idx="187">
                  <c:v>#N/A</c:v>
                </c:pt>
                <c:pt idx="188">
                  <c:v>61400</c:v>
                </c:pt>
                <c:pt idx="189">
                  <c:v>#N/A</c:v>
                </c:pt>
                <c:pt idx="190">
                  <c:v>#N/A</c:v>
                </c:pt>
                <c:pt idx="191">
                  <c:v>#N/A</c:v>
                </c:pt>
                <c:pt idx="192">
                  <c:v>#N/A</c:v>
                </c:pt>
                <c:pt idx="193">
                  <c:v>#N/A</c:v>
                </c:pt>
                <c:pt idx="194">
                  <c:v>#N/A</c:v>
                </c:pt>
                <c:pt idx="195">
                  <c:v>65600</c:v>
                </c:pt>
                <c:pt idx="196">
                  <c:v>#N/A</c:v>
                </c:pt>
                <c:pt idx="197">
                  <c:v>#N/A</c:v>
                </c:pt>
                <c:pt idx="198">
                  <c:v>#N/A</c:v>
                </c:pt>
                <c:pt idx="199">
                  <c:v>#N/A</c:v>
                </c:pt>
                <c:pt idx="200">
                  <c:v>#N/A</c:v>
                </c:pt>
                <c:pt idx="201">
                  <c:v>#N/A</c:v>
                </c:pt>
                <c:pt idx="202">
                  <c:v>69640</c:v>
                </c:pt>
                <c:pt idx="203">
                  <c:v>#N/A</c:v>
                </c:pt>
                <c:pt idx="204">
                  <c:v>#N/A</c:v>
                </c:pt>
                <c:pt idx="205">
                  <c:v>#N/A</c:v>
                </c:pt>
                <c:pt idx="206">
                  <c:v>#N/A</c:v>
                </c:pt>
                <c:pt idx="207">
                  <c:v>#N/A</c:v>
                </c:pt>
                <c:pt idx="208">
                  <c:v>#N/A</c:v>
                </c:pt>
                <c:pt idx="209">
                  <c:v>68655</c:v>
                </c:pt>
                <c:pt idx="210">
                  <c:v>#N/A</c:v>
                </c:pt>
                <c:pt idx="211">
                  <c:v>#N/A</c:v>
                </c:pt>
                <c:pt idx="212">
                  <c:v>#N/A</c:v>
                </c:pt>
                <c:pt idx="213">
                  <c:v>#N/A</c:v>
                </c:pt>
                <c:pt idx="214">
                  <c:v>#N/A</c:v>
                </c:pt>
                <c:pt idx="215">
                  <c:v>#N/A</c:v>
                </c:pt>
                <c:pt idx="216">
                  <c:v>68325</c:v>
                </c:pt>
                <c:pt idx="217">
                  <c:v>#N/A</c:v>
                </c:pt>
                <c:pt idx="218">
                  <c:v>#N/A</c:v>
                </c:pt>
                <c:pt idx="219">
                  <c:v>#N/A</c:v>
                </c:pt>
                <c:pt idx="220">
                  <c:v>#N/A</c:v>
                </c:pt>
                <c:pt idx="221">
                  <c:v>#N/A</c:v>
                </c:pt>
                <c:pt idx="222">
                  <c:v>#N/A</c:v>
                </c:pt>
                <c:pt idx="223">
                  <c:v>70445</c:v>
                </c:pt>
                <c:pt idx="224">
                  <c:v>#N/A</c:v>
                </c:pt>
                <c:pt idx="225">
                  <c:v>#N/A</c:v>
                </c:pt>
                <c:pt idx="226">
                  <c:v>#N/A</c:v>
                </c:pt>
                <c:pt idx="227">
                  <c:v>#N/A</c:v>
                </c:pt>
                <c:pt idx="228">
                  <c:v>#N/A</c:v>
                </c:pt>
                <c:pt idx="229">
                  <c:v>#N/A</c:v>
                </c:pt>
                <c:pt idx="230">
                  <c:v>71655</c:v>
                </c:pt>
                <c:pt idx="231">
                  <c:v>#N/A</c:v>
                </c:pt>
                <c:pt idx="232">
                  <c:v>#N/A</c:v>
                </c:pt>
                <c:pt idx="233">
                  <c:v>#N/A</c:v>
                </c:pt>
                <c:pt idx="234">
                  <c:v>#N/A</c:v>
                </c:pt>
                <c:pt idx="235">
                  <c:v>#N/A</c:v>
                </c:pt>
                <c:pt idx="236">
                  <c:v>#N/A</c:v>
                </c:pt>
                <c:pt idx="237">
                  <c:v>78470</c:v>
                </c:pt>
                <c:pt idx="238">
                  <c:v>#N/A</c:v>
                </c:pt>
                <c:pt idx="239">
                  <c:v>#N/A</c:v>
                </c:pt>
                <c:pt idx="240">
                  <c:v>#N/A</c:v>
                </c:pt>
                <c:pt idx="241">
                  <c:v>#N/A</c:v>
                </c:pt>
                <c:pt idx="242">
                  <c:v>#N/A</c:v>
                </c:pt>
                <c:pt idx="243">
                  <c:v>#N/A</c:v>
                </c:pt>
                <c:pt idx="244">
                  <c:v>79000</c:v>
                </c:pt>
                <c:pt idx="245">
                  <c:v>#N/A</c:v>
                </c:pt>
                <c:pt idx="246">
                  <c:v>#N/A</c:v>
                </c:pt>
                <c:pt idx="247">
                  <c:v>#N/A</c:v>
                </c:pt>
                <c:pt idx="248">
                  <c:v>#N/A</c:v>
                </c:pt>
                <c:pt idx="249">
                  <c:v>#N/A</c:v>
                </c:pt>
                <c:pt idx="250">
                  <c:v>#N/A</c:v>
                </c:pt>
                <c:pt idx="251">
                  <c:v>80700</c:v>
                </c:pt>
                <c:pt idx="252">
                  <c:v>#N/A</c:v>
                </c:pt>
                <c:pt idx="253">
                  <c:v>#N/A</c:v>
                </c:pt>
                <c:pt idx="254">
                  <c:v>#N/A</c:v>
                </c:pt>
                <c:pt idx="255">
                  <c:v>#N/A</c:v>
                </c:pt>
                <c:pt idx="256">
                  <c:v>#N/A</c:v>
                </c:pt>
                <c:pt idx="257">
                  <c:v>#N/A</c:v>
                </c:pt>
                <c:pt idx="258">
                  <c:v>82210</c:v>
                </c:pt>
                <c:pt idx="259">
                  <c:v>#N/A</c:v>
                </c:pt>
                <c:pt idx="260">
                  <c:v>#N/A</c:v>
                </c:pt>
                <c:pt idx="261">
                  <c:v>#N/A</c:v>
                </c:pt>
                <c:pt idx="262">
                  <c:v>#N/A</c:v>
                </c:pt>
                <c:pt idx="263">
                  <c:v>#N/A</c:v>
                </c:pt>
                <c:pt idx="264">
                  <c:v>#N/A</c:v>
                </c:pt>
                <c:pt idx="265">
                  <c:v>83430</c:v>
                </c:pt>
                <c:pt idx="266">
                  <c:v>#N/A</c:v>
                </c:pt>
                <c:pt idx="267">
                  <c:v>#N/A</c:v>
                </c:pt>
                <c:pt idx="268">
                  <c:v>#N/A</c:v>
                </c:pt>
                <c:pt idx="269">
                  <c:v>#N/A</c:v>
                </c:pt>
                <c:pt idx="270">
                  <c:v>#N/A</c:v>
                </c:pt>
                <c:pt idx="271">
                  <c:v>#N/A</c:v>
                </c:pt>
                <c:pt idx="272">
                  <c:v>83980</c:v>
                </c:pt>
                <c:pt idx="273">
                  <c:v>#N/A</c:v>
                </c:pt>
                <c:pt idx="274">
                  <c:v>#N/A</c:v>
                </c:pt>
                <c:pt idx="275">
                  <c:v>#N/A</c:v>
                </c:pt>
                <c:pt idx="276">
                  <c:v>#N/A</c:v>
                </c:pt>
                <c:pt idx="277">
                  <c:v>#N/A</c:v>
                </c:pt>
                <c:pt idx="278">
                  <c:v>#N/A</c:v>
                </c:pt>
                <c:pt idx="279">
                  <c:v>86020</c:v>
                </c:pt>
                <c:pt idx="280">
                  <c:v>#N/A</c:v>
                </c:pt>
                <c:pt idx="281">
                  <c:v>#N/A</c:v>
                </c:pt>
                <c:pt idx="282">
                  <c:v>#N/A</c:v>
                </c:pt>
                <c:pt idx="283">
                  <c:v>#N/A</c:v>
                </c:pt>
                <c:pt idx="284">
                  <c:v>#N/A</c:v>
                </c:pt>
                <c:pt idx="285">
                  <c:v>#N/A</c:v>
                </c:pt>
                <c:pt idx="286">
                  <c:v>87690</c:v>
                </c:pt>
                <c:pt idx="287">
                  <c:v>#N/A</c:v>
                </c:pt>
                <c:pt idx="288">
                  <c:v>#N/A</c:v>
                </c:pt>
                <c:pt idx="289">
                  <c:v>#N/A</c:v>
                </c:pt>
                <c:pt idx="290">
                  <c:v>#N/A</c:v>
                </c:pt>
                <c:pt idx="291">
                  <c:v>#N/A</c:v>
                </c:pt>
                <c:pt idx="292">
                  <c:v>#N/A</c:v>
                </c:pt>
                <c:pt idx="293">
                  <c:v>90800</c:v>
                </c:pt>
                <c:pt idx="294">
                  <c:v>#N/A</c:v>
                </c:pt>
                <c:pt idx="295">
                  <c:v>#N/A</c:v>
                </c:pt>
                <c:pt idx="296">
                  <c:v>#N/A</c:v>
                </c:pt>
                <c:pt idx="297">
                  <c:v>#N/A</c:v>
                </c:pt>
                <c:pt idx="298">
                  <c:v>#N/A</c:v>
                </c:pt>
                <c:pt idx="299">
                  <c:v>#N/A</c:v>
                </c:pt>
                <c:pt idx="300">
                  <c:v>93570</c:v>
                </c:pt>
                <c:pt idx="301">
                  <c:v>#N/A</c:v>
                </c:pt>
                <c:pt idx="302">
                  <c:v>#N/A</c:v>
                </c:pt>
                <c:pt idx="303">
                  <c:v>#N/A</c:v>
                </c:pt>
                <c:pt idx="304">
                  <c:v>#N/A</c:v>
                </c:pt>
                <c:pt idx="305">
                  <c:v>#N/A</c:v>
                </c:pt>
                <c:pt idx="306">
                  <c:v>#N/A</c:v>
                </c:pt>
                <c:pt idx="307">
                  <c:v>93110</c:v>
                </c:pt>
                <c:pt idx="308">
                  <c:v>#N/A</c:v>
                </c:pt>
                <c:pt idx="309">
                  <c:v>#N/A</c:v>
                </c:pt>
                <c:pt idx="310">
                  <c:v>#N/A</c:v>
                </c:pt>
                <c:pt idx="311">
                  <c:v>#N/A</c:v>
                </c:pt>
                <c:pt idx="312">
                  <c:v>#N/A</c:v>
                </c:pt>
                <c:pt idx="313">
                  <c:v>#N/A</c:v>
                </c:pt>
                <c:pt idx="314">
                  <c:v>92740</c:v>
                </c:pt>
                <c:pt idx="315">
                  <c:v>#N/A</c:v>
                </c:pt>
                <c:pt idx="316">
                  <c:v>#N/A</c:v>
                </c:pt>
                <c:pt idx="317">
                  <c:v>#N/A</c:v>
                </c:pt>
                <c:pt idx="318">
                  <c:v>#N/A</c:v>
                </c:pt>
                <c:pt idx="319">
                  <c:v>#N/A</c:v>
                </c:pt>
                <c:pt idx="320">
                  <c:v>#N/A</c:v>
                </c:pt>
                <c:pt idx="321">
                  <c:v>93650</c:v>
                </c:pt>
                <c:pt idx="322">
                  <c:v>#N/A</c:v>
                </c:pt>
                <c:pt idx="323">
                  <c:v>#N/A</c:v>
                </c:pt>
                <c:pt idx="324">
                  <c:v>#N/A</c:v>
                </c:pt>
                <c:pt idx="325">
                  <c:v>#N/A</c:v>
                </c:pt>
                <c:pt idx="326">
                  <c:v>#N/A</c:v>
                </c:pt>
                <c:pt idx="327">
                  <c:v>#N/A</c:v>
                </c:pt>
                <c:pt idx="328">
                  <c:v>92140</c:v>
                </c:pt>
                <c:pt idx="329">
                  <c:v>#N/A</c:v>
                </c:pt>
                <c:pt idx="330">
                  <c:v>#N/A</c:v>
                </c:pt>
                <c:pt idx="331">
                  <c:v>#N/A</c:v>
                </c:pt>
                <c:pt idx="332">
                  <c:v>#N/A</c:v>
                </c:pt>
                <c:pt idx="333">
                  <c:v>#N/A</c:v>
                </c:pt>
                <c:pt idx="334">
                  <c:v>#N/A</c:v>
                </c:pt>
                <c:pt idx="335">
                  <c:v>91670</c:v>
                </c:pt>
                <c:pt idx="336">
                  <c:v>#N/A</c:v>
                </c:pt>
                <c:pt idx="337">
                  <c:v>#N/A</c:v>
                </c:pt>
                <c:pt idx="338">
                  <c:v>#N/A</c:v>
                </c:pt>
                <c:pt idx="339">
                  <c:v>#N/A</c:v>
                </c:pt>
                <c:pt idx="340">
                  <c:v>#N/A</c:v>
                </c:pt>
                <c:pt idx="341">
                  <c:v>#N/A</c:v>
                </c:pt>
                <c:pt idx="342">
                  <c:v>90570</c:v>
                </c:pt>
                <c:pt idx="343">
                  <c:v>#N/A</c:v>
                </c:pt>
                <c:pt idx="344">
                  <c:v>#N/A</c:v>
                </c:pt>
                <c:pt idx="345">
                  <c:v>#N/A</c:v>
                </c:pt>
                <c:pt idx="346">
                  <c:v>#N/A</c:v>
                </c:pt>
                <c:pt idx="347">
                  <c:v>#N/A</c:v>
                </c:pt>
                <c:pt idx="348">
                  <c:v>#N/A</c:v>
                </c:pt>
                <c:pt idx="349">
                  <c:v>89170</c:v>
                </c:pt>
                <c:pt idx="350">
                  <c:v>#N/A</c:v>
                </c:pt>
                <c:pt idx="351">
                  <c:v>#N/A</c:v>
                </c:pt>
                <c:pt idx="352">
                  <c:v>#N/A</c:v>
                </c:pt>
                <c:pt idx="353">
                  <c:v>#N/A</c:v>
                </c:pt>
                <c:pt idx="354">
                  <c:v>#N/A</c:v>
                </c:pt>
                <c:pt idx="355">
                  <c:v>#N/A</c:v>
                </c:pt>
                <c:pt idx="356">
                  <c:v>87240</c:v>
                </c:pt>
                <c:pt idx="357">
                  <c:v>#N/A</c:v>
                </c:pt>
                <c:pt idx="358">
                  <c:v>#N/A</c:v>
                </c:pt>
                <c:pt idx="359">
                  <c:v>#N/A</c:v>
                </c:pt>
                <c:pt idx="360">
                  <c:v>#N/A</c:v>
                </c:pt>
                <c:pt idx="361">
                  <c:v>#N/A</c:v>
                </c:pt>
                <c:pt idx="362">
                  <c:v>#N/A</c:v>
                </c:pt>
                <c:pt idx="363">
                  <c:v>78040</c:v>
                </c:pt>
                <c:pt idx="364">
                  <c:v>#N/A</c:v>
                </c:pt>
                <c:pt idx="365">
                  <c:v>#N/A</c:v>
                </c:pt>
              </c:numCache>
            </c:numRef>
          </c:val>
          <c:smooth val="0"/>
          <c:extLst>
            <c:ext xmlns:c16="http://schemas.microsoft.com/office/drawing/2014/chart" uri="{C3380CC4-5D6E-409C-BE32-E72D297353CC}">
              <c16:uniqueId val="{00000003-F932-4917-98D5-5255F485518C}"/>
            </c:ext>
          </c:extLst>
        </c:ser>
        <c:ser>
          <c:idx val="4"/>
          <c:order val="4"/>
          <c:tx>
            <c:strRef>
              <c:f>金属硅周度图表!$M$3</c:f>
              <c:strCache>
                <c:ptCount val="1"/>
                <c:pt idx="0">
                  <c:v>2024</c:v>
                </c:pt>
              </c:strCache>
            </c:strRef>
          </c:tx>
          <c:spPr>
            <a:ln w="28575" cap="rnd">
              <a:solidFill>
                <a:schemeClr val="tx1"/>
              </a:solidFill>
              <a:round/>
            </a:ln>
            <a:effectLst/>
          </c:spPr>
          <c:marker>
            <c:symbol val="none"/>
          </c:marker>
          <c:cat>
            <c:strRef>
              <c:f>金属硅周度图表!$H$4:$H$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M$4:$M$369</c:f>
              <c:numCache>
                <c:formatCode>General</c:formatCode>
                <c:ptCount val="366"/>
                <c:pt idx="0">
                  <c:v>#N/A</c:v>
                </c:pt>
                <c:pt idx="1">
                  <c:v>#N/A</c:v>
                </c:pt>
                <c:pt idx="2">
                  <c:v>#N/A</c:v>
                </c:pt>
                <c:pt idx="3">
                  <c:v>#N/A</c:v>
                </c:pt>
                <c:pt idx="4">
                  <c:v>76240</c:v>
                </c:pt>
                <c:pt idx="5">
                  <c:v>#N/A</c:v>
                </c:pt>
                <c:pt idx="6">
                  <c:v>#N/A</c:v>
                </c:pt>
                <c:pt idx="7">
                  <c:v>#N/A</c:v>
                </c:pt>
                <c:pt idx="8">
                  <c:v>#N/A</c:v>
                </c:pt>
                <c:pt idx="9">
                  <c:v>#N/A</c:v>
                </c:pt>
                <c:pt idx="10">
                  <c:v>#N/A</c:v>
                </c:pt>
                <c:pt idx="11">
                  <c:v>76560</c:v>
                </c:pt>
                <c:pt idx="12">
                  <c:v>#N/A</c:v>
                </c:pt>
                <c:pt idx="13">
                  <c:v>#N/A</c:v>
                </c:pt>
                <c:pt idx="14">
                  <c:v>#N/A</c:v>
                </c:pt>
                <c:pt idx="15">
                  <c:v>#N/A</c:v>
                </c:pt>
                <c:pt idx="16">
                  <c:v>#N/A</c:v>
                </c:pt>
                <c:pt idx="17">
                  <c:v>#N/A</c:v>
                </c:pt>
                <c:pt idx="18">
                  <c:v>75730</c:v>
                </c:pt>
                <c:pt idx="19">
                  <c:v>#N/A</c:v>
                </c:pt>
                <c:pt idx="20">
                  <c:v>#N/A</c:v>
                </c:pt>
                <c:pt idx="21">
                  <c:v>#N/A</c:v>
                </c:pt>
                <c:pt idx="22">
                  <c:v>#N/A</c:v>
                </c:pt>
                <c:pt idx="23">
                  <c:v>#N/A</c:v>
                </c:pt>
                <c:pt idx="24">
                  <c:v>#N/A</c:v>
                </c:pt>
                <c:pt idx="25">
                  <c:v>79150</c:v>
                </c:pt>
                <c:pt idx="26">
                  <c:v>#N/A</c:v>
                </c:pt>
                <c:pt idx="27">
                  <c:v>#N/A</c:v>
                </c:pt>
                <c:pt idx="28">
                  <c:v>#N/A</c:v>
                </c:pt>
                <c:pt idx="29">
                  <c:v>#N/A</c:v>
                </c:pt>
                <c:pt idx="30">
                  <c:v>#N/A</c:v>
                </c:pt>
                <c:pt idx="31">
                  <c:v>#N/A</c:v>
                </c:pt>
                <c:pt idx="32">
                  <c:v>78250</c:v>
                </c:pt>
                <c:pt idx="33">
                  <c:v>#N/A</c:v>
                </c:pt>
                <c:pt idx="34">
                  <c:v>#N/A</c:v>
                </c:pt>
                <c:pt idx="35">
                  <c:v>#N/A</c:v>
                </c:pt>
                <c:pt idx="36">
                  <c:v>#N/A</c:v>
                </c:pt>
                <c:pt idx="37">
                  <c:v>#N/A</c:v>
                </c:pt>
                <c:pt idx="38">
                  <c:v>#N/A</c:v>
                </c:pt>
                <c:pt idx="39">
                  <c:v>78340</c:v>
                </c:pt>
                <c:pt idx="40">
                  <c:v>#N/A</c:v>
                </c:pt>
                <c:pt idx="41">
                  <c:v>#N/A</c:v>
                </c:pt>
                <c:pt idx="42">
                  <c:v>#N/A</c:v>
                </c:pt>
                <c:pt idx="43">
                  <c:v>#N/A</c:v>
                </c:pt>
                <c:pt idx="44">
                  <c:v>#N/A</c:v>
                </c:pt>
                <c:pt idx="45">
                  <c:v>#N/A</c:v>
                </c:pt>
                <c:pt idx="46">
                  <c:v>77890</c:v>
                </c:pt>
                <c:pt idx="47">
                  <c:v>#N/A</c:v>
                </c:pt>
                <c:pt idx="48">
                  <c:v>#N/A</c:v>
                </c:pt>
                <c:pt idx="49">
                  <c:v>#N/A</c:v>
                </c:pt>
                <c:pt idx="50">
                  <c:v>#N/A</c:v>
                </c:pt>
                <c:pt idx="51">
                  <c:v>#N/A</c:v>
                </c:pt>
                <c:pt idx="52">
                  <c:v>#N/A</c:v>
                </c:pt>
                <c:pt idx="53">
                  <c:v>78490</c:v>
                </c:pt>
                <c:pt idx="54">
                  <c:v>#N/A</c:v>
                </c:pt>
                <c:pt idx="55">
                  <c:v>#N/A</c:v>
                </c:pt>
                <c:pt idx="56">
                  <c:v>#N/A</c:v>
                </c:pt>
                <c:pt idx="57">
                  <c:v>#N/A</c:v>
                </c:pt>
                <c:pt idx="58">
                  <c:v>#N/A</c:v>
                </c:pt>
                <c:pt idx="59">
                  <c:v>#N/A</c:v>
                </c:pt>
                <c:pt idx="60">
                  <c:v>79700</c:v>
                </c:pt>
                <c:pt idx="61">
                  <c:v>#N/A</c:v>
                </c:pt>
                <c:pt idx="62">
                  <c:v>#N/A</c:v>
                </c:pt>
                <c:pt idx="63">
                  <c:v>#N/A</c:v>
                </c:pt>
                <c:pt idx="64">
                  <c:v>#N/A</c:v>
                </c:pt>
                <c:pt idx="65">
                  <c:v>#N/A</c:v>
                </c:pt>
                <c:pt idx="66">
                  <c:v>#N/A</c:v>
                </c:pt>
                <c:pt idx="67">
                  <c:v>80250</c:v>
                </c:pt>
                <c:pt idx="68">
                  <c:v>#N/A</c:v>
                </c:pt>
                <c:pt idx="69">
                  <c:v>#N/A</c:v>
                </c:pt>
                <c:pt idx="70">
                  <c:v>#N/A</c:v>
                </c:pt>
                <c:pt idx="71">
                  <c:v>#N/A</c:v>
                </c:pt>
                <c:pt idx="72">
                  <c:v>#N/A</c:v>
                </c:pt>
                <c:pt idx="73">
                  <c:v>#N/A</c:v>
                </c:pt>
                <c:pt idx="74">
                  <c:v>80790</c:v>
                </c:pt>
                <c:pt idx="75">
                  <c:v>#N/A</c:v>
                </c:pt>
                <c:pt idx="76">
                  <c:v>#N/A</c:v>
                </c:pt>
                <c:pt idx="77">
                  <c:v>#N/A</c:v>
                </c:pt>
                <c:pt idx="78">
                  <c:v>#N/A</c:v>
                </c:pt>
                <c:pt idx="79">
                  <c:v>#N/A</c:v>
                </c:pt>
                <c:pt idx="80">
                  <c:v>#N/A</c:v>
                </c:pt>
                <c:pt idx="81">
                  <c:v>80660</c:v>
                </c:pt>
                <c:pt idx="82">
                  <c:v>#N/A</c:v>
                </c:pt>
                <c:pt idx="83">
                  <c:v>#N/A</c:v>
                </c:pt>
                <c:pt idx="84">
                  <c:v>#N/A</c:v>
                </c:pt>
                <c:pt idx="85">
                  <c:v>#N/A</c:v>
                </c:pt>
                <c:pt idx="86">
                  <c:v>#N/A</c:v>
                </c:pt>
                <c:pt idx="87">
                  <c:v>#N/A</c:v>
                </c:pt>
                <c:pt idx="88">
                  <c:v>77710</c:v>
                </c:pt>
                <c:pt idx="89">
                  <c:v>#N/A</c:v>
                </c:pt>
                <c:pt idx="90">
                  <c:v>#N/A</c:v>
                </c:pt>
                <c:pt idx="91">
                  <c:v>#N/A</c:v>
                </c:pt>
                <c:pt idx="92">
                  <c:v>#N/A</c:v>
                </c:pt>
                <c:pt idx="93">
                  <c:v>#N/A</c:v>
                </c:pt>
                <c:pt idx="94">
                  <c:v>#N/A</c:v>
                </c:pt>
                <c:pt idx="95">
                  <c:v>75110</c:v>
                </c:pt>
                <c:pt idx="96">
                  <c:v>#N/A</c:v>
                </c:pt>
                <c:pt idx="97">
                  <c:v>#N/A</c:v>
                </c:pt>
                <c:pt idx="98">
                  <c:v>#N/A</c:v>
                </c:pt>
                <c:pt idx="99">
                  <c:v>#N/A</c:v>
                </c:pt>
                <c:pt idx="100">
                  <c:v>#N/A</c:v>
                </c:pt>
                <c:pt idx="101">
                  <c:v>#N/A</c:v>
                </c:pt>
                <c:pt idx="102">
                  <c:v>74970</c:v>
                </c:pt>
                <c:pt idx="103">
                  <c:v>#N/A</c:v>
                </c:pt>
                <c:pt idx="104">
                  <c:v>#N/A</c:v>
                </c:pt>
                <c:pt idx="105">
                  <c:v>#N/A</c:v>
                </c:pt>
                <c:pt idx="106">
                  <c:v>#N/A</c:v>
                </c:pt>
                <c:pt idx="107">
                  <c:v>#N/A</c:v>
                </c:pt>
                <c:pt idx="108">
                  <c:v>#N/A</c:v>
                </c:pt>
                <c:pt idx="109">
                  <c:v>74280</c:v>
                </c:pt>
                <c:pt idx="110">
                  <c:v>#N/A</c:v>
                </c:pt>
                <c:pt idx="111">
                  <c:v>#N/A</c:v>
                </c:pt>
                <c:pt idx="112">
                  <c:v>#N/A</c:v>
                </c:pt>
                <c:pt idx="113">
                  <c:v>#N/A</c:v>
                </c:pt>
                <c:pt idx="114">
                  <c:v>#N/A</c:v>
                </c:pt>
                <c:pt idx="115">
                  <c:v>#N/A</c:v>
                </c:pt>
                <c:pt idx="116">
                  <c:v>83360</c:v>
                </c:pt>
                <c:pt idx="117">
                  <c:v>#N/A</c:v>
                </c:pt>
                <c:pt idx="118">
                  <c:v>#N/A</c:v>
                </c:pt>
                <c:pt idx="119">
                  <c:v>#N/A</c:v>
                </c:pt>
                <c:pt idx="120">
                  <c:v>#N/A</c:v>
                </c:pt>
                <c:pt idx="121">
                  <c:v>#N/A</c:v>
                </c:pt>
                <c:pt idx="122">
                  <c:v>#N/A</c:v>
                </c:pt>
                <c:pt idx="123">
                  <c:v>84780</c:v>
                </c:pt>
                <c:pt idx="124">
                  <c:v>#N/A</c:v>
                </c:pt>
                <c:pt idx="125">
                  <c:v>#N/A</c:v>
                </c:pt>
                <c:pt idx="126">
                  <c:v>#N/A</c:v>
                </c:pt>
                <c:pt idx="127">
                  <c:v>#N/A</c:v>
                </c:pt>
                <c:pt idx="128">
                  <c:v>#N/A</c:v>
                </c:pt>
                <c:pt idx="129">
                  <c:v>#N/A</c:v>
                </c:pt>
                <c:pt idx="130">
                  <c:v>88450</c:v>
                </c:pt>
                <c:pt idx="131">
                  <c:v>#N/A</c:v>
                </c:pt>
                <c:pt idx="132">
                  <c:v>#N/A</c:v>
                </c:pt>
                <c:pt idx="133">
                  <c:v>#N/A</c:v>
                </c:pt>
                <c:pt idx="134">
                  <c:v>#N/A</c:v>
                </c:pt>
                <c:pt idx="135">
                  <c:v>#N/A</c:v>
                </c:pt>
                <c:pt idx="136">
                  <c:v>#N/A</c:v>
                </c:pt>
                <c:pt idx="137">
                  <c:v>90560</c:v>
                </c:pt>
                <c:pt idx="138">
                  <c:v>#N/A</c:v>
                </c:pt>
                <c:pt idx="139">
                  <c:v>#N/A</c:v>
                </c:pt>
                <c:pt idx="140">
                  <c:v>#N/A</c:v>
                </c:pt>
                <c:pt idx="141">
                  <c:v>#N/A</c:v>
                </c:pt>
                <c:pt idx="142">
                  <c:v>#N/A</c:v>
                </c:pt>
                <c:pt idx="143">
                  <c:v>#N/A</c:v>
                </c:pt>
                <c:pt idx="144">
                  <c:v>92910</c:v>
                </c:pt>
                <c:pt idx="145">
                  <c:v>#N/A</c:v>
                </c:pt>
                <c:pt idx="146">
                  <c:v>#N/A</c:v>
                </c:pt>
                <c:pt idx="147">
                  <c:v>#N/A</c:v>
                </c:pt>
                <c:pt idx="148">
                  <c:v>#N/A</c:v>
                </c:pt>
                <c:pt idx="149">
                  <c:v>#N/A</c:v>
                </c:pt>
                <c:pt idx="150">
                  <c:v>#N/A</c:v>
                </c:pt>
                <c:pt idx="151">
                  <c:v>93240</c:v>
                </c:pt>
                <c:pt idx="152">
                  <c:v>#N/A</c:v>
                </c:pt>
                <c:pt idx="153">
                  <c:v>#N/A</c:v>
                </c:pt>
                <c:pt idx="154">
                  <c:v>#N/A</c:v>
                </c:pt>
                <c:pt idx="155">
                  <c:v>#N/A</c:v>
                </c:pt>
                <c:pt idx="156">
                  <c:v>#N/A</c:v>
                </c:pt>
                <c:pt idx="157">
                  <c:v>#N/A</c:v>
                </c:pt>
                <c:pt idx="158">
                  <c:v>95400</c:v>
                </c:pt>
                <c:pt idx="159">
                  <c:v>#N/A</c:v>
                </c:pt>
                <c:pt idx="160">
                  <c:v>#N/A</c:v>
                </c:pt>
                <c:pt idx="161">
                  <c:v>#N/A</c:v>
                </c:pt>
                <c:pt idx="162">
                  <c:v>#N/A</c:v>
                </c:pt>
                <c:pt idx="163">
                  <c:v>#N/A</c:v>
                </c:pt>
                <c:pt idx="164">
                  <c:v>#N/A</c:v>
                </c:pt>
                <c:pt idx="165">
                  <c:v>97580</c:v>
                </c:pt>
                <c:pt idx="166">
                  <c:v>#N/A</c:v>
                </c:pt>
                <c:pt idx="167">
                  <c:v>#N/A</c:v>
                </c:pt>
                <c:pt idx="168">
                  <c:v>#N/A</c:v>
                </c:pt>
                <c:pt idx="169">
                  <c:v>#N/A</c:v>
                </c:pt>
                <c:pt idx="170">
                  <c:v>#N/A</c:v>
                </c:pt>
                <c:pt idx="171">
                  <c:v>#N/A</c:v>
                </c:pt>
                <c:pt idx="172">
                  <c:v>101620</c:v>
                </c:pt>
                <c:pt idx="173">
                  <c:v>#N/A</c:v>
                </c:pt>
                <c:pt idx="174">
                  <c:v>#N/A</c:v>
                </c:pt>
                <c:pt idx="175">
                  <c:v>#N/A</c:v>
                </c:pt>
                <c:pt idx="176">
                  <c:v>#N/A</c:v>
                </c:pt>
                <c:pt idx="177">
                  <c:v>#N/A</c:v>
                </c:pt>
                <c:pt idx="178">
                  <c:v>#N/A</c:v>
                </c:pt>
                <c:pt idx="179">
                  <c:v>104940</c:v>
                </c:pt>
                <c:pt idx="180">
                  <c:v>#N/A</c:v>
                </c:pt>
                <c:pt idx="181">
                  <c:v>#N/A</c:v>
                </c:pt>
                <c:pt idx="182">
                  <c:v>#N/A</c:v>
                </c:pt>
                <c:pt idx="183">
                  <c:v>#N/A</c:v>
                </c:pt>
                <c:pt idx="184">
                  <c:v>#N/A</c:v>
                </c:pt>
                <c:pt idx="185">
                  <c:v>#N/A</c:v>
                </c:pt>
                <c:pt idx="186">
                  <c:v>10906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4-F932-4917-98D5-5255F485518C}"/>
            </c:ext>
          </c:extLst>
        </c:ser>
        <c:dLbls>
          <c:showLegendKey val="0"/>
          <c:showVal val="0"/>
          <c:showCatName val="0"/>
          <c:showSerName val="0"/>
          <c:showPercent val="0"/>
          <c:showBubbleSize val="0"/>
        </c:dLbls>
        <c:smooth val="0"/>
        <c:axId val="303922080"/>
        <c:axId val="273375456"/>
      </c:lineChart>
      <c:catAx>
        <c:axId val="303922080"/>
        <c:scaling>
          <c:orientation val="minMax"/>
        </c:scaling>
        <c:delete val="0"/>
        <c:axPos val="b"/>
        <c:numFmt formatCode="m/d/yy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273375456"/>
        <c:crosses val="autoZero"/>
        <c:auto val="1"/>
        <c:lblAlgn val="ctr"/>
        <c:lblOffset val="100"/>
        <c:noMultiLvlLbl val="0"/>
      </c:catAx>
      <c:valAx>
        <c:axId val="273375456"/>
        <c:scaling>
          <c:orientation val="minMax"/>
          <c:min val="30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3039220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金属硅周度图表!$AG$2</c:f>
          <c:strCache>
            <c:ptCount val="1"/>
            <c:pt idx="0">
              <c:v>周度开工率</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金属硅周度图表!$AH$3</c:f>
              <c:strCache>
                <c:ptCount val="1"/>
                <c:pt idx="0">
                  <c:v>2022</c:v>
                </c:pt>
              </c:strCache>
            </c:strRef>
          </c:tx>
          <c:spPr>
            <a:ln w="19050" cap="rnd">
              <a:solidFill>
                <a:schemeClr val="bg1">
                  <a:lumMod val="65000"/>
                </a:schemeClr>
              </a:solidFill>
              <a:round/>
            </a:ln>
            <a:effectLst/>
          </c:spPr>
          <c:marker>
            <c:symbol val="none"/>
          </c:marker>
          <c:cat>
            <c:strRef>
              <c:f>金属硅周度图表!$AG$4:$AG$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AH$4:$AH$369</c:f>
              <c:numCache>
                <c:formatCode>General</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0-EEF6-4468-9375-DCDF86B78847}"/>
            </c:ext>
          </c:extLst>
        </c:ser>
        <c:ser>
          <c:idx val="1"/>
          <c:order val="1"/>
          <c:tx>
            <c:strRef>
              <c:f>金属硅周度图表!$AI$3</c:f>
              <c:strCache>
                <c:ptCount val="1"/>
                <c:pt idx="0">
                  <c:v>2023</c:v>
                </c:pt>
              </c:strCache>
            </c:strRef>
          </c:tx>
          <c:spPr>
            <a:ln w="19050" cap="rnd">
              <a:solidFill>
                <a:srgbClr val="277E85">
                  <a:alpha val="60000"/>
                </a:srgbClr>
              </a:solidFill>
              <a:round/>
            </a:ln>
            <a:effectLst/>
          </c:spPr>
          <c:marker>
            <c:symbol val="none"/>
          </c:marker>
          <c:cat>
            <c:strRef>
              <c:f>金属硅周度图表!$AG$4:$AG$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AI$4:$AI$369</c:f>
              <c:numCache>
                <c:formatCode>General</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50.69</c:v>
                </c:pt>
                <c:pt idx="48">
                  <c:v>#N/A</c:v>
                </c:pt>
                <c:pt idx="49">
                  <c:v>#N/A</c:v>
                </c:pt>
                <c:pt idx="50">
                  <c:v>#N/A</c:v>
                </c:pt>
                <c:pt idx="51">
                  <c:v>#N/A</c:v>
                </c:pt>
                <c:pt idx="52">
                  <c:v>#N/A</c:v>
                </c:pt>
                <c:pt idx="53">
                  <c:v>#N/A</c:v>
                </c:pt>
                <c:pt idx="54">
                  <c:v>52.11</c:v>
                </c:pt>
                <c:pt idx="55">
                  <c:v>#N/A</c:v>
                </c:pt>
                <c:pt idx="56">
                  <c:v>#N/A</c:v>
                </c:pt>
                <c:pt idx="57">
                  <c:v>#N/A</c:v>
                </c:pt>
                <c:pt idx="58">
                  <c:v>#N/A</c:v>
                </c:pt>
                <c:pt idx="60">
                  <c:v>#N/A</c:v>
                </c:pt>
                <c:pt idx="61">
                  <c:v>#N/A</c:v>
                </c:pt>
                <c:pt idx="62">
                  <c:v>52.11</c:v>
                </c:pt>
                <c:pt idx="63">
                  <c:v>#N/A</c:v>
                </c:pt>
                <c:pt idx="64">
                  <c:v>#N/A</c:v>
                </c:pt>
                <c:pt idx="65">
                  <c:v>#N/A</c:v>
                </c:pt>
                <c:pt idx="66">
                  <c:v>#N/A</c:v>
                </c:pt>
                <c:pt idx="67">
                  <c:v>#N/A</c:v>
                </c:pt>
                <c:pt idx="68">
                  <c:v>#N/A</c:v>
                </c:pt>
                <c:pt idx="69">
                  <c:v>52.43</c:v>
                </c:pt>
                <c:pt idx="70">
                  <c:v>#N/A</c:v>
                </c:pt>
                <c:pt idx="71">
                  <c:v>#N/A</c:v>
                </c:pt>
                <c:pt idx="72">
                  <c:v>#N/A</c:v>
                </c:pt>
                <c:pt idx="73">
                  <c:v>#N/A</c:v>
                </c:pt>
                <c:pt idx="74">
                  <c:v>#N/A</c:v>
                </c:pt>
                <c:pt idx="75">
                  <c:v>#N/A</c:v>
                </c:pt>
                <c:pt idx="76">
                  <c:v>53.41</c:v>
                </c:pt>
                <c:pt idx="77">
                  <c:v>#N/A</c:v>
                </c:pt>
                <c:pt idx="78">
                  <c:v>#N/A</c:v>
                </c:pt>
                <c:pt idx="79">
                  <c:v>#N/A</c:v>
                </c:pt>
                <c:pt idx="80">
                  <c:v>#N/A</c:v>
                </c:pt>
                <c:pt idx="81">
                  <c:v>#N/A</c:v>
                </c:pt>
                <c:pt idx="82">
                  <c:v>#N/A</c:v>
                </c:pt>
                <c:pt idx="83">
                  <c:v>52.26</c:v>
                </c:pt>
                <c:pt idx="84">
                  <c:v>#N/A</c:v>
                </c:pt>
                <c:pt idx="85">
                  <c:v>#N/A</c:v>
                </c:pt>
                <c:pt idx="86">
                  <c:v>#N/A</c:v>
                </c:pt>
                <c:pt idx="87">
                  <c:v>#N/A</c:v>
                </c:pt>
                <c:pt idx="88">
                  <c:v>#N/A</c:v>
                </c:pt>
                <c:pt idx="89">
                  <c:v>#N/A</c:v>
                </c:pt>
                <c:pt idx="90">
                  <c:v>51.97</c:v>
                </c:pt>
                <c:pt idx="91">
                  <c:v>#N/A</c:v>
                </c:pt>
                <c:pt idx="92">
                  <c:v>#N/A</c:v>
                </c:pt>
                <c:pt idx="93">
                  <c:v>#N/A</c:v>
                </c:pt>
                <c:pt idx="94">
                  <c:v>#N/A</c:v>
                </c:pt>
                <c:pt idx="95">
                  <c:v>#N/A</c:v>
                </c:pt>
                <c:pt idx="96">
                  <c:v>#N/A</c:v>
                </c:pt>
                <c:pt idx="97">
                  <c:v>47.57</c:v>
                </c:pt>
                <c:pt idx="98">
                  <c:v>#N/A</c:v>
                </c:pt>
                <c:pt idx="99">
                  <c:v>#N/A</c:v>
                </c:pt>
                <c:pt idx="100">
                  <c:v>#N/A</c:v>
                </c:pt>
                <c:pt idx="101">
                  <c:v>#N/A</c:v>
                </c:pt>
                <c:pt idx="102">
                  <c:v>#N/A</c:v>
                </c:pt>
                <c:pt idx="103">
                  <c:v>#N/A</c:v>
                </c:pt>
                <c:pt idx="104">
                  <c:v>47.76</c:v>
                </c:pt>
                <c:pt idx="105">
                  <c:v>#N/A</c:v>
                </c:pt>
                <c:pt idx="106">
                  <c:v>#N/A</c:v>
                </c:pt>
                <c:pt idx="107">
                  <c:v>#N/A</c:v>
                </c:pt>
                <c:pt idx="108">
                  <c:v>#N/A</c:v>
                </c:pt>
                <c:pt idx="109">
                  <c:v>#N/A</c:v>
                </c:pt>
                <c:pt idx="110">
                  <c:v>#N/A</c:v>
                </c:pt>
                <c:pt idx="111">
                  <c:v>45.35</c:v>
                </c:pt>
                <c:pt idx="112">
                  <c:v>#N/A</c:v>
                </c:pt>
                <c:pt idx="113">
                  <c:v>#N/A</c:v>
                </c:pt>
                <c:pt idx="114">
                  <c:v>#N/A</c:v>
                </c:pt>
                <c:pt idx="115">
                  <c:v>#N/A</c:v>
                </c:pt>
                <c:pt idx="116">
                  <c:v>#N/A</c:v>
                </c:pt>
                <c:pt idx="117">
                  <c:v>#N/A</c:v>
                </c:pt>
                <c:pt idx="118">
                  <c:v>48.43</c:v>
                </c:pt>
                <c:pt idx="119">
                  <c:v>#N/A</c:v>
                </c:pt>
                <c:pt idx="120">
                  <c:v>#N/A</c:v>
                </c:pt>
                <c:pt idx="121">
                  <c:v>#N/A</c:v>
                </c:pt>
                <c:pt idx="122">
                  <c:v>#N/A</c:v>
                </c:pt>
                <c:pt idx="123">
                  <c:v>#N/A</c:v>
                </c:pt>
                <c:pt idx="124">
                  <c:v>#N/A</c:v>
                </c:pt>
                <c:pt idx="125">
                  <c:v>48.4</c:v>
                </c:pt>
                <c:pt idx="126">
                  <c:v>#N/A</c:v>
                </c:pt>
                <c:pt idx="127">
                  <c:v>#N/A</c:v>
                </c:pt>
                <c:pt idx="128">
                  <c:v>#N/A</c:v>
                </c:pt>
                <c:pt idx="129">
                  <c:v>#N/A</c:v>
                </c:pt>
                <c:pt idx="130">
                  <c:v>#N/A</c:v>
                </c:pt>
                <c:pt idx="131">
                  <c:v>#N/A</c:v>
                </c:pt>
                <c:pt idx="132">
                  <c:v>49.14</c:v>
                </c:pt>
                <c:pt idx="133">
                  <c:v>#N/A</c:v>
                </c:pt>
                <c:pt idx="134">
                  <c:v>#N/A</c:v>
                </c:pt>
                <c:pt idx="135">
                  <c:v>#N/A</c:v>
                </c:pt>
                <c:pt idx="136">
                  <c:v>#N/A</c:v>
                </c:pt>
                <c:pt idx="137">
                  <c:v>#N/A</c:v>
                </c:pt>
                <c:pt idx="138">
                  <c:v>#N/A</c:v>
                </c:pt>
                <c:pt idx="139">
                  <c:v>50.36</c:v>
                </c:pt>
                <c:pt idx="140">
                  <c:v>#N/A</c:v>
                </c:pt>
                <c:pt idx="141">
                  <c:v>#N/A</c:v>
                </c:pt>
                <c:pt idx="142">
                  <c:v>#N/A</c:v>
                </c:pt>
                <c:pt idx="143">
                  <c:v>#N/A</c:v>
                </c:pt>
                <c:pt idx="144">
                  <c:v>#N/A</c:v>
                </c:pt>
                <c:pt idx="145">
                  <c:v>#N/A</c:v>
                </c:pt>
                <c:pt idx="146">
                  <c:v>49.4</c:v>
                </c:pt>
                <c:pt idx="147">
                  <c:v>#N/A</c:v>
                </c:pt>
                <c:pt idx="148">
                  <c:v>#N/A</c:v>
                </c:pt>
                <c:pt idx="149">
                  <c:v>#N/A</c:v>
                </c:pt>
                <c:pt idx="150">
                  <c:v>#N/A</c:v>
                </c:pt>
                <c:pt idx="151">
                  <c:v>#N/A</c:v>
                </c:pt>
                <c:pt idx="152">
                  <c:v>#N/A</c:v>
                </c:pt>
                <c:pt idx="153">
                  <c:v>50.03</c:v>
                </c:pt>
                <c:pt idx="154">
                  <c:v>#N/A</c:v>
                </c:pt>
                <c:pt idx="155">
                  <c:v>#N/A</c:v>
                </c:pt>
                <c:pt idx="156">
                  <c:v>#N/A</c:v>
                </c:pt>
                <c:pt idx="157">
                  <c:v>#N/A</c:v>
                </c:pt>
                <c:pt idx="158">
                  <c:v>#N/A</c:v>
                </c:pt>
                <c:pt idx="159">
                  <c:v>#N/A</c:v>
                </c:pt>
                <c:pt idx="160">
                  <c:v>51.81</c:v>
                </c:pt>
                <c:pt idx="161">
                  <c:v>#N/A</c:v>
                </c:pt>
                <c:pt idx="162">
                  <c:v>#N/A</c:v>
                </c:pt>
                <c:pt idx="163">
                  <c:v>#N/A</c:v>
                </c:pt>
                <c:pt idx="164">
                  <c:v>#N/A</c:v>
                </c:pt>
                <c:pt idx="165">
                  <c:v>#N/A</c:v>
                </c:pt>
                <c:pt idx="166">
                  <c:v>#N/A</c:v>
                </c:pt>
                <c:pt idx="167">
                  <c:v>52.97</c:v>
                </c:pt>
                <c:pt idx="168">
                  <c:v>#N/A</c:v>
                </c:pt>
                <c:pt idx="169">
                  <c:v>#N/A</c:v>
                </c:pt>
                <c:pt idx="170">
                  <c:v>#N/A</c:v>
                </c:pt>
                <c:pt idx="171">
                  <c:v>#N/A</c:v>
                </c:pt>
                <c:pt idx="172">
                  <c:v>#N/A</c:v>
                </c:pt>
                <c:pt idx="173">
                  <c:v>#N/A</c:v>
                </c:pt>
                <c:pt idx="174">
                  <c:v>51.08</c:v>
                </c:pt>
                <c:pt idx="175">
                  <c:v>#N/A</c:v>
                </c:pt>
                <c:pt idx="176">
                  <c:v>#N/A</c:v>
                </c:pt>
                <c:pt idx="177">
                  <c:v>#N/A</c:v>
                </c:pt>
                <c:pt idx="178">
                  <c:v>#N/A</c:v>
                </c:pt>
                <c:pt idx="179">
                  <c:v>#N/A</c:v>
                </c:pt>
                <c:pt idx="180">
                  <c:v>#N/A</c:v>
                </c:pt>
                <c:pt idx="181">
                  <c:v>46.91</c:v>
                </c:pt>
                <c:pt idx="182">
                  <c:v>#N/A</c:v>
                </c:pt>
                <c:pt idx="183">
                  <c:v>#N/A</c:v>
                </c:pt>
                <c:pt idx="184">
                  <c:v>#N/A</c:v>
                </c:pt>
                <c:pt idx="185">
                  <c:v>#N/A</c:v>
                </c:pt>
                <c:pt idx="186">
                  <c:v>#N/A</c:v>
                </c:pt>
                <c:pt idx="187">
                  <c:v>#N/A</c:v>
                </c:pt>
                <c:pt idx="188">
                  <c:v>48.81</c:v>
                </c:pt>
                <c:pt idx="189">
                  <c:v>#N/A</c:v>
                </c:pt>
                <c:pt idx="190">
                  <c:v>#N/A</c:v>
                </c:pt>
                <c:pt idx="191">
                  <c:v>#N/A</c:v>
                </c:pt>
                <c:pt idx="192">
                  <c:v>#N/A</c:v>
                </c:pt>
                <c:pt idx="193">
                  <c:v>#N/A</c:v>
                </c:pt>
                <c:pt idx="194">
                  <c:v>#N/A</c:v>
                </c:pt>
                <c:pt idx="195">
                  <c:v>52.02</c:v>
                </c:pt>
                <c:pt idx="196">
                  <c:v>#N/A</c:v>
                </c:pt>
                <c:pt idx="197">
                  <c:v>#N/A</c:v>
                </c:pt>
                <c:pt idx="198">
                  <c:v>#N/A</c:v>
                </c:pt>
                <c:pt idx="199">
                  <c:v>#N/A</c:v>
                </c:pt>
                <c:pt idx="200">
                  <c:v>#N/A</c:v>
                </c:pt>
                <c:pt idx="201">
                  <c:v>#N/A</c:v>
                </c:pt>
                <c:pt idx="202">
                  <c:v>55.36</c:v>
                </c:pt>
                <c:pt idx="203">
                  <c:v>#N/A</c:v>
                </c:pt>
                <c:pt idx="204">
                  <c:v>#N/A</c:v>
                </c:pt>
                <c:pt idx="205">
                  <c:v>#N/A</c:v>
                </c:pt>
                <c:pt idx="206">
                  <c:v>#N/A</c:v>
                </c:pt>
                <c:pt idx="207">
                  <c:v>#N/A</c:v>
                </c:pt>
                <c:pt idx="208">
                  <c:v>#N/A</c:v>
                </c:pt>
                <c:pt idx="209">
                  <c:v>54.45</c:v>
                </c:pt>
                <c:pt idx="210">
                  <c:v>#N/A</c:v>
                </c:pt>
                <c:pt idx="211">
                  <c:v>#N/A</c:v>
                </c:pt>
                <c:pt idx="212">
                  <c:v>#N/A</c:v>
                </c:pt>
                <c:pt idx="213">
                  <c:v>#N/A</c:v>
                </c:pt>
                <c:pt idx="214">
                  <c:v>#N/A</c:v>
                </c:pt>
                <c:pt idx="215">
                  <c:v>#N/A</c:v>
                </c:pt>
                <c:pt idx="216">
                  <c:v>54.19</c:v>
                </c:pt>
                <c:pt idx="217">
                  <c:v>#N/A</c:v>
                </c:pt>
                <c:pt idx="218">
                  <c:v>#N/A</c:v>
                </c:pt>
                <c:pt idx="219">
                  <c:v>#N/A</c:v>
                </c:pt>
                <c:pt idx="220">
                  <c:v>#N/A</c:v>
                </c:pt>
                <c:pt idx="221">
                  <c:v>#N/A</c:v>
                </c:pt>
                <c:pt idx="222">
                  <c:v>#N/A</c:v>
                </c:pt>
                <c:pt idx="223">
                  <c:v>56</c:v>
                </c:pt>
                <c:pt idx="224">
                  <c:v>#N/A</c:v>
                </c:pt>
                <c:pt idx="225">
                  <c:v>#N/A</c:v>
                </c:pt>
                <c:pt idx="226">
                  <c:v>#N/A</c:v>
                </c:pt>
                <c:pt idx="227">
                  <c:v>#N/A</c:v>
                </c:pt>
                <c:pt idx="228">
                  <c:v>#N/A</c:v>
                </c:pt>
                <c:pt idx="229">
                  <c:v>#N/A</c:v>
                </c:pt>
                <c:pt idx="230">
                  <c:v>56.96</c:v>
                </c:pt>
                <c:pt idx="231">
                  <c:v>#N/A</c:v>
                </c:pt>
                <c:pt idx="232">
                  <c:v>#N/A</c:v>
                </c:pt>
                <c:pt idx="233">
                  <c:v>#N/A</c:v>
                </c:pt>
                <c:pt idx="234">
                  <c:v>#N/A</c:v>
                </c:pt>
                <c:pt idx="235">
                  <c:v>#N/A</c:v>
                </c:pt>
                <c:pt idx="236">
                  <c:v>#N/A</c:v>
                </c:pt>
                <c:pt idx="237">
                  <c:v>62.37</c:v>
                </c:pt>
                <c:pt idx="238">
                  <c:v>#N/A</c:v>
                </c:pt>
                <c:pt idx="239">
                  <c:v>#N/A</c:v>
                </c:pt>
                <c:pt idx="240">
                  <c:v>#N/A</c:v>
                </c:pt>
                <c:pt idx="241">
                  <c:v>#N/A</c:v>
                </c:pt>
                <c:pt idx="242">
                  <c:v>#N/A</c:v>
                </c:pt>
                <c:pt idx="243">
                  <c:v>#N/A</c:v>
                </c:pt>
                <c:pt idx="244">
                  <c:v>62.8</c:v>
                </c:pt>
                <c:pt idx="245">
                  <c:v>#N/A</c:v>
                </c:pt>
                <c:pt idx="246">
                  <c:v>#N/A</c:v>
                </c:pt>
                <c:pt idx="247">
                  <c:v>#N/A</c:v>
                </c:pt>
                <c:pt idx="248">
                  <c:v>#N/A</c:v>
                </c:pt>
                <c:pt idx="249">
                  <c:v>#N/A</c:v>
                </c:pt>
                <c:pt idx="250">
                  <c:v>#N/A</c:v>
                </c:pt>
                <c:pt idx="251">
                  <c:v>62.87</c:v>
                </c:pt>
                <c:pt idx="252">
                  <c:v>#N/A</c:v>
                </c:pt>
                <c:pt idx="253">
                  <c:v>#N/A</c:v>
                </c:pt>
                <c:pt idx="254">
                  <c:v>#N/A</c:v>
                </c:pt>
                <c:pt idx="255">
                  <c:v>#N/A</c:v>
                </c:pt>
                <c:pt idx="256">
                  <c:v>#N/A</c:v>
                </c:pt>
                <c:pt idx="257">
                  <c:v>#N/A</c:v>
                </c:pt>
                <c:pt idx="258">
                  <c:v>64.05</c:v>
                </c:pt>
                <c:pt idx="259">
                  <c:v>#N/A</c:v>
                </c:pt>
                <c:pt idx="260">
                  <c:v>#N/A</c:v>
                </c:pt>
                <c:pt idx="261">
                  <c:v>#N/A</c:v>
                </c:pt>
                <c:pt idx="262">
                  <c:v>#N/A</c:v>
                </c:pt>
                <c:pt idx="263">
                  <c:v>#N/A</c:v>
                </c:pt>
                <c:pt idx="264">
                  <c:v>#N/A</c:v>
                </c:pt>
                <c:pt idx="265">
                  <c:v>65</c:v>
                </c:pt>
                <c:pt idx="266">
                  <c:v>#N/A</c:v>
                </c:pt>
                <c:pt idx="267">
                  <c:v>#N/A</c:v>
                </c:pt>
                <c:pt idx="268">
                  <c:v>#N/A</c:v>
                </c:pt>
                <c:pt idx="269">
                  <c:v>#N/A</c:v>
                </c:pt>
                <c:pt idx="270">
                  <c:v>#N/A</c:v>
                </c:pt>
                <c:pt idx="271">
                  <c:v>#N/A</c:v>
                </c:pt>
                <c:pt idx="272">
                  <c:v>65.430000000000007</c:v>
                </c:pt>
                <c:pt idx="273">
                  <c:v>#N/A</c:v>
                </c:pt>
                <c:pt idx="274">
                  <c:v>#N/A</c:v>
                </c:pt>
                <c:pt idx="275">
                  <c:v>#N/A</c:v>
                </c:pt>
                <c:pt idx="276">
                  <c:v>#N/A</c:v>
                </c:pt>
                <c:pt idx="277">
                  <c:v>#N/A</c:v>
                </c:pt>
                <c:pt idx="278">
                  <c:v>#N/A</c:v>
                </c:pt>
                <c:pt idx="279">
                  <c:v>67.02</c:v>
                </c:pt>
                <c:pt idx="280">
                  <c:v>#N/A</c:v>
                </c:pt>
                <c:pt idx="281">
                  <c:v>#N/A</c:v>
                </c:pt>
                <c:pt idx="282">
                  <c:v>#N/A</c:v>
                </c:pt>
                <c:pt idx="283">
                  <c:v>#N/A</c:v>
                </c:pt>
                <c:pt idx="284">
                  <c:v>#N/A</c:v>
                </c:pt>
                <c:pt idx="285">
                  <c:v>#N/A</c:v>
                </c:pt>
                <c:pt idx="286">
                  <c:v>68.319999999999993</c:v>
                </c:pt>
                <c:pt idx="287">
                  <c:v>#N/A</c:v>
                </c:pt>
                <c:pt idx="288">
                  <c:v>#N/A</c:v>
                </c:pt>
                <c:pt idx="289">
                  <c:v>#N/A</c:v>
                </c:pt>
                <c:pt idx="290">
                  <c:v>#N/A</c:v>
                </c:pt>
                <c:pt idx="291">
                  <c:v>#N/A</c:v>
                </c:pt>
                <c:pt idx="292">
                  <c:v>#N/A</c:v>
                </c:pt>
                <c:pt idx="293">
                  <c:v>70.739999999999995</c:v>
                </c:pt>
                <c:pt idx="294">
                  <c:v>#N/A</c:v>
                </c:pt>
                <c:pt idx="295">
                  <c:v>#N/A</c:v>
                </c:pt>
                <c:pt idx="296">
                  <c:v>#N/A</c:v>
                </c:pt>
                <c:pt idx="297">
                  <c:v>#N/A</c:v>
                </c:pt>
                <c:pt idx="298">
                  <c:v>#N/A</c:v>
                </c:pt>
                <c:pt idx="299">
                  <c:v>#N/A</c:v>
                </c:pt>
                <c:pt idx="300">
                  <c:v>72.900000000000006</c:v>
                </c:pt>
                <c:pt idx="301">
                  <c:v>#N/A</c:v>
                </c:pt>
                <c:pt idx="302">
                  <c:v>#N/A</c:v>
                </c:pt>
                <c:pt idx="303">
                  <c:v>#N/A</c:v>
                </c:pt>
                <c:pt idx="304">
                  <c:v>#N/A</c:v>
                </c:pt>
                <c:pt idx="305">
                  <c:v>#N/A</c:v>
                </c:pt>
                <c:pt idx="306">
                  <c:v>#N/A</c:v>
                </c:pt>
                <c:pt idx="307">
                  <c:v>72.540000000000006</c:v>
                </c:pt>
                <c:pt idx="308">
                  <c:v>#N/A</c:v>
                </c:pt>
                <c:pt idx="309">
                  <c:v>#N/A</c:v>
                </c:pt>
                <c:pt idx="310">
                  <c:v>#N/A</c:v>
                </c:pt>
                <c:pt idx="311">
                  <c:v>#N/A</c:v>
                </c:pt>
                <c:pt idx="312">
                  <c:v>#N/A</c:v>
                </c:pt>
                <c:pt idx="313">
                  <c:v>#N/A</c:v>
                </c:pt>
                <c:pt idx="314">
                  <c:v>71.290000000000006</c:v>
                </c:pt>
                <c:pt idx="315">
                  <c:v>#N/A</c:v>
                </c:pt>
                <c:pt idx="316">
                  <c:v>#N/A</c:v>
                </c:pt>
                <c:pt idx="317">
                  <c:v>#N/A</c:v>
                </c:pt>
                <c:pt idx="318">
                  <c:v>#N/A</c:v>
                </c:pt>
                <c:pt idx="319">
                  <c:v>#N/A</c:v>
                </c:pt>
                <c:pt idx="320">
                  <c:v>#N/A</c:v>
                </c:pt>
                <c:pt idx="321">
                  <c:v>71.989999999999995</c:v>
                </c:pt>
                <c:pt idx="322">
                  <c:v>#N/A</c:v>
                </c:pt>
                <c:pt idx="323">
                  <c:v>#N/A</c:v>
                </c:pt>
                <c:pt idx="324">
                  <c:v>#N/A</c:v>
                </c:pt>
                <c:pt idx="325">
                  <c:v>#N/A</c:v>
                </c:pt>
                <c:pt idx="326">
                  <c:v>#N/A</c:v>
                </c:pt>
                <c:pt idx="327">
                  <c:v>#N/A</c:v>
                </c:pt>
                <c:pt idx="328">
                  <c:v>70.83</c:v>
                </c:pt>
                <c:pt idx="329">
                  <c:v>#N/A</c:v>
                </c:pt>
                <c:pt idx="330">
                  <c:v>#N/A</c:v>
                </c:pt>
                <c:pt idx="331">
                  <c:v>#N/A</c:v>
                </c:pt>
                <c:pt idx="332">
                  <c:v>#N/A</c:v>
                </c:pt>
                <c:pt idx="333">
                  <c:v>#N/A</c:v>
                </c:pt>
                <c:pt idx="334">
                  <c:v>#N/A</c:v>
                </c:pt>
                <c:pt idx="335">
                  <c:v>70.47</c:v>
                </c:pt>
                <c:pt idx="336">
                  <c:v>#N/A</c:v>
                </c:pt>
                <c:pt idx="337">
                  <c:v>#N/A</c:v>
                </c:pt>
                <c:pt idx="338">
                  <c:v>#N/A</c:v>
                </c:pt>
                <c:pt idx="339">
                  <c:v>#N/A</c:v>
                </c:pt>
                <c:pt idx="340">
                  <c:v>#N/A</c:v>
                </c:pt>
                <c:pt idx="341">
                  <c:v>#N/A</c:v>
                </c:pt>
                <c:pt idx="342">
                  <c:v>67.900000000000006</c:v>
                </c:pt>
                <c:pt idx="343">
                  <c:v>#N/A</c:v>
                </c:pt>
                <c:pt idx="344">
                  <c:v>#N/A</c:v>
                </c:pt>
                <c:pt idx="345">
                  <c:v>#N/A</c:v>
                </c:pt>
                <c:pt idx="346">
                  <c:v>#N/A</c:v>
                </c:pt>
                <c:pt idx="347">
                  <c:v>#N/A</c:v>
                </c:pt>
                <c:pt idx="348">
                  <c:v>#N/A</c:v>
                </c:pt>
                <c:pt idx="349">
                  <c:v>66.8</c:v>
                </c:pt>
                <c:pt idx="350">
                  <c:v>#N/A</c:v>
                </c:pt>
                <c:pt idx="351">
                  <c:v>#N/A</c:v>
                </c:pt>
                <c:pt idx="352">
                  <c:v>#N/A</c:v>
                </c:pt>
                <c:pt idx="353">
                  <c:v>#N/A</c:v>
                </c:pt>
                <c:pt idx="354">
                  <c:v>#N/A</c:v>
                </c:pt>
                <c:pt idx="355">
                  <c:v>#N/A</c:v>
                </c:pt>
                <c:pt idx="356">
                  <c:v>65.400000000000006</c:v>
                </c:pt>
                <c:pt idx="357">
                  <c:v>#N/A</c:v>
                </c:pt>
                <c:pt idx="358">
                  <c:v>#N/A</c:v>
                </c:pt>
                <c:pt idx="359">
                  <c:v>#N/A</c:v>
                </c:pt>
                <c:pt idx="360">
                  <c:v>#N/A</c:v>
                </c:pt>
                <c:pt idx="361">
                  <c:v>#N/A</c:v>
                </c:pt>
                <c:pt idx="362">
                  <c:v>#N/A</c:v>
                </c:pt>
                <c:pt idx="363">
                  <c:v>58.5</c:v>
                </c:pt>
                <c:pt idx="364">
                  <c:v>#N/A</c:v>
                </c:pt>
                <c:pt idx="365">
                  <c:v>#N/A</c:v>
                </c:pt>
              </c:numCache>
            </c:numRef>
          </c:val>
          <c:smooth val="0"/>
          <c:extLst>
            <c:ext xmlns:c16="http://schemas.microsoft.com/office/drawing/2014/chart" uri="{C3380CC4-5D6E-409C-BE32-E72D297353CC}">
              <c16:uniqueId val="{00000001-EEF6-4468-9375-DCDF86B78847}"/>
            </c:ext>
          </c:extLst>
        </c:ser>
        <c:ser>
          <c:idx val="2"/>
          <c:order val="2"/>
          <c:tx>
            <c:strRef>
              <c:f>金属硅周度图表!$AJ$3</c:f>
              <c:strCache>
                <c:ptCount val="1"/>
                <c:pt idx="0">
                  <c:v>2024</c:v>
                </c:pt>
              </c:strCache>
            </c:strRef>
          </c:tx>
          <c:spPr>
            <a:ln w="28575" cap="rnd">
              <a:solidFill>
                <a:schemeClr val="tx1"/>
              </a:solidFill>
              <a:round/>
            </a:ln>
            <a:effectLst/>
          </c:spPr>
          <c:marker>
            <c:symbol val="none"/>
          </c:marker>
          <c:cat>
            <c:strRef>
              <c:f>金属硅周度图表!$AG$4:$AG$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金属硅周度图表!$AJ$4:$AJ$369</c:f>
              <c:numCache>
                <c:formatCode>General</c:formatCode>
                <c:ptCount val="366"/>
                <c:pt idx="0">
                  <c:v>57.1</c:v>
                </c:pt>
                <c:pt idx="1">
                  <c:v>57.1</c:v>
                </c:pt>
                <c:pt idx="2">
                  <c:v>57.1</c:v>
                </c:pt>
                <c:pt idx="3">
                  <c:v>57.1</c:v>
                </c:pt>
                <c:pt idx="4">
                  <c:v>57.1</c:v>
                </c:pt>
                <c:pt idx="5">
                  <c:v>56.21</c:v>
                </c:pt>
                <c:pt idx="6">
                  <c:v>56.21</c:v>
                </c:pt>
                <c:pt idx="7">
                  <c:v>56.21</c:v>
                </c:pt>
                <c:pt idx="8">
                  <c:v>56.21</c:v>
                </c:pt>
                <c:pt idx="9">
                  <c:v>56.21</c:v>
                </c:pt>
                <c:pt idx="10">
                  <c:v>56.21</c:v>
                </c:pt>
                <c:pt idx="11">
                  <c:v>56.21</c:v>
                </c:pt>
                <c:pt idx="12">
                  <c:v>55.6</c:v>
                </c:pt>
                <c:pt idx="13">
                  <c:v>55.6</c:v>
                </c:pt>
                <c:pt idx="14">
                  <c:v>55.6</c:v>
                </c:pt>
                <c:pt idx="15">
                  <c:v>55.6</c:v>
                </c:pt>
                <c:pt idx="16">
                  <c:v>55.6</c:v>
                </c:pt>
                <c:pt idx="17">
                  <c:v>55.6</c:v>
                </c:pt>
                <c:pt idx="18">
                  <c:v>55.6</c:v>
                </c:pt>
                <c:pt idx="19">
                  <c:v>58.11</c:v>
                </c:pt>
                <c:pt idx="20">
                  <c:v>58.11</c:v>
                </c:pt>
                <c:pt idx="21">
                  <c:v>58.11</c:v>
                </c:pt>
                <c:pt idx="22">
                  <c:v>58.11</c:v>
                </c:pt>
                <c:pt idx="23">
                  <c:v>58.11</c:v>
                </c:pt>
                <c:pt idx="24">
                  <c:v>58.11</c:v>
                </c:pt>
                <c:pt idx="25">
                  <c:v>58.11</c:v>
                </c:pt>
                <c:pt idx="26">
                  <c:v>57.45</c:v>
                </c:pt>
                <c:pt idx="27">
                  <c:v>57.45</c:v>
                </c:pt>
                <c:pt idx="28">
                  <c:v>57.45</c:v>
                </c:pt>
                <c:pt idx="29">
                  <c:v>57.45</c:v>
                </c:pt>
                <c:pt idx="30">
                  <c:v>57.45</c:v>
                </c:pt>
                <c:pt idx="31">
                  <c:v>57.45</c:v>
                </c:pt>
                <c:pt idx="32">
                  <c:v>57.45</c:v>
                </c:pt>
                <c:pt idx="33">
                  <c:v>57.51</c:v>
                </c:pt>
                <c:pt idx="34">
                  <c:v>57.51</c:v>
                </c:pt>
                <c:pt idx="35">
                  <c:v>57.51</c:v>
                </c:pt>
                <c:pt idx="36">
                  <c:v>57.51</c:v>
                </c:pt>
                <c:pt idx="37">
                  <c:v>57.51</c:v>
                </c:pt>
                <c:pt idx="38">
                  <c:v>57.51</c:v>
                </c:pt>
                <c:pt idx="39">
                  <c:v>57.51</c:v>
                </c:pt>
                <c:pt idx="40">
                  <c:v>57.18</c:v>
                </c:pt>
                <c:pt idx="41">
                  <c:v>57.18</c:v>
                </c:pt>
                <c:pt idx="42">
                  <c:v>57.18</c:v>
                </c:pt>
                <c:pt idx="43">
                  <c:v>57.18</c:v>
                </c:pt>
                <c:pt idx="44">
                  <c:v>57.18</c:v>
                </c:pt>
                <c:pt idx="45">
                  <c:v>57.18</c:v>
                </c:pt>
                <c:pt idx="46">
                  <c:v>57.18</c:v>
                </c:pt>
                <c:pt idx="47">
                  <c:v>57.62</c:v>
                </c:pt>
                <c:pt idx="48">
                  <c:v>57.62</c:v>
                </c:pt>
                <c:pt idx="49">
                  <c:v>57.62</c:v>
                </c:pt>
                <c:pt idx="50">
                  <c:v>57.62</c:v>
                </c:pt>
                <c:pt idx="51">
                  <c:v>57.62</c:v>
                </c:pt>
                <c:pt idx="52">
                  <c:v>57.62</c:v>
                </c:pt>
                <c:pt idx="53">
                  <c:v>57.62</c:v>
                </c:pt>
                <c:pt idx="54">
                  <c:v>58.51</c:v>
                </c:pt>
                <c:pt idx="55">
                  <c:v>58.51</c:v>
                </c:pt>
                <c:pt idx="56">
                  <c:v>58.51</c:v>
                </c:pt>
                <c:pt idx="57">
                  <c:v>58.51</c:v>
                </c:pt>
                <c:pt idx="58">
                  <c:v>58.51</c:v>
                </c:pt>
                <c:pt idx="59">
                  <c:v>58.51</c:v>
                </c:pt>
                <c:pt idx="60">
                  <c:v>58.51</c:v>
                </c:pt>
                <c:pt idx="61">
                  <c:v>58.92</c:v>
                </c:pt>
                <c:pt idx="62">
                  <c:v>58.92</c:v>
                </c:pt>
                <c:pt idx="63">
                  <c:v>58.92</c:v>
                </c:pt>
                <c:pt idx="64">
                  <c:v>58.92</c:v>
                </c:pt>
                <c:pt idx="65">
                  <c:v>58.92</c:v>
                </c:pt>
                <c:pt idx="66">
                  <c:v>58.92</c:v>
                </c:pt>
                <c:pt idx="67">
                  <c:v>58.92</c:v>
                </c:pt>
                <c:pt idx="68">
                  <c:v>59.31</c:v>
                </c:pt>
                <c:pt idx="69">
                  <c:v>59.31</c:v>
                </c:pt>
                <c:pt idx="70">
                  <c:v>59.31</c:v>
                </c:pt>
                <c:pt idx="71">
                  <c:v>59.31</c:v>
                </c:pt>
                <c:pt idx="72">
                  <c:v>59.31</c:v>
                </c:pt>
                <c:pt idx="73">
                  <c:v>59.31</c:v>
                </c:pt>
                <c:pt idx="74">
                  <c:v>59.31</c:v>
                </c:pt>
                <c:pt idx="75">
                  <c:v>59.22</c:v>
                </c:pt>
                <c:pt idx="76">
                  <c:v>59.22</c:v>
                </c:pt>
                <c:pt idx="77">
                  <c:v>59.22</c:v>
                </c:pt>
                <c:pt idx="78">
                  <c:v>59.22</c:v>
                </c:pt>
                <c:pt idx="79">
                  <c:v>59.22</c:v>
                </c:pt>
                <c:pt idx="80">
                  <c:v>59.22</c:v>
                </c:pt>
                <c:pt idx="81">
                  <c:v>59.22</c:v>
                </c:pt>
                <c:pt idx="82">
                  <c:v>57.05</c:v>
                </c:pt>
                <c:pt idx="83">
                  <c:v>57.05</c:v>
                </c:pt>
                <c:pt idx="84">
                  <c:v>57.05</c:v>
                </c:pt>
                <c:pt idx="85">
                  <c:v>57.05</c:v>
                </c:pt>
                <c:pt idx="86">
                  <c:v>57.05</c:v>
                </c:pt>
                <c:pt idx="87">
                  <c:v>57.05</c:v>
                </c:pt>
                <c:pt idx="88">
                  <c:v>57.05</c:v>
                </c:pt>
                <c:pt idx="89">
                  <c:v>55.14</c:v>
                </c:pt>
                <c:pt idx="90">
                  <c:v>55.14</c:v>
                </c:pt>
                <c:pt idx="91">
                  <c:v>55.14</c:v>
                </c:pt>
                <c:pt idx="92">
                  <c:v>55.14</c:v>
                </c:pt>
                <c:pt idx="93">
                  <c:v>55.14</c:v>
                </c:pt>
                <c:pt idx="94">
                  <c:v>55.14</c:v>
                </c:pt>
                <c:pt idx="95">
                  <c:v>55.14</c:v>
                </c:pt>
                <c:pt idx="96">
                  <c:v>55.04</c:v>
                </c:pt>
                <c:pt idx="97">
                  <c:v>55.04</c:v>
                </c:pt>
                <c:pt idx="98">
                  <c:v>55.04</c:v>
                </c:pt>
                <c:pt idx="99">
                  <c:v>55.04</c:v>
                </c:pt>
                <c:pt idx="100">
                  <c:v>55.04</c:v>
                </c:pt>
                <c:pt idx="101">
                  <c:v>55.04</c:v>
                </c:pt>
                <c:pt idx="102">
                  <c:v>55.04</c:v>
                </c:pt>
                <c:pt idx="103">
                  <c:v>54.53</c:v>
                </c:pt>
                <c:pt idx="104">
                  <c:v>54.53</c:v>
                </c:pt>
                <c:pt idx="105">
                  <c:v>54.53</c:v>
                </c:pt>
                <c:pt idx="106">
                  <c:v>54.53</c:v>
                </c:pt>
                <c:pt idx="107">
                  <c:v>54.53</c:v>
                </c:pt>
                <c:pt idx="108">
                  <c:v>54.53</c:v>
                </c:pt>
                <c:pt idx="109">
                  <c:v>54.53</c:v>
                </c:pt>
                <c:pt idx="110">
                  <c:v>62.05</c:v>
                </c:pt>
                <c:pt idx="111">
                  <c:v>62.05</c:v>
                </c:pt>
                <c:pt idx="112">
                  <c:v>62.05</c:v>
                </c:pt>
                <c:pt idx="113">
                  <c:v>62.05</c:v>
                </c:pt>
                <c:pt idx="114">
                  <c:v>62.05</c:v>
                </c:pt>
                <c:pt idx="115">
                  <c:v>62.05</c:v>
                </c:pt>
                <c:pt idx="116">
                  <c:v>62.05</c:v>
                </c:pt>
                <c:pt idx="117">
                  <c:v>63.11</c:v>
                </c:pt>
                <c:pt idx="118">
                  <c:v>63.11</c:v>
                </c:pt>
                <c:pt idx="119">
                  <c:v>63.11</c:v>
                </c:pt>
                <c:pt idx="120">
                  <c:v>63.11</c:v>
                </c:pt>
                <c:pt idx="121">
                  <c:v>63.11</c:v>
                </c:pt>
                <c:pt idx="122">
                  <c:v>63.11</c:v>
                </c:pt>
                <c:pt idx="123">
                  <c:v>63.11</c:v>
                </c:pt>
                <c:pt idx="124">
                  <c:v>65.81</c:v>
                </c:pt>
                <c:pt idx="125">
                  <c:v>65.81</c:v>
                </c:pt>
                <c:pt idx="126">
                  <c:v>65.81</c:v>
                </c:pt>
                <c:pt idx="127">
                  <c:v>65.81</c:v>
                </c:pt>
                <c:pt idx="128">
                  <c:v>65.81</c:v>
                </c:pt>
                <c:pt idx="129">
                  <c:v>65.81</c:v>
                </c:pt>
                <c:pt idx="130">
                  <c:v>65.81</c:v>
                </c:pt>
                <c:pt idx="131">
                  <c:v>67.38</c:v>
                </c:pt>
                <c:pt idx="132">
                  <c:v>67.38</c:v>
                </c:pt>
                <c:pt idx="133">
                  <c:v>67.38</c:v>
                </c:pt>
                <c:pt idx="134">
                  <c:v>67.38</c:v>
                </c:pt>
                <c:pt idx="135">
                  <c:v>67.38</c:v>
                </c:pt>
                <c:pt idx="136">
                  <c:v>67.38</c:v>
                </c:pt>
                <c:pt idx="137">
                  <c:v>67.38</c:v>
                </c:pt>
                <c:pt idx="138">
                  <c:v>69.13</c:v>
                </c:pt>
                <c:pt idx="139">
                  <c:v>69.13</c:v>
                </c:pt>
                <c:pt idx="140">
                  <c:v>69.13</c:v>
                </c:pt>
                <c:pt idx="141">
                  <c:v>69.13</c:v>
                </c:pt>
                <c:pt idx="142">
                  <c:v>69.13</c:v>
                </c:pt>
                <c:pt idx="143">
                  <c:v>69.13</c:v>
                </c:pt>
                <c:pt idx="144">
                  <c:v>69.13</c:v>
                </c:pt>
                <c:pt idx="145">
                  <c:v>69.38</c:v>
                </c:pt>
                <c:pt idx="146">
                  <c:v>69.38</c:v>
                </c:pt>
                <c:pt idx="147">
                  <c:v>69.38</c:v>
                </c:pt>
                <c:pt idx="148">
                  <c:v>69.38</c:v>
                </c:pt>
                <c:pt idx="149">
                  <c:v>69.38</c:v>
                </c:pt>
                <c:pt idx="150">
                  <c:v>69.38</c:v>
                </c:pt>
                <c:pt idx="151">
                  <c:v>69.38</c:v>
                </c:pt>
                <c:pt idx="152">
                  <c:v>70.819999999999993</c:v>
                </c:pt>
                <c:pt idx="153">
                  <c:v>70.819999999999993</c:v>
                </c:pt>
                <c:pt idx="154">
                  <c:v>70.819999999999993</c:v>
                </c:pt>
                <c:pt idx="155">
                  <c:v>70.819999999999993</c:v>
                </c:pt>
                <c:pt idx="156">
                  <c:v>70.819999999999993</c:v>
                </c:pt>
                <c:pt idx="157">
                  <c:v>70.819999999999993</c:v>
                </c:pt>
                <c:pt idx="158">
                  <c:v>70.819999999999993</c:v>
                </c:pt>
                <c:pt idx="159">
                  <c:v>72.44</c:v>
                </c:pt>
                <c:pt idx="160">
                  <c:v>72.44</c:v>
                </c:pt>
                <c:pt idx="161">
                  <c:v>72.44</c:v>
                </c:pt>
                <c:pt idx="162">
                  <c:v>72.44</c:v>
                </c:pt>
                <c:pt idx="163">
                  <c:v>72.44</c:v>
                </c:pt>
                <c:pt idx="164">
                  <c:v>72.44</c:v>
                </c:pt>
                <c:pt idx="165">
                  <c:v>72.44</c:v>
                </c:pt>
                <c:pt idx="166">
                  <c:v>75.44</c:v>
                </c:pt>
                <c:pt idx="167">
                  <c:v>75.44</c:v>
                </c:pt>
                <c:pt idx="168">
                  <c:v>75.44</c:v>
                </c:pt>
                <c:pt idx="169">
                  <c:v>75.44</c:v>
                </c:pt>
                <c:pt idx="170">
                  <c:v>75.44</c:v>
                </c:pt>
                <c:pt idx="171">
                  <c:v>75.44</c:v>
                </c:pt>
                <c:pt idx="172">
                  <c:v>75.44</c:v>
                </c:pt>
                <c:pt idx="173">
                  <c:v>77.900000000000006</c:v>
                </c:pt>
                <c:pt idx="174">
                  <c:v>77.900000000000006</c:v>
                </c:pt>
                <c:pt idx="175">
                  <c:v>77.900000000000006</c:v>
                </c:pt>
                <c:pt idx="176">
                  <c:v>77.900000000000006</c:v>
                </c:pt>
                <c:pt idx="177">
                  <c:v>77.900000000000006</c:v>
                </c:pt>
                <c:pt idx="178">
                  <c:v>77.900000000000006</c:v>
                </c:pt>
                <c:pt idx="179">
                  <c:v>77.900000000000006</c:v>
                </c:pt>
                <c:pt idx="180">
                  <c:v>80.959999999999994</c:v>
                </c:pt>
                <c:pt idx="181">
                  <c:v>80.959999999999994</c:v>
                </c:pt>
                <c:pt idx="182">
                  <c:v>80.959999999999994</c:v>
                </c:pt>
                <c:pt idx="183">
                  <c:v>80.959999999999994</c:v>
                </c:pt>
                <c:pt idx="184">
                  <c:v>80.959999999999994</c:v>
                </c:pt>
                <c:pt idx="185">
                  <c:v>80.959999999999994</c:v>
                </c:pt>
                <c:pt idx="186">
                  <c:v>80.959999999999994</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2-EEF6-4468-9375-DCDF86B78847}"/>
            </c:ext>
          </c:extLst>
        </c:ser>
        <c:dLbls>
          <c:showLegendKey val="0"/>
          <c:showVal val="0"/>
          <c:showCatName val="0"/>
          <c:showSerName val="0"/>
          <c:showPercent val="0"/>
          <c:showBubbleSize val="0"/>
        </c:dLbls>
        <c:smooth val="0"/>
        <c:axId val="1705269520"/>
        <c:axId val="1089557664"/>
      </c:lineChart>
      <c:catAx>
        <c:axId val="1705269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089557664"/>
        <c:crosses val="autoZero"/>
        <c:auto val="1"/>
        <c:lblAlgn val="ctr"/>
        <c:lblOffset val="100"/>
        <c:noMultiLvlLbl val="0"/>
      </c:catAx>
      <c:valAx>
        <c:axId val="1089557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705269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zh-CN"/>
              <a:t>区域周度产量</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manualLayout>
          <c:layoutTarget val="inner"/>
          <c:xMode val="edge"/>
          <c:yMode val="edge"/>
          <c:x val="0.11635810105766062"/>
          <c:y val="0.16935873015873015"/>
          <c:w val="0.84272065715478151"/>
          <c:h val="0.57553293650793647"/>
        </c:manualLayout>
      </c:layout>
      <c:areaChart>
        <c:grouping val="stacked"/>
        <c:varyColors val="0"/>
        <c:ser>
          <c:idx val="1"/>
          <c:order val="0"/>
          <c:tx>
            <c:strRef>
              <c:f>金属硅周度图表!$W$3</c:f>
              <c:strCache>
                <c:ptCount val="1"/>
                <c:pt idx="0">
                  <c:v>西北地区</c:v>
                </c:pt>
              </c:strCache>
            </c:strRef>
          </c:tx>
          <c:spPr>
            <a:solidFill>
              <a:schemeClr val="accent2"/>
            </a:solidFill>
            <a:ln>
              <a:noFill/>
            </a:ln>
            <a:effectLst/>
          </c:spPr>
          <c:cat>
            <c:numRef>
              <c:f>金属硅周度图表!$Q$4:$Q$22</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金属硅周度图表!$W$4:$W$56</c:f>
              <c:numCache>
                <c:formatCode>General</c:formatCode>
                <c:ptCount val="53"/>
                <c:pt idx="0">
                  <c:v>59900</c:v>
                </c:pt>
                <c:pt idx="1">
                  <c:v>60550</c:v>
                </c:pt>
                <c:pt idx="2">
                  <c:v>60350</c:v>
                </c:pt>
                <c:pt idx="3">
                  <c:v>60250</c:v>
                </c:pt>
                <c:pt idx="4">
                  <c:v>60490</c:v>
                </c:pt>
                <c:pt idx="5">
                  <c:v>60390</c:v>
                </c:pt>
                <c:pt idx="6">
                  <c:v>61290</c:v>
                </c:pt>
                <c:pt idx="7">
                  <c:v>59110</c:v>
                </c:pt>
                <c:pt idx="8">
                  <c:v>58240</c:v>
                </c:pt>
                <c:pt idx="9">
                  <c:v>55110</c:v>
                </c:pt>
                <c:pt idx="10">
                  <c:v>51080</c:v>
                </c:pt>
                <c:pt idx="11">
                  <c:v>47380</c:v>
                </c:pt>
                <c:pt idx="12">
                  <c:v>48230</c:v>
                </c:pt>
                <c:pt idx="13">
                  <c:v>48470</c:v>
                </c:pt>
                <c:pt idx="14">
                  <c:v>49120</c:v>
                </c:pt>
                <c:pt idx="15">
                  <c:v>50720</c:v>
                </c:pt>
                <c:pt idx="16">
                  <c:v>50720</c:v>
                </c:pt>
                <c:pt idx="17">
                  <c:v>50400</c:v>
                </c:pt>
                <c:pt idx="18">
                  <c:v>49200</c:v>
                </c:pt>
                <c:pt idx="19">
                  <c:v>48480</c:v>
                </c:pt>
                <c:pt idx="20">
                  <c:v>48180</c:v>
                </c:pt>
                <c:pt idx="21">
                  <c:v>48080</c:v>
                </c:pt>
                <c:pt idx="22">
                  <c:v>47680</c:v>
                </c:pt>
                <c:pt idx="23">
                  <c:v>47680</c:v>
                </c:pt>
                <c:pt idx="24">
                  <c:v>43630</c:v>
                </c:pt>
                <c:pt idx="25">
                  <c:v>43220</c:v>
                </c:pt>
                <c:pt idx="26">
                  <c:v>43180</c:v>
                </c:pt>
                <c:pt idx="27">
                  <c:v>44130</c:v>
                </c:pt>
                <c:pt idx="28">
                  <c:v>51270</c:v>
                </c:pt>
                <c:pt idx="29">
                  <c:v>51890</c:v>
                </c:pt>
                <c:pt idx="30">
                  <c:v>50020</c:v>
                </c:pt>
                <c:pt idx="31">
                  <c:v>46420</c:v>
                </c:pt>
                <c:pt idx="32">
                  <c:v>44930</c:v>
                </c:pt>
                <c:pt idx="33">
                  <c:v>44530</c:v>
                </c:pt>
                <c:pt idx="34">
                  <c:v>43770</c:v>
                </c:pt>
                <c:pt idx="35">
                  <c:v>41550</c:v>
                </c:pt>
                <c:pt idx="36">
                  <c:v>41550</c:v>
                </c:pt>
                <c:pt idx="37">
                  <c:v>39750</c:v>
                </c:pt>
                <c:pt idx="38">
                  <c:v>38630</c:v>
                </c:pt>
                <c:pt idx="39">
                  <c:v>38230</c:v>
                </c:pt>
                <c:pt idx="40">
                  <c:v>36730</c:v>
                </c:pt>
                <c:pt idx="41">
                  <c:v>36530</c:v>
                </c:pt>
                <c:pt idx="42">
                  <c:v>36530</c:v>
                </c:pt>
                <c:pt idx="43">
                  <c:v>35990</c:v>
                </c:pt>
                <c:pt idx="44">
                  <c:v>35530</c:v>
                </c:pt>
                <c:pt idx="45">
                  <c:v>35530</c:v>
                </c:pt>
                <c:pt idx="46">
                  <c:v>36015</c:v>
                </c:pt>
                <c:pt idx="47">
                  <c:v>35835</c:v>
                </c:pt>
                <c:pt idx="48">
                  <c:v>35075</c:v>
                </c:pt>
                <c:pt idx="49">
                  <c:v>34715</c:v>
                </c:pt>
                <c:pt idx="50">
                  <c:v>34290</c:v>
                </c:pt>
                <c:pt idx="51">
                  <c:v>31930</c:v>
                </c:pt>
                <c:pt idx="52">
                  <c:v>30130</c:v>
                </c:pt>
              </c:numCache>
            </c:numRef>
          </c:val>
          <c:extLst>
            <c:ext xmlns:c16="http://schemas.microsoft.com/office/drawing/2014/chart" uri="{C3380CC4-5D6E-409C-BE32-E72D297353CC}">
              <c16:uniqueId val="{00000000-8DF5-45C7-8991-006272883022}"/>
            </c:ext>
          </c:extLst>
        </c:ser>
        <c:ser>
          <c:idx val="2"/>
          <c:order val="1"/>
          <c:tx>
            <c:strRef>
              <c:f>金属硅周度图表!$X$3</c:f>
              <c:strCache>
                <c:ptCount val="1"/>
                <c:pt idx="0">
                  <c:v>西南地区</c:v>
                </c:pt>
              </c:strCache>
            </c:strRef>
          </c:tx>
          <c:spPr>
            <a:solidFill>
              <a:schemeClr val="accent5">
                <a:lumMod val="75000"/>
              </a:schemeClr>
            </a:solidFill>
            <a:ln>
              <a:noFill/>
            </a:ln>
            <a:effectLst/>
          </c:spPr>
          <c:cat>
            <c:numRef>
              <c:f>金属硅周度图表!$Q$4:$Q$22</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金属硅周度图表!$X$4:$X$56</c:f>
              <c:numCache>
                <c:formatCode>General</c:formatCode>
                <c:ptCount val="53"/>
                <c:pt idx="0">
                  <c:v>35090</c:v>
                </c:pt>
                <c:pt idx="1">
                  <c:v>31770</c:v>
                </c:pt>
                <c:pt idx="2">
                  <c:v>28650</c:v>
                </c:pt>
                <c:pt idx="3">
                  <c:v>24610</c:v>
                </c:pt>
                <c:pt idx="4">
                  <c:v>21730</c:v>
                </c:pt>
                <c:pt idx="5">
                  <c:v>19470</c:v>
                </c:pt>
                <c:pt idx="6">
                  <c:v>18240</c:v>
                </c:pt>
                <c:pt idx="7">
                  <c:v>17740</c:v>
                </c:pt>
                <c:pt idx="8">
                  <c:v>15900</c:v>
                </c:pt>
                <c:pt idx="9">
                  <c:v>13800</c:v>
                </c:pt>
                <c:pt idx="10">
                  <c:v>11410</c:v>
                </c:pt>
                <c:pt idx="11">
                  <c:v>10880</c:v>
                </c:pt>
                <c:pt idx="12">
                  <c:v>10480</c:v>
                </c:pt>
                <c:pt idx="13">
                  <c:v>10480</c:v>
                </c:pt>
                <c:pt idx="14">
                  <c:v>12130</c:v>
                </c:pt>
                <c:pt idx="15">
                  <c:v>13480</c:v>
                </c:pt>
                <c:pt idx="16">
                  <c:v>13910</c:v>
                </c:pt>
                <c:pt idx="17">
                  <c:v>13730</c:v>
                </c:pt>
                <c:pt idx="18">
                  <c:v>14730</c:v>
                </c:pt>
                <c:pt idx="19">
                  <c:v>14230</c:v>
                </c:pt>
                <c:pt idx="20">
                  <c:v>14230</c:v>
                </c:pt>
                <c:pt idx="21">
                  <c:v>14380</c:v>
                </c:pt>
                <c:pt idx="22">
                  <c:v>14130</c:v>
                </c:pt>
                <c:pt idx="23">
                  <c:v>14290</c:v>
                </c:pt>
                <c:pt idx="24">
                  <c:v>15080</c:v>
                </c:pt>
                <c:pt idx="25">
                  <c:v>15190</c:v>
                </c:pt>
                <c:pt idx="26">
                  <c:v>15110</c:v>
                </c:pt>
                <c:pt idx="27">
                  <c:v>16150</c:v>
                </c:pt>
                <c:pt idx="28">
                  <c:v>17510</c:v>
                </c:pt>
                <c:pt idx="29">
                  <c:v>18260</c:v>
                </c:pt>
                <c:pt idx="30">
                  <c:v>21950</c:v>
                </c:pt>
                <c:pt idx="31">
                  <c:v>26300</c:v>
                </c:pt>
                <c:pt idx="32">
                  <c:v>28010</c:v>
                </c:pt>
                <c:pt idx="33">
                  <c:v>30120</c:v>
                </c:pt>
                <c:pt idx="34">
                  <c:v>32120</c:v>
                </c:pt>
                <c:pt idx="35">
                  <c:v>35580</c:v>
                </c:pt>
                <c:pt idx="36">
                  <c:v>36450</c:v>
                </c:pt>
                <c:pt idx="37">
                  <c:v>35990</c:v>
                </c:pt>
                <c:pt idx="38">
                  <c:v>34690</c:v>
                </c:pt>
                <c:pt idx="39">
                  <c:v>33770</c:v>
                </c:pt>
                <c:pt idx="40">
                  <c:v>33770</c:v>
                </c:pt>
                <c:pt idx="41">
                  <c:v>33770</c:v>
                </c:pt>
                <c:pt idx="42">
                  <c:v>33460</c:v>
                </c:pt>
                <c:pt idx="43">
                  <c:v>33460</c:v>
                </c:pt>
                <c:pt idx="44">
                  <c:v>32200</c:v>
                </c:pt>
                <c:pt idx="45">
                  <c:v>31850</c:v>
                </c:pt>
                <c:pt idx="46">
                  <c:v>25410</c:v>
                </c:pt>
                <c:pt idx="47">
                  <c:v>24200</c:v>
                </c:pt>
                <c:pt idx="48">
                  <c:v>22660</c:v>
                </c:pt>
                <c:pt idx="49">
                  <c:v>23620</c:v>
                </c:pt>
                <c:pt idx="50">
                  <c:v>24820</c:v>
                </c:pt>
                <c:pt idx="51">
                  <c:v>22810</c:v>
                </c:pt>
                <c:pt idx="52">
                  <c:v>20410</c:v>
                </c:pt>
              </c:numCache>
            </c:numRef>
          </c:val>
          <c:extLst>
            <c:ext xmlns:c16="http://schemas.microsoft.com/office/drawing/2014/chart" uri="{C3380CC4-5D6E-409C-BE32-E72D297353CC}">
              <c16:uniqueId val="{00000001-8DF5-45C7-8991-006272883022}"/>
            </c:ext>
          </c:extLst>
        </c:ser>
        <c:ser>
          <c:idx val="5"/>
          <c:order val="2"/>
          <c:tx>
            <c:strRef>
              <c:f>金属硅周度图表!$AA$3</c:f>
              <c:strCache>
                <c:ptCount val="1"/>
                <c:pt idx="0">
                  <c:v>其他</c:v>
                </c:pt>
              </c:strCache>
            </c:strRef>
          </c:tx>
          <c:spPr>
            <a:solidFill>
              <a:schemeClr val="accent6"/>
            </a:solidFill>
            <a:ln>
              <a:noFill/>
            </a:ln>
            <a:effectLst/>
          </c:spPr>
          <c:cat>
            <c:numRef>
              <c:f>金属硅周度图表!$Q$4:$Q$22</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金属硅周度图表!$AA$4:$AA$56</c:f>
              <c:numCache>
                <c:formatCode>General</c:formatCode>
                <c:ptCount val="53"/>
                <c:pt idx="0">
                  <c:v>6420</c:v>
                </c:pt>
                <c:pt idx="1">
                  <c:v>6190</c:v>
                </c:pt>
                <c:pt idx="2">
                  <c:v>6190</c:v>
                </c:pt>
                <c:pt idx="3">
                  <c:v>6290</c:v>
                </c:pt>
                <c:pt idx="4">
                  <c:v>6390</c:v>
                </c:pt>
                <c:pt idx="5">
                  <c:v>6590</c:v>
                </c:pt>
                <c:pt idx="6">
                  <c:v>6590</c:v>
                </c:pt>
                <c:pt idx="7">
                  <c:v>6920</c:v>
                </c:pt>
                <c:pt idx="8">
                  <c:v>7520</c:v>
                </c:pt>
                <c:pt idx="9">
                  <c:v>9110</c:v>
                </c:pt>
                <c:pt idx="10">
                  <c:v>8330</c:v>
                </c:pt>
                <c:pt idx="11">
                  <c:v>9610</c:v>
                </c:pt>
                <c:pt idx="12">
                  <c:v>9850</c:v>
                </c:pt>
                <c:pt idx="13">
                  <c:v>9750</c:v>
                </c:pt>
                <c:pt idx="14">
                  <c:v>10050</c:v>
                </c:pt>
                <c:pt idx="15">
                  <c:v>10050</c:v>
                </c:pt>
                <c:pt idx="16">
                  <c:v>9750</c:v>
                </c:pt>
                <c:pt idx="17">
                  <c:v>9890</c:v>
                </c:pt>
                <c:pt idx="18">
                  <c:v>9540</c:v>
                </c:pt>
                <c:pt idx="19">
                  <c:v>9550</c:v>
                </c:pt>
                <c:pt idx="20">
                  <c:v>9250</c:v>
                </c:pt>
                <c:pt idx="21">
                  <c:v>9600</c:v>
                </c:pt>
                <c:pt idx="22">
                  <c:v>9980</c:v>
                </c:pt>
                <c:pt idx="23">
                  <c:v>10720</c:v>
                </c:pt>
                <c:pt idx="24">
                  <c:v>11210</c:v>
                </c:pt>
                <c:pt idx="25">
                  <c:v>11690</c:v>
                </c:pt>
                <c:pt idx="26">
                  <c:v>11490</c:v>
                </c:pt>
                <c:pt idx="27">
                  <c:v>11730</c:v>
                </c:pt>
                <c:pt idx="28">
                  <c:v>12430</c:v>
                </c:pt>
                <c:pt idx="29">
                  <c:v>12830</c:v>
                </c:pt>
                <c:pt idx="30">
                  <c:v>12240</c:v>
                </c:pt>
                <c:pt idx="31">
                  <c:v>12590</c:v>
                </c:pt>
                <c:pt idx="32">
                  <c:v>12840</c:v>
                </c:pt>
                <c:pt idx="33">
                  <c:v>12840</c:v>
                </c:pt>
                <c:pt idx="34">
                  <c:v>11170</c:v>
                </c:pt>
                <c:pt idx="35">
                  <c:v>10300</c:v>
                </c:pt>
                <c:pt idx="36">
                  <c:v>9890</c:v>
                </c:pt>
                <c:pt idx="37">
                  <c:v>9380</c:v>
                </c:pt>
                <c:pt idx="38">
                  <c:v>8690</c:v>
                </c:pt>
                <c:pt idx="39">
                  <c:v>8340</c:v>
                </c:pt>
                <c:pt idx="40">
                  <c:v>7680</c:v>
                </c:pt>
                <c:pt idx="41">
                  <c:v>7330</c:v>
                </c:pt>
                <c:pt idx="42">
                  <c:v>6780</c:v>
                </c:pt>
                <c:pt idx="43">
                  <c:v>6610</c:v>
                </c:pt>
                <c:pt idx="44">
                  <c:v>6630</c:v>
                </c:pt>
                <c:pt idx="45">
                  <c:v>6450</c:v>
                </c:pt>
                <c:pt idx="46">
                  <c:v>6250</c:v>
                </c:pt>
                <c:pt idx="47">
                  <c:v>6430</c:v>
                </c:pt>
                <c:pt idx="48">
                  <c:v>6460</c:v>
                </c:pt>
                <c:pt idx="49">
                  <c:v>6370</c:v>
                </c:pt>
                <c:pt idx="50">
                  <c:v>6830</c:v>
                </c:pt>
                <c:pt idx="51">
                  <c:v>7010</c:v>
                </c:pt>
                <c:pt idx="52">
                  <c:v>7160</c:v>
                </c:pt>
              </c:numCache>
            </c:numRef>
          </c:val>
          <c:extLst>
            <c:ext xmlns:c16="http://schemas.microsoft.com/office/drawing/2014/chart" uri="{C3380CC4-5D6E-409C-BE32-E72D297353CC}">
              <c16:uniqueId val="{00000002-8DF5-45C7-8991-006272883022}"/>
            </c:ext>
          </c:extLst>
        </c:ser>
        <c:ser>
          <c:idx val="0"/>
          <c:order val="3"/>
          <c:tx>
            <c:strRef>
              <c:f>金属硅周度图表!$V$3</c:f>
              <c:strCache>
                <c:ptCount val="1"/>
                <c:pt idx="0">
                  <c:v>华北地区</c:v>
                </c:pt>
              </c:strCache>
            </c:strRef>
          </c:tx>
          <c:spPr>
            <a:solidFill>
              <a:schemeClr val="accent3">
                <a:lumMod val="20000"/>
                <a:lumOff val="80000"/>
              </a:schemeClr>
            </a:solidFill>
            <a:ln>
              <a:noFill/>
            </a:ln>
            <a:effectLst/>
          </c:spPr>
          <c:cat>
            <c:numRef>
              <c:f>金属硅周度图表!$Q$4:$Q$22</c:f>
              <c:numCache>
                <c:formatCode>m/d/yyyy</c:formatCode>
                <c:ptCount val="19"/>
                <c:pt idx="0">
                  <c:v>45478</c:v>
                </c:pt>
                <c:pt idx="1">
                  <c:v>45471</c:v>
                </c:pt>
                <c:pt idx="2">
                  <c:v>45464</c:v>
                </c:pt>
                <c:pt idx="3">
                  <c:v>45457</c:v>
                </c:pt>
                <c:pt idx="4">
                  <c:v>45450</c:v>
                </c:pt>
                <c:pt idx="5">
                  <c:v>45443</c:v>
                </c:pt>
                <c:pt idx="6">
                  <c:v>45436</c:v>
                </c:pt>
                <c:pt idx="7">
                  <c:v>45429</c:v>
                </c:pt>
                <c:pt idx="8">
                  <c:v>45422</c:v>
                </c:pt>
                <c:pt idx="9">
                  <c:v>45415</c:v>
                </c:pt>
                <c:pt idx="10">
                  <c:v>45408</c:v>
                </c:pt>
                <c:pt idx="11">
                  <c:v>45401</c:v>
                </c:pt>
                <c:pt idx="12">
                  <c:v>45394</c:v>
                </c:pt>
                <c:pt idx="13">
                  <c:v>45387</c:v>
                </c:pt>
                <c:pt idx="14">
                  <c:v>45380</c:v>
                </c:pt>
                <c:pt idx="15">
                  <c:v>45373</c:v>
                </c:pt>
                <c:pt idx="16">
                  <c:v>45366</c:v>
                </c:pt>
                <c:pt idx="17">
                  <c:v>45359</c:v>
                </c:pt>
                <c:pt idx="18">
                  <c:v>45352</c:v>
                </c:pt>
              </c:numCache>
            </c:numRef>
          </c:cat>
          <c:val>
            <c:numRef>
              <c:f>金属硅周度图表!$V$4:$V$56</c:f>
              <c:numCache>
                <c:formatCode>General</c:formatCode>
                <c:ptCount val="53"/>
                <c:pt idx="0">
                  <c:v>7650</c:v>
                </c:pt>
                <c:pt idx="1">
                  <c:v>6430</c:v>
                </c:pt>
                <c:pt idx="2">
                  <c:v>6430</c:v>
                </c:pt>
                <c:pt idx="3">
                  <c:v>6430</c:v>
                </c:pt>
                <c:pt idx="4">
                  <c:v>6790</c:v>
                </c:pt>
                <c:pt idx="5">
                  <c:v>6790</c:v>
                </c:pt>
                <c:pt idx="6">
                  <c:v>6790</c:v>
                </c:pt>
                <c:pt idx="7">
                  <c:v>6790</c:v>
                </c:pt>
                <c:pt idx="8">
                  <c:v>6790</c:v>
                </c:pt>
                <c:pt idx="9">
                  <c:v>6760</c:v>
                </c:pt>
                <c:pt idx="10">
                  <c:v>6410</c:v>
                </c:pt>
                <c:pt idx="11">
                  <c:v>6410</c:v>
                </c:pt>
                <c:pt idx="12">
                  <c:v>6410</c:v>
                </c:pt>
                <c:pt idx="13">
                  <c:v>6410</c:v>
                </c:pt>
                <c:pt idx="14">
                  <c:v>6410</c:v>
                </c:pt>
                <c:pt idx="15">
                  <c:v>6410</c:v>
                </c:pt>
                <c:pt idx="16">
                  <c:v>6410</c:v>
                </c:pt>
                <c:pt idx="17">
                  <c:v>6230</c:v>
                </c:pt>
                <c:pt idx="18">
                  <c:v>6230</c:v>
                </c:pt>
                <c:pt idx="19">
                  <c:v>6230</c:v>
                </c:pt>
                <c:pt idx="20">
                  <c:v>6230</c:v>
                </c:pt>
                <c:pt idx="21">
                  <c:v>6280</c:v>
                </c:pt>
                <c:pt idx="22">
                  <c:v>6460</c:v>
                </c:pt>
                <c:pt idx="23">
                  <c:v>6460</c:v>
                </c:pt>
                <c:pt idx="24">
                  <c:v>5810</c:v>
                </c:pt>
                <c:pt idx="25">
                  <c:v>6460</c:v>
                </c:pt>
                <c:pt idx="26">
                  <c:v>6460</c:v>
                </c:pt>
                <c:pt idx="27">
                  <c:v>6030</c:v>
                </c:pt>
                <c:pt idx="28">
                  <c:v>6030</c:v>
                </c:pt>
                <c:pt idx="29">
                  <c:v>6190</c:v>
                </c:pt>
                <c:pt idx="30">
                  <c:v>6360</c:v>
                </c:pt>
                <c:pt idx="31">
                  <c:v>6360</c:v>
                </c:pt>
                <c:pt idx="32">
                  <c:v>6360</c:v>
                </c:pt>
                <c:pt idx="33">
                  <c:v>6160</c:v>
                </c:pt>
                <c:pt idx="34">
                  <c:v>5680</c:v>
                </c:pt>
                <c:pt idx="35">
                  <c:v>5680</c:v>
                </c:pt>
                <c:pt idx="36">
                  <c:v>5680</c:v>
                </c:pt>
                <c:pt idx="37">
                  <c:v>5680</c:v>
                </c:pt>
                <c:pt idx="38">
                  <c:v>5680</c:v>
                </c:pt>
                <c:pt idx="39">
                  <c:v>5680</c:v>
                </c:pt>
                <c:pt idx="40">
                  <c:v>5800</c:v>
                </c:pt>
                <c:pt idx="41">
                  <c:v>5800</c:v>
                </c:pt>
                <c:pt idx="42">
                  <c:v>5440</c:v>
                </c:pt>
                <c:pt idx="43">
                  <c:v>4640</c:v>
                </c:pt>
                <c:pt idx="44">
                  <c:v>4640</c:v>
                </c:pt>
                <c:pt idx="45">
                  <c:v>4640</c:v>
                </c:pt>
                <c:pt idx="46">
                  <c:v>3980</c:v>
                </c:pt>
                <c:pt idx="47">
                  <c:v>3980</c:v>
                </c:pt>
                <c:pt idx="48">
                  <c:v>3980</c:v>
                </c:pt>
                <c:pt idx="49">
                  <c:v>3800</c:v>
                </c:pt>
                <c:pt idx="50">
                  <c:v>3700</c:v>
                </c:pt>
                <c:pt idx="51">
                  <c:v>3700</c:v>
                </c:pt>
                <c:pt idx="52">
                  <c:v>3700</c:v>
                </c:pt>
              </c:numCache>
            </c:numRef>
          </c:val>
          <c:extLst>
            <c:ext xmlns:c16="http://schemas.microsoft.com/office/drawing/2014/chart" uri="{C3380CC4-5D6E-409C-BE32-E72D297353CC}">
              <c16:uniqueId val="{00000003-8DF5-45C7-8991-006272883022}"/>
            </c:ext>
          </c:extLst>
        </c:ser>
        <c:dLbls>
          <c:showLegendKey val="0"/>
          <c:showVal val="0"/>
          <c:showCatName val="0"/>
          <c:showSerName val="0"/>
          <c:showPercent val="0"/>
          <c:showBubbleSize val="0"/>
        </c:dLbls>
        <c:axId val="1403930447"/>
        <c:axId val="1987642064"/>
      </c:areaChart>
      <c:dateAx>
        <c:axId val="1403930447"/>
        <c:scaling>
          <c:orientation val="minMax"/>
        </c:scaling>
        <c:delete val="0"/>
        <c:axPos val="b"/>
        <c:numFmt formatCode="mm/dd" sourceLinked="0"/>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987642064"/>
        <c:crosses val="autoZero"/>
        <c:auto val="0"/>
        <c:lblOffset val="100"/>
        <c:baseTimeUnit val="days"/>
      </c:dateAx>
      <c:valAx>
        <c:axId val="1987642064"/>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403930447"/>
        <c:crosses val="autoZero"/>
        <c:crossBetween val="midCat"/>
      </c:valAx>
      <c:spPr>
        <a:noFill/>
        <a:ln>
          <a:noFill/>
        </a:ln>
        <a:effectLst/>
      </c:spPr>
    </c:plotArea>
    <c:legend>
      <c:legendPos val="b"/>
      <c:layout>
        <c:manualLayout>
          <c:xMode val="edge"/>
          <c:yMode val="edge"/>
          <c:x val="0.26709784619955623"/>
          <c:y val="0.91400674603174603"/>
          <c:w val="0.46580413801430737"/>
          <c:h val="8.599325396825396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现货价差!$AU$3</c:f>
          <c:strCache>
            <c:ptCount val="1"/>
            <c:pt idx="0">
              <c:v>通氧不通氧价差</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现货价差!$AX$4</c:f>
              <c:strCache>
                <c:ptCount val="1"/>
                <c:pt idx="0">
                  <c:v>2020</c:v>
                </c:pt>
              </c:strCache>
            </c:strRef>
          </c:tx>
          <c:spPr>
            <a:ln w="19050" cap="rnd">
              <a:solidFill>
                <a:srgbClr val="7030A0">
                  <a:alpha val="60000"/>
                </a:srgbClr>
              </a:solidFill>
              <a:round/>
            </a:ln>
            <a:effectLst/>
          </c:spPr>
          <c:marker>
            <c:symbol val="none"/>
          </c:marker>
          <c:cat>
            <c:strRef>
              <c:f>现货价差!$AW$5:$AW$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X$5:$AX$370</c:f>
              <c:numCache>
                <c:formatCode>General</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600</c:v>
                </c:pt>
                <c:pt idx="15">
                  <c:v>600</c:v>
                </c:pt>
                <c:pt idx="16">
                  <c:v>600</c:v>
                </c:pt>
                <c:pt idx="17">
                  <c:v>#N/A</c:v>
                </c:pt>
                <c:pt idx="18">
                  <c:v>#N/A</c:v>
                </c:pt>
                <c:pt idx="19">
                  <c:v>600</c:v>
                </c:pt>
                <c:pt idx="20">
                  <c:v>600</c:v>
                </c:pt>
                <c:pt idx="21">
                  <c:v>600</c:v>
                </c:pt>
                <c:pt idx="22">
                  <c:v>600</c:v>
                </c:pt>
                <c:pt idx="23">
                  <c:v>#N/A</c:v>
                </c:pt>
                <c:pt idx="24">
                  <c:v>#N/A</c:v>
                </c:pt>
                <c:pt idx="25">
                  <c:v>#N/A</c:v>
                </c:pt>
                <c:pt idx="26">
                  <c:v>#N/A</c:v>
                </c:pt>
                <c:pt idx="27">
                  <c:v>#N/A</c:v>
                </c:pt>
                <c:pt idx="28">
                  <c:v>#N/A</c:v>
                </c:pt>
                <c:pt idx="29">
                  <c:v>#N/A</c:v>
                </c:pt>
                <c:pt idx="30">
                  <c:v>#N/A</c:v>
                </c:pt>
                <c:pt idx="31">
                  <c:v>#N/A</c:v>
                </c:pt>
                <c:pt idx="32">
                  <c:v>#N/A</c:v>
                </c:pt>
                <c:pt idx="33">
                  <c:v>600</c:v>
                </c:pt>
                <c:pt idx="34">
                  <c:v>600</c:v>
                </c:pt>
                <c:pt idx="35">
                  <c:v>600</c:v>
                </c:pt>
                <c:pt idx="36">
                  <c:v>650</c:v>
                </c:pt>
                <c:pt idx="37">
                  <c:v>650</c:v>
                </c:pt>
                <c:pt idx="38">
                  <c:v>#N/A</c:v>
                </c:pt>
                <c:pt idx="39">
                  <c:v>#N/A</c:v>
                </c:pt>
                <c:pt idx="40">
                  <c:v>700</c:v>
                </c:pt>
                <c:pt idx="41">
                  <c:v>600</c:v>
                </c:pt>
                <c:pt idx="42">
                  <c:v>600</c:v>
                </c:pt>
                <c:pt idx="43">
                  <c:v>600</c:v>
                </c:pt>
                <c:pt idx="44">
                  <c:v>600</c:v>
                </c:pt>
                <c:pt idx="45">
                  <c:v>#N/A</c:v>
                </c:pt>
                <c:pt idx="46">
                  <c:v>#N/A</c:v>
                </c:pt>
                <c:pt idx="47">
                  <c:v>600</c:v>
                </c:pt>
                <c:pt idx="48">
                  <c:v>600</c:v>
                </c:pt>
                <c:pt idx="49">
                  <c:v>550</c:v>
                </c:pt>
                <c:pt idx="50">
                  <c:v>550</c:v>
                </c:pt>
                <c:pt idx="51">
                  <c:v>550</c:v>
                </c:pt>
                <c:pt idx="52">
                  <c:v>#N/A</c:v>
                </c:pt>
                <c:pt idx="53">
                  <c:v>#N/A</c:v>
                </c:pt>
                <c:pt idx="54">
                  <c:v>500</c:v>
                </c:pt>
                <c:pt idx="55">
                  <c:v>450</c:v>
                </c:pt>
                <c:pt idx="56">
                  <c:v>450</c:v>
                </c:pt>
                <c:pt idx="57">
                  <c:v>450</c:v>
                </c:pt>
                <c:pt idx="58">
                  <c:v>450</c:v>
                </c:pt>
                <c:pt idx="59">
                  <c:v>#N/A</c:v>
                </c:pt>
                <c:pt idx="60">
                  <c:v>#N/A</c:v>
                </c:pt>
                <c:pt idx="61">
                  <c:v>450</c:v>
                </c:pt>
                <c:pt idx="62">
                  <c:v>450</c:v>
                </c:pt>
                <c:pt idx="63">
                  <c:v>450</c:v>
                </c:pt>
                <c:pt idx="64">
                  <c:v>450</c:v>
                </c:pt>
                <c:pt idx="65">
                  <c:v>450</c:v>
                </c:pt>
                <c:pt idx="66">
                  <c:v>#N/A</c:v>
                </c:pt>
                <c:pt idx="67">
                  <c:v>#N/A</c:v>
                </c:pt>
                <c:pt idx="68">
                  <c:v>400</c:v>
                </c:pt>
                <c:pt idx="69">
                  <c:v>450</c:v>
                </c:pt>
                <c:pt idx="70">
                  <c:v>500</c:v>
                </c:pt>
                <c:pt idx="71">
                  <c:v>500</c:v>
                </c:pt>
                <c:pt idx="72">
                  <c:v>500</c:v>
                </c:pt>
                <c:pt idx="73">
                  <c:v>#N/A</c:v>
                </c:pt>
                <c:pt idx="74">
                  <c:v>#N/A</c:v>
                </c:pt>
                <c:pt idx="75">
                  <c:v>550</c:v>
                </c:pt>
                <c:pt idx="76">
                  <c:v>600</c:v>
                </c:pt>
                <c:pt idx="77">
                  <c:v>400</c:v>
                </c:pt>
                <c:pt idx="78">
                  <c:v>400</c:v>
                </c:pt>
                <c:pt idx="79">
                  <c:v>400</c:v>
                </c:pt>
                <c:pt idx="80">
                  <c:v>#N/A</c:v>
                </c:pt>
                <c:pt idx="81">
                  <c:v>#N/A</c:v>
                </c:pt>
                <c:pt idx="82">
                  <c:v>400</c:v>
                </c:pt>
                <c:pt idx="83">
                  <c:v>450</c:v>
                </c:pt>
                <c:pt idx="84">
                  <c:v>450</c:v>
                </c:pt>
                <c:pt idx="85">
                  <c:v>400</c:v>
                </c:pt>
                <c:pt idx="86">
                  <c:v>500</c:v>
                </c:pt>
                <c:pt idx="87">
                  <c:v>#N/A</c:v>
                </c:pt>
                <c:pt idx="88">
                  <c:v>#N/A</c:v>
                </c:pt>
                <c:pt idx="89">
                  <c:v>550</c:v>
                </c:pt>
                <c:pt idx="90">
                  <c:v>550</c:v>
                </c:pt>
                <c:pt idx="91">
                  <c:v>650</c:v>
                </c:pt>
                <c:pt idx="92">
                  <c:v>600</c:v>
                </c:pt>
                <c:pt idx="93">
                  <c:v>700</c:v>
                </c:pt>
                <c:pt idx="94">
                  <c:v>#N/A</c:v>
                </c:pt>
                <c:pt idx="95">
                  <c:v>#N/A</c:v>
                </c:pt>
                <c:pt idx="96">
                  <c:v>#N/A</c:v>
                </c:pt>
                <c:pt idx="97">
                  <c:v>750</c:v>
                </c:pt>
                <c:pt idx="98">
                  <c:v>650</c:v>
                </c:pt>
                <c:pt idx="99">
                  <c:v>700</c:v>
                </c:pt>
                <c:pt idx="100">
                  <c:v>700</c:v>
                </c:pt>
                <c:pt idx="101">
                  <c:v>#N/A</c:v>
                </c:pt>
                <c:pt idx="102">
                  <c:v>#N/A</c:v>
                </c:pt>
                <c:pt idx="103">
                  <c:v>700</c:v>
                </c:pt>
                <c:pt idx="104">
                  <c:v>700</c:v>
                </c:pt>
                <c:pt idx="105">
                  <c:v>700</c:v>
                </c:pt>
                <c:pt idx="106">
                  <c:v>650</c:v>
                </c:pt>
                <c:pt idx="107">
                  <c:v>600</c:v>
                </c:pt>
                <c:pt idx="108">
                  <c:v>#N/A</c:v>
                </c:pt>
                <c:pt idx="109">
                  <c:v>#N/A</c:v>
                </c:pt>
                <c:pt idx="110">
                  <c:v>450</c:v>
                </c:pt>
                <c:pt idx="111">
                  <c:v>400</c:v>
                </c:pt>
                <c:pt idx="112">
                  <c:v>400</c:v>
                </c:pt>
                <c:pt idx="113">
                  <c:v>400</c:v>
                </c:pt>
                <c:pt idx="114">
                  <c:v>400</c:v>
                </c:pt>
                <c:pt idx="115">
                  <c:v>#N/A</c:v>
                </c:pt>
                <c:pt idx="116">
                  <c:v>#N/A</c:v>
                </c:pt>
                <c:pt idx="117">
                  <c:v>450</c:v>
                </c:pt>
                <c:pt idx="118">
                  <c:v>500</c:v>
                </c:pt>
                <c:pt idx="119">
                  <c:v>450</c:v>
                </c:pt>
                <c:pt idx="120">
                  <c:v>450</c:v>
                </c:pt>
                <c:pt idx="121">
                  <c:v>#N/A</c:v>
                </c:pt>
                <c:pt idx="122">
                  <c:v>#N/A</c:v>
                </c:pt>
                <c:pt idx="123">
                  <c:v>#N/A</c:v>
                </c:pt>
                <c:pt idx="124">
                  <c:v>#N/A</c:v>
                </c:pt>
                <c:pt idx="125">
                  <c:v>#N/A</c:v>
                </c:pt>
                <c:pt idx="126">
                  <c:v>450</c:v>
                </c:pt>
                <c:pt idx="127">
                  <c:v>550</c:v>
                </c:pt>
                <c:pt idx="128">
                  <c:v>550</c:v>
                </c:pt>
                <c:pt idx="129">
                  <c:v>#N/A</c:v>
                </c:pt>
                <c:pt idx="130">
                  <c:v>#N/A</c:v>
                </c:pt>
                <c:pt idx="131">
                  <c:v>550</c:v>
                </c:pt>
                <c:pt idx="132">
                  <c:v>600</c:v>
                </c:pt>
                <c:pt idx="133">
                  <c:v>600</c:v>
                </c:pt>
                <c:pt idx="134">
                  <c:v>650</c:v>
                </c:pt>
                <c:pt idx="135">
                  <c:v>650</c:v>
                </c:pt>
                <c:pt idx="136">
                  <c:v>#N/A</c:v>
                </c:pt>
                <c:pt idx="137">
                  <c:v>#N/A</c:v>
                </c:pt>
                <c:pt idx="138">
                  <c:v>650</c:v>
                </c:pt>
                <c:pt idx="139">
                  <c:v>650</c:v>
                </c:pt>
                <c:pt idx="140">
                  <c:v>650</c:v>
                </c:pt>
                <c:pt idx="141">
                  <c:v>650</c:v>
                </c:pt>
                <c:pt idx="142">
                  <c:v>650</c:v>
                </c:pt>
                <c:pt idx="143">
                  <c:v>#N/A</c:v>
                </c:pt>
                <c:pt idx="144">
                  <c:v>#N/A</c:v>
                </c:pt>
                <c:pt idx="145">
                  <c:v>650</c:v>
                </c:pt>
                <c:pt idx="146">
                  <c:v>650</c:v>
                </c:pt>
                <c:pt idx="147">
                  <c:v>600</c:v>
                </c:pt>
                <c:pt idx="148">
                  <c:v>600</c:v>
                </c:pt>
                <c:pt idx="149">
                  <c:v>600</c:v>
                </c:pt>
                <c:pt idx="150">
                  <c:v>#N/A</c:v>
                </c:pt>
                <c:pt idx="151">
                  <c:v>#N/A</c:v>
                </c:pt>
                <c:pt idx="152">
                  <c:v>600</c:v>
                </c:pt>
                <c:pt idx="153">
                  <c:v>550</c:v>
                </c:pt>
                <c:pt idx="154">
                  <c:v>550</c:v>
                </c:pt>
                <c:pt idx="155">
                  <c:v>550</c:v>
                </c:pt>
                <c:pt idx="156">
                  <c:v>550</c:v>
                </c:pt>
                <c:pt idx="157">
                  <c:v>#N/A</c:v>
                </c:pt>
                <c:pt idx="158">
                  <c:v>#N/A</c:v>
                </c:pt>
                <c:pt idx="159">
                  <c:v>500</c:v>
                </c:pt>
                <c:pt idx="160">
                  <c:v>450</c:v>
                </c:pt>
                <c:pt idx="161">
                  <c:v>450</c:v>
                </c:pt>
                <c:pt idx="162">
                  <c:v>400</c:v>
                </c:pt>
                <c:pt idx="163">
                  <c:v>400</c:v>
                </c:pt>
                <c:pt idx="164">
                  <c:v>#N/A</c:v>
                </c:pt>
                <c:pt idx="165">
                  <c:v>#N/A</c:v>
                </c:pt>
                <c:pt idx="166">
                  <c:v>450</c:v>
                </c:pt>
                <c:pt idx="167">
                  <c:v>450</c:v>
                </c:pt>
                <c:pt idx="168">
                  <c:v>450</c:v>
                </c:pt>
                <c:pt idx="169">
                  <c:v>450</c:v>
                </c:pt>
                <c:pt idx="170">
                  <c:v>500</c:v>
                </c:pt>
                <c:pt idx="171">
                  <c:v>#N/A</c:v>
                </c:pt>
                <c:pt idx="172">
                  <c:v>#N/A</c:v>
                </c:pt>
                <c:pt idx="173">
                  <c:v>500</c:v>
                </c:pt>
                <c:pt idx="174">
                  <c:v>550</c:v>
                </c:pt>
                <c:pt idx="175">
                  <c:v>550</c:v>
                </c:pt>
                <c:pt idx="176">
                  <c:v>#N/A</c:v>
                </c:pt>
                <c:pt idx="177">
                  <c:v>#N/A</c:v>
                </c:pt>
                <c:pt idx="178">
                  <c:v>#N/A</c:v>
                </c:pt>
                <c:pt idx="179">
                  <c:v>#N/A</c:v>
                </c:pt>
                <c:pt idx="180">
                  <c:v>550</c:v>
                </c:pt>
                <c:pt idx="181">
                  <c:v>550</c:v>
                </c:pt>
                <c:pt idx="182">
                  <c:v>550</c:v>
                </c:pt>
                <c:pt idx="183">
                  <c:v>550</c:v>
                </c:pt>
                <c:pt idx="184">
                  <c:v>550</c:v>
                </c:pt>
                <c:pt idx="185">
                  <c:v>#N/A</c:v>
                </c:pt>
                <c:pt idx="186">
                  <c:v>#N/A</c:v>
                </c:pt>
                <c:pt idx="187">
                  <c:v>550</c:v>
                </c:pt>
                <c:pt idx="188">
                  <c:v>550</c:v>
                </c:pt>
                <c:pt idx="189">
                  <c:v>550</c:v>
                </c:pt>
                <c:pt idx="190">
                  <c:v>600</c:v>
                </c:pt>
                <c:pt idx="191">
                  <c:v>650</c:v>
                </c:pt>
                <c:pt idx="192">
                  <c:v>#N/A</c:v>
                </c:pt>
                <c:pt idx="193">
                  <c:v>#N/A</c:v>
                </c:pt>
                <c:pt idx="194">
                  <c:v>700</c:v>
                </c:pt>
                <c:pt idx="195">
                  <c:v>600</c:v>
                </c:pt>
                <c:pt idx="196">
                  <c:v>500</c:v>
                </c:pt>
                <c:pt idx="197">
                  <c:v>500</c:v>
                </c:pt>
                <c:pt idx="198">
                  <c:v>500</c:v>
                </c:pt>
                <c:pt idx="199">
                  <c:v>#N/A</c:v>
                </c:pt>
                <c:pt idx="200">
                  <c:v>#N/A</c:v>
                </c:pt>
                <c:pt idx="201">
                  <c:v>550</c:v>
                </c:pt>
                <c:pt idx="202">
                  <c:v>600</c:v>
                </c:pt>
                <c:pt idx="203">
                  <c:v>550</c:v>
                </c:pt>
                <c:pt idx="204">
                  <c:v>500</c:v>
                </c:pt>
                <c:pt idx="205">
                  <c:v>500</c:v>
                </c:pt>
                <c:pt idx="206">
                  <c:v>#N/A</c:v>
                </c:pt>
                <c:pt idx="207">
                  <c:v>#N/A</c:v>
                </c:pt>
                <c:pt idx="208">
                  <c:v>500</c:v>
                </c:pt>
                <c:pt idx="209">
                  <c:v>500</c:v>
                </c:pt>
                <c:pt idx="210">
                  <c:v>550</c:v>
                </c:pt>
                <c:pt idx="211">
                  <c:v>550</c:v>
                </c:pt>
                <c:pt idx="212">
                  <c:v>500</c:v>
                </c:pt>
                <c:pt idx="213">
                  <c:v>#N/A</c:v>
                </c:pt>
                <c:pt idx="214">
                  <c:v>#N/A</c:v>
                </c:pt>
                <c:pt idx="215">
                  <c:v>500</c:v>
                </c:pt>
                <c:pt idx="216">
                  <c:v>600</c:v>
                </c:pt>
                <c:pt idx="217">
                  <c:v>650</c:v>
                </c:pt>
                <c:pt idx="218">
                  <c:v>600</c:v>
                </c:pt>
                <c:pt idx="219">
                  <c:v>600</c:v>
                </c:pt>
                <c:pt idx="220">
                  <c:v>#N/A</c:v>
                </c:pt>
                <c:pt idx="221">
                  <c:v>#N/A</c:v>
                </c:pt>
                <c:pt idx="222">
                  <c:v>600</c:v>
                </c:pt>
                <c:pt idx="223">
                  <c:v>600</c:v>
                </c:pt>
                <c:pt idx="224">
                  <c:v>600</c:v>
                </c:pt>
                <c:pt idx="225">
                  <c:v>600</c:v>
                </c:pt>
                <c:pt idx="226">
                  <c:v>600</c:v>
                </c:pt>
                <c:pt idx="227">
                  <c:v>#N/A</c:v>
                </c:pt>
                <c:pt idx="228">
                  <c:v>#N/A</c:v>
                </c:pt>
                <c:pt idx="229">
                  <c:v>600</c:v>
                </c:pt>
                <c:pt idx="230">
                  <c:v>600</c:v>
                </c:pt>
                <c:pt idx="231">
                  <c:v>650</c:v>
                </c:pt>
                <c:pt idx="232">
                  <c:v>550</c:v>
                </c:pt>
                <c:pt idx="233">
                  <c:v>550</c:v>
                </c:pt>
                <c:pt idx="234">
                  <c:v>#N/A</c:v>
                </c:pt>
                <c:pt idx="235">
                  <c:v>#N/A</c:v>
                </c:pt>
                <c:pt idx="236">
                  <c:v>550</c:v>
                </c:pt>
                <c:pt idx="237">
                  <c:v>550</c:v>
                </c:pt>
                <c:pt idx="238">
                  <c:v>550</c:v>
                </c:pt>
                <c:pt idx="239">
                  <c:v>550</c:v>
                </c:pt>
                <c:pt idx="240">
                  <c:v>550</c:v>
                </c:pt>
                <c:pt idx="241">
                  <c:v>#N/A</c:v>
                </c:pt>
                <c:pt idx="242">
                  <c:v>#N/A</c:v>
                </c:pt>
                <c:pt idx="243">
                  <c:v>550</c:v>
                </c:pt>
                <c:pt idx="244">
                  <c:v>550</c:v>
                </c:pt>
                <c:pt idx="245">
                  <c:v>550</c:v>
                </c:pt>
                <c:pt idx="246">
                  <c:v>550</c:v>
                </c:pt>
                <c:pt idx="247">
                  <c:v>550</c:v>
                </c:pt>
                <c:pt idx="248">
                  <c:v>#N/A</c:v>
                </c:pt>
                <c:pt idx="249">
                  <c:v>#N/A</c:v>
                </c:pt>
                <c:pt idx="250">
                  <c:v>550</c:v>
                </c:pt>
                <c:pt idx="251">
                  <c:v>550</c:v>
                </c:pt>
                <c:pt idx="252">
                  <c:v>550</c:v>
                </c:pt>
                <c:pt idx="253">
                  <c:v>650</c:v>
                </c:pt>
                <c:pt idx="254">
                  <c:v>650</c:v>
                </c:pt>
                <c:pt idx="255">
                  <c:v>#N/A</c:v>
                </c:pt>
                <c:pt idx="256">
                  <c:v>#N/A</c:v>
                </c:pt>
                <c:pt idx="257">
                  <c:v>650</c:v>
                </c:pt>
                <c:pt idx="258">
                  <c:v>650</c:v>
                </c:pt>
                <c:pt idx="259">
                  <c:v>700</c:v>
                </c:pt>
                <c:pt idx="260">
                  <c:v>700</c:v>
                </c:pt>
                <c:pt idx="261">
                  <c:v>750</c:v>
                </c:pt>
                <c:pt idx="262">
                  <c:v>#N/A</c:v>
                </c:pt>
                <c:pt idx="263">
                  <c:v>#N/A</c:v>
                </c:pt>
                <c:pt idx="264">
                  <c:v>800</c:v>
                </c:pt>
                <c:pt idx="265">
                  <c:v>800</c:v>
                </c:pt>
                <c:pt idx="266">
                  <c:v>800</c:v>
                </c:pt>
                <c:pt idx="267">
                  <c:v>800</c:v>
                </c:pt>
                <c:pt idx="268">
                  <c:v>800</c:v>
                </c:pt>
                <c:pt idx="269">
                  <c:v>#N/A</c:v>
                </c:pt>
                <c:pt idx="270">
                  <c:v>#N/A</c:v>
                </c:pt>
                <c:pt idx="271">
                  <c:v>800</c:v>
                </c:pt>
                <c:pt idx="272">
                  <c:v>900</c:v>
                </c:pt>
                <c:pt idx="273">
                  <c:v>850</c:v>
                </c:pt>
                <c:pt idx="274">
                  <c:v>#N/A</c:v>
                </c:pt>
                <c:pt idx="275">
                  <c:v>#N/A</c:v>
                </c:pt>
                <c:pt idx="276">
                  <c:v>#N/A</c:v>
                </c:pt>
                <c:pt idx="277">
                  <c:v>#N/A</c:v>
                </c:pt>
                <c:pt idx="278">
                  <c:v>#N/A</c:v>
                </c:pt>
                <c:pt idx="279">
                  <c:v>#N/A</c:v>
                </c:pt>
                <c:pt idx="280">
                  <c:v>#N/A</c:v>
                </c:pt>
                <c:pt idx="281">
                  <c:v>#N/A</c:v>
                </c:pt>
                <c:pt idx="282">
                  <c:v>800</c:v>
                </c:pt>
                <c:pt idx="283">
                  <c:v>#N/A</c:v>
                </c:pt>
                <c:pt idx="284">
                  <c:v>#N/A</c:v>
                </c:pt>
                <c:pt idx="285">
                  <c:v>750</c:v>
                </c:pt>
                <c:pt idx="286">
                  <c:v>850</c:v>
                </c:pt>
                <c:pt idx="287">
                  <c:v>900</c:v>
                </c:pt>
                <c:pt idx="288">
                  <c:v>875</c:v>
                </c:pt>
                <c:pt idx="289">
                  <c:v>825</c:v>
                </c:pt>
                <c:pt idx="290">
                  <c:v>#N/A</c:v>
                </c:pt>
                <c:pt idx="291">
                  <c:v>#N/A</c:v>
                </c:pt>
                <c:pt idx="292">
                  <c:v>750</c:v>
                </c:pt>
                <c:pt idx="293">
                  <c:v>800</c:v>
                </c:pt>
                <c:pt idx="294">
                  <c:v>900</c:v>
                </c:pt>
                <c:pt idx="295">
                  <c:v>800</c:v>
                </c:pt>
                <c:pt idx="296">
                  <c:v>800</c:v>
                </c:pt>
                <c:pt idx="297">
                  <c:v>#N/A</c:v>
                </c:pt>
                <c:pt idx="298">
                  <c:v>#N/A</c:v>
                </c:pt>
                <c:pt idx="299">
                  <c:v>750</c:v>
                </c:pt>
                <c:pt idx="300">
                  <c:v>650</c:v>
                </c:pt>
                <c:pt idx="301">
                  <c:v>550</c:v>
                </c:pt>
                <c:pt idx="302">
                  <c:v>450</c:v>
                </c:pt>
                <c:pt idx="303">
                  <c:v>450</c:v>
                </c:pt>
                <c:pt idx="304">
                  <c:v>#N/A</c:v>
                </c:pt>
                <c:pt idx="305">
                  <c:v>#N/A</c:v>
                </c:pt>
                <c:pt idx="306">
                  <c:v>450</c:v>
                </c:pt>
                <c:pt idx="307">
                  <c:v>500</c:v>
                </c:pt>
                <c:pt idx="308">
                  <c:v>500</c:v>
                </c:pt>
                <c:pt idx="309">
                  <c:v>550</c:v>
                </c:pt>
                <c:pt idx="310">
                  <c:v>550</c:v>
                </c:pt>
                <c:pt idx="311">
                  <c:v>#N/A</c:v>
                </c:pt>
                <c:pt idx="312">
                  <c:v>#N/A</c:v>
                </c:pt>
                <c:pt idx="313">
                  <c:v>550</c:v>
                </c:pt>
                <c:pt idx="314">
                  <c:v>700</c:v>
                </c:pt>
                <c:pt idx="315">
                  <c:v>750</c:v>
                </c:pt>
                <c:pt idx="316">
                  <c:v>800</c:v>
                </c:pt>
                <c:pt idx="317">
                  <c:v>800</c:v>
                </c:pt>
                <c:pt idx="318">
                  <c:v>#N/A</c:v>
                </c:pt>
                <c:pt idx="319">
                  <c:v>#N/A</c:v>
                </c:pt>
                <c:pt idx="320">
                  <c:v>850</c:v>
                </c:pt>
                <c:pt idx="321">
                  <c:v>900</c:v>
                </c:pt>
                <c:pt idx="322">
                  <c:v>950</c:v>
                </c:pt>
                <c:pt idx="323">
                  <c:v>900</c:v>
                </c:pt>
                <c:pt idx="324">
                  <c:v>950</c:v>
                </c:pt>
                <c:pt idx="325">
                  <c:v>#N/A</c:v>
                </c:pt>
                <c:pt idx="326">
                  <c:v>#N/A</c:v>
                </c:pt>
                <c:pt idx="327">
                  <c:v>1000</c:v>
                </c:pt>
                <c:pt idx="328">
                  <c:v>950</c:v>
                </c:pt>
                <c:pt idx="329">
                  <c:v>1000</c:v>
                </c:pt>
                <c:pt idx="330">
                  <c:v>900</c:v>
                </c:pt>
                <c:pt idx="331">
                  <c:v>850</c:v>
                </c:pt>
                <c:pt idx="332">
                  <c:v>#N/A</c:v>
                </c:pt>
                <c:pt idx="333">
                  <c:v>#N/A</c:v>
                </c:pt>
                <c:pt idx="334">
                  <c:v>650</c:v>
                </c:pt>
                <c:pt idx="335">
                  <c:v>700</c:v>
                </c:pt>
                <c:pt idx="336">
                  <c:v>700</c:v>
                </c:pt>
                <c:pt idx="337">
                  <c:v>750</c:v>
                </c:pt>
                <c:pt idx="338">
                  <c:v>750</c:v>
                </c:pt>
                <c:pt idx="339">
                  <c:v>#N/A</c:v>
                </c:pt>
                <c:pt idx="340">
                  <c:v>#N/A</c:v>
                </c:pt>
                <c:pt idx="341">
                  <c:v>750</c:v>
                </c:pt>
                <c:pt idx="342">
                  <c:v>750</c:v>
                </c:pt>
                <c:pt idx="343">
                  <c:v>750</c:v>
                </c:pt>
                <c:pt idx="344">
                  <c:v>750</c:v>
                </c:pt>
                <c:pt idx="345">
                  <c:v>700</c:v>
                </c:pt>
                <c:pt idx="346">
                  <c:v>#N/A</c:v>
                </c:pt>
                <c:pt idx="347">
                  <c:v>#N/A</c:v>
                </c:pt>
                <c:pt idx="348">
                  <c:v>700</c:v>
                </c:pt>
                <c:pt idx="349">
                  <c:v>650</c:v>
                </c:pt>
                <c:pt idx="350">
                  <c:v>700</c:v>
                </c:pt>
                <c:pt idx="351">
                  <c:v>750</c:v>
                </c:pt>
                <c:pt idx="352">
                  <c:v>900</c:v>
                </c:pt>
                <c:pt idx="353">
                  <c:v>#N/A</c:v>
                </c:pt>
                <c:pt idx="354">
                  <c:v>#N/A</c:v>
                </c:pt>
                <c:pt idx="355">
                  <c:v>1000</c:v>
                </c:pt>
                <c:pt idx="356">
                  <c:v>900</c:v>
                </c:pt>
                <c:pt idx="357">
                  <c:v>800</c:v>
                </c:pt>
                <c:pt idx="358">
                  <c:v>850</c:v>
                </c:pt>
                <c:pt idx="359">
                  <c:v>850</c:v>
                </c:pt>
                <c:pt idx="360">
                  <c:v>#N/A</c:v>
                </c:pt>
                <c:pt idx="361">
                  <c:v>#N/A</c:v>
                </c:pt>
                <c:pt idx="362">
                  <c:v>850</c:v>
                </c:pt>
                <c:pt idx="363">
                  <c:v>850</c:v>
                </c:pt>
                <c:pt idx="364">
                  <c:v>950</c:v>
                </c:pt>
                <c:pt idx="365">
                  <c:v>850</c:v>
                </c:pt>
              </c:numCache>
            </c:numRef>
          </c:val>
          <c:smooth val="0"/>
          <c:extLst>
            <c:ext xmlns:c16="http://schemas.microsoft.com/office/drawing/2014/chart" uri="{C3380CC4-5D6E-409C-BE32-E72D297353CC}">
              <c16:uniqueId val="{00000000-7C2D-46B1-A1D7-5AB6E513FE3E}"/>
            </c:ext>
          </c:extLst>
        </c:ser>
        <c:ser>
          <c:idx val="1"/>
          <c:order val="1"/>
          <c:tx>
            <c:strRef>
              <c:f>现货价差!$AY$4</c:f>
              <c:strCache>
                <c:ptCount val="1"/>
                <c:pt idx="0">
                  <c:v>2021</c:v>
                </c:pt>
              </c:strCache>
            </c:strRef>
          </c:tx>
          <c:spPr>
            <a:ln w="19050" cap="rnd">
              <a:solidFill>
                <a:schemeClr val="accent5">
                  <a:lumMod val="75000"/>
                </a:schemeClr>
              </a:solidFill>
              <a:round/>
            </a:ln>
            <a:effectLst/>
          </c:spPr>
          <c:marker>
            <c:symbol val="none"/>
          </c:marker>
          <c:cat>
            <c:strRef>
              <c:f>现货价差!$AW$5:$AW$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Y$5:$AY$370</c:f>
              <c:numCache>
                <c:formatCode>General</c:formatCode>
                <c:ptCount val="366"/>
                <c:pt idx="0">
                  <c:v>#N/A</c:v>
                </c:pt>
                <c:pt idx="1">
                  <c:v>#N/A</c:v>
                </c:pt>
                <c:pt idx="2">
                  <c:v>#N/A</c:v>
                </c:pt>
                <c:pt idx="3">
                  <c:v>900</c:v>
                </c:pt>
                <c:pt idx="4">
                  <c:v>900</c:v>
                </c:pt>
                <c:pt idx="5">
                  <c:v>1000</c:v>
                </c:pt>
                <c:pt idx="6">
                  <c:v>1000</c:v>
                </c:pt>
                <c:pt idx="7">
                  <c:v>1000</c:v>
                </c:pt>
                <c:pt idx="8">
                  <c:v>#N/A</c:v>
                </c:pt>
                <c:pt idx="9">
                  <c:v>#N/A</c:v>
                </c:pt>
                <c:pt idx="10">
                  <c:v>1050</c:v>
                </c:pt>
                <c:pt idx="11">
                  <c:v>1150</c:v>
                </c:pt>
                <c:pt idx="12">
                  <c:v>1150</c:v>
                </c:pt>
                <c:pt idx="13">
                  <c:v>1100</c:v>
                </c:pt>
                <c:pt idx="14">
                  <c:v>1100</c:v>
                </c:pt>
                <c:pt idx="15">
                  <c:v>#N/A</c:v>
                </c:pt>
                <c:pt idx="16">
                  <c:v>#N/A</c:v>
                </c:pt>
                <c:pt idx="17">
                  <c:v>1100</c:v>
                </c:pt>
                <c:pt idx="18">
                  <c:v>1100</c:v>
                </c:pt>
                <c:pt idx="19">
                  <c:v>950</c:v>
                </c:pt>
                <c:pt idx="20">
                  <c:v>750</c:v>
                </c:pt>
                <c:pt idx="21">
                  <c:v>650</c:v>
                </c:pt>
                <c:pt idx="22">
                  <c:v>#N/A</c:v>
                </c:pt>
                <c:pt idx="23">
                  <c:v>#N/A</c:v>
                </c:pt>
                <c:pt idx="24">
                  <c:v>450</c:v>
                </c:pt>
                <c:pt idx="25">
                  <c:v>350</c:v>
                </c:pt>
                <c:pt idx="26">
                  <c:v>350</c:v>
                </c:pt>
                <c:pt idx="27">
                  <c:v>350</c:v>
                </c:pt>
                <c:pt idx="28">
                  <c:v>350</c:v>
                </c:pt>
                <c:pt idx="29">
                  <c:v>#N/A</c:v>
                </c:pt>
                <c:pt idx="30">
                  <c:v>#N/A</c:v>
                </c:pt>
                <c:pt idx="31">
                  <c:v>350</c:v>
                </c:pt>
                <c:pt idx="32">
                  <c:v>450</c:v>
                </c:pt>
                <c:pt idx="33">
                  <c:v>400</c:v>
                </c:pt>
                <c:pt idx="34">
                  <c:v>400</c:v>
                </c:pt>
                <c:pt idx="35">
                  <c:v>400</c:v>
                </c:pt>
                <c:pt idx="36">
                  <c:v>#N/A</c:v>
                </c:pt>
                <c:pt idx="37">
                  <c:v>#N/A</c:v>
                </c:pt>
                <c:pt idx="38">
                  <c:v>400</c:v>
                </c:pt>
                <c:pt idx="39">
                  <c:v>400</c:v>
                </c:pt>
                <c:pt idx="40">
                  <c:v>400</c:v>
                </c:pt>
                <c:pt idx="41">
                  <c:v>#N/A</c:v>
                </c:pt>
                <c:pt idx="42">
                  <c:v>#N/A</c:v>
                </c:pt>
                <c:pt idx="43">
                  <c:v>#N/A</c:v>
                </c:pt>
                <c:pt idx="44">
                  <c:v>#N/A</c:v>
                </c:pt>
                <c:pt idx="45">
                  <c:v>#N/A</c:v>
                </c:pt>
                <c:pt idx="46">
                  <c:v>#N/A</c:v>
                </c:pt>
                <c:pt idx="47">
                  <c:v>#N/A</c:v>
                </c:pt>
                <c:pt idx="48">
                  <c:v>400</c:v>
                </c:pt>
                <c:pt idx="49">
                  <c:v>400</c:v>
                </c:pt>
                <c:pt idx="50">
                  <c:v>#N/A</c:v>
                </c:pt>
                <c:pt idx="51">
                  <c:v>#N/A</c:v>
                </c:pt>
                <c:pt idx="52">
                  <c:v>400</c:v>
                </c:pt>
                <c:pt idx="53">
                  <c:v>350</c:v>
                </c:pt>
                <c:pt idx="54">
                  <c:v>350</c:v>
                </c:pt>
                <c:pt idx="55">
                  <c:v>400</c:v>
                </c:pt>
                <c:pt idx="56">
                  <c:v>400</c:v>
                </c:pt>
                <c:pt idx="57">
                  <c:v>#N/A</c:v>
                </c:pt>
                <c:pt idx="58">
                  <c:v>#N/A</c:v>
                </c:pt>
                <c:pt idx="60">
                  <c:v>400</c:v>
                </c:pt>
                <c:pt idx="61">
                  <c:v>400</c:v>
                </c:pt>
                <c:pt idx="62">
                  <c:v>450</c:v>
                </c:pt>
                <c:pt idx="63">
                  <c:v>750</c:v>
                </c:pt>
                <c:pt idx="64">
                  <c:v>750</c:v>
                </c:pt>
                <c:pt idx="65">
                  <c:v>#N/A</c:v>
                </c:pt>
                <c:pt idx="66">
                  <c:v>#N/A</c:v>
                </c:pt>
                <c:pt idx="67">
                  <c:v>700</c:v>
                </c:pt>
                <c:pt idx="68">
                  <c:v>650</c:v>
                </c:pt>
                <c:pt idx="69">
                  <c:v>650</c:v>
                </c:pt>
                <c:pt idx="70">
                  <c:v>650</c:v>
                </c:pt>
                <c:pt idx="71">
                  <c:v>550</c:v>
                </c:pt>
                <c:pt idx="72">
                  <c:v>#N/A</c:v>
                </c:pt>
                <c:pt idx="73">
                  <c:v>#N/A</c:v>
                </c:pt>
                <c:pt idx="74">
                  <c:v>550</c:v>
                </c:pt>
                <c:pt idx="75">
                  <c:v>550</c:v>
                </c:pt>
                <c:pt idx="76">
                  <c:v>500</c:v>
                </c:pt>
                <c:pt idx="77">
                  <c:v>500</c:v>
                </c:pt>
                <c:pt idx="78">
                  <c:v>500</c:v>
                </c:pt>
                <c:pt idx="79">
                  <c:v>#N/A</c:v>
                </c:pt>
                <c:pt idx="80">
                  <c:v>#N/A</c:v>
                </c:pt>
                <c:pt idx="81">
                  <c:v>500</c:v>
                </c:pt>
                <c:pt idx="82">
                  <c:v>450</c:v>
                </c:pt>
                <c:pt idx="83">
                  <c:v>400</c:v>
                </c:pt>
                <c:pt idx="84">
                  <c:v>350</c:v>
                </c:pt>
                <c:pt idx="85">
                  <c:v>250</c:v>
                </c:pt>
                <c:pt idx="86">
                  <c:v>#N/A</c:v>
                </c:pt>
                <c:pt idx="87">
                  <c:v>#N/A</c:v>
                </c:pt>
                <c:pt idx="88">
                  <c:v>250</c:v>
                </c:pt>
                <c:pt idx="89">
                  <c:v>250</c:v>
                </c:pt>
                <c:pt idx="90">
                  <c:v>150</c:v>
                </c:pt>
                <c:pt idx="91">
                  <c:v>100</c:v>
                </c:pt>
                <c:pt idx="92">
                  <c:v>100</c:v>
                </c:pt>
                <c:pt idx="93">
                  <c:v>#N/A</c:v>
                </c:pt>
                <c:pt idx="94">
                  <c:v>#N/A</c:v>
                </c:pt>
                <c:pt idx="95">
                  <c:v>#N/A</c:v>
                </c:pt>
                <c:pt idx="96">
                  <c:v>300</c:v>
                </c:pt>
                <c:pt idx="97">
                  <c:v>300</c:v>
                </c:pt>
                <c:pt idx="98">
                  <c:v>300</c:v>
                </c:pt>
                <c:pt idx="99">
                  <c:v>400</c:v>
                </c:pt>
                <c:pt idx="100">
                  <c:v>#N/A</c:v>
                </c:pt>
                <c:pt idx="101">
                  <c:v>#N/A</c:v>
                </c:pt>
                <c:pt idx="102">
                  <c:v>350</c:v>
                </c:pt>
                <c:pt idx="103">
                  <c:v>400</c:v>
                </c:pt>
                <c:pt idx="104">
                  <c:v>450</c:v>
                </c:pt>
                <c:pt idx="105">
                  <c:v>550</c:v>
                </c:pt>
                <c:pt idx="106">
                  <c:v>400</c:v>
                </c:pt>
                <c:pt idx="107">
                  <c:v>#N/A</c:v>
                </c:pt>
                <c:pt idx="108">
                  <c:v>#N/A</c:v>
                </c:pt>
                <c:pt idx="109">
                  <c:v>300</c:v>
                </c:pt>
                <c:pt idx="110">
                  <c:v>300</c:v>
                </c:pt>
                <c:pt idx="111">
                  <c:v>300</c:v>
                </c:pt>
                <c:pt idx="112">
                  <c:v>200</c:v>
                </c:pt>
                <c:pt idx="113">
                  <c:v>200</c:v>
                </c:pt>
                <c:pt idx="114">
                  <c:v>#N/A</c:v>
                </c:pt>
                <c:pt idx="115">
                  <c:v>#N/A</c:v>
                </c:pt>
                <c:pt idx="116">
                  <c:v>150</c:v>
                </c:pt>
                <c:pt idx="117">
                  <c:v>150</c:v>
                </c:pt>
                <c:pt idx="118">
                  <c:v>150</c:v>
                </c:pt>
                <c:pt idx="119">
                  <c:v>200</c:v>
                </c:pt>
                <c:pt idx="120">
                  <c:v>200</c:v>
                </c:pt>
                <c:pt idx="121">
                  <c:v>#N/A</c:v>
                </c:pt>
                <c:pt idx="122">
                  <c:v>#N/A</c:v>
                </c:pt>
                <c:pt idx="123">
                  <c:v>#N/A</c:v>
                </c:pt>
                <c:pt idx="124">
                  <c:v>#N/A</c:v>
                </c:pt>
                <c:pt idx="125">
                  <c:v>#N/A</c:v>
                </c:pt>
                <c:pt idx="126">
                  <c:v>200</c:v>
                </c:pt>
                <c:pt idx="127">
                  <c:v>200</c:v>
                </c:pt>
                <c:pt idx="128">
                  <c:v>#N/A</c:v>
                </c:pt>
                <c:pt idx="129">
                  <c:v>#N/A</c:v>
                </c:pt>
                <c:pt idx="130">
                  <c:v>450</c:v>
                </c:pt>
                <c:pt idx="131">
                  <c:v>500</c:v>
                </c:pt>
                <c:pt idx="132">
                  <c:v>500</c:v>
                </c:pt>
                <c:pt idx="133">
                  <c:v>500</c:v>
                </c:pt>
                <c:pt idx="134">
                  <c:v>700</c:v>
                </c:pt>
                <c:pt idx="135">
                  <c:v>#N/A</c:v>
                </c:pt>
                <c:pt idx="136">
                  <c:v>#N/A</c:v>
                </c:pt>
                <c:pt idx="137">
                  <c:v>850</c:v>
                </c:pt>
                <c:pt idx="138">
                  <c:v>500</c:v>
                </c:pt>
                <c:pt idx="139">
                  <c:v>500</c:v>
                </c:pt>
                <c:pt idx="140">
                  <c:v>500</c:v>
                </c:pt>
                <c:pt idx="141">
                  <c:v>500</c:v>
                </c:pt>
                <c:pt idx="142">
                  <c:v>#N/A</c:v>
                </c:pt>
                <c:pt idx="143">
                  <c:v>#N/A</c:v>
                </c:pt>
                <c:pt idx="144">
                  <c:v>400</c:v>
                </c:pt>
                <c:pt idx="145">
                  <c:v>300</c:v>
                </c:pt>
                <c:pt idx="146">
                  <c:v>250</c:v>
                </c:pt>
                <c:pt idx="147">
                  <c:v>200</c:v>
                </c:pt>
                <c:pt idx="148">
                  <c:v>250</c:v>
                </c:pt>
                <c:pt idx="149">
                  <c:v>#N/A</c:v>
                </c:pt>
                <c:pt idx="150">
                  <c:v>#N/A</c:v>
                </c:pt>
                <c:pt idx="151">
                  <c:v>200</c:v>
                </c:pt>
                <c:pt idx="152">
                  <c:v>300</c:v>
                </c:pt>
                <c:pt idx="153">
                  <c:v>250</c:v>
                </c:pt>
                <c:pt idx="154">
                  <c:v>250</c:v>
                </c:pt>
                <c:pt idx="155">
                  <c:v>350</c:v>
                </c:pt>
                <c:pt idx="156">
                  <c:v>#N/A</c:v>
                </c:pt>
                <c:pt idx="157">
                  <c:v>#N/A</c:v>
                </c:pt>
                <c:pt idx="158">
                  <c:v>500</c:v>
                </c:pt>
                <c:pt idx="159">
                  <c:v>500</c:v>
                </c:pt>
                <c:pt idx="160">
                  <c:v>500</c:v>
                </c:pt>
                <c:pt idx="161">
                  <c:v>600</c:v>
                </c:pt>
                <c:pt idx="162">
                  <c:v>650</c:v>
                </c:pt>
                <c:pt idx="163">
                  <c:v>#N/A</c:v>
                </c:pt>
                <c:pt idx="164">
                  <c:v>#N/A</c:v>
                </c:pt>
                <c:pt idx="165">
                  <c:v>#N/A</c:v>
                </c:pt>
                <c:pt idx="166">
                  <c:v>750</c:v>
                </c:pt>
                <c:pt idx="167">
                  <c:v>800</c:v>
                </c:pt>
                <c:pt idx="168">
                  <c:v>850</c:v>
                </c:pt>
                <c:pt idx="169">
                  <c:v>750</c:v>
                </c:pt>
                <c:pt idx="170">
                  <c:v>#N/A</c:v>
                </c:pt>
                <c:pt idx="171">
                  <c:v>#N/A</c:v>
                </c:pt>
                <c:pt idx="172">
                  <c:v>750</c:v>
                </c:pt>
                <c:pt idx="173">
                  <c:v>800</c:v>
                </c:pt>
                <c:pt idx="174">
                  <c:v>700</c:v>
                </c:pt>
                <c:pt idx="175">
                  <c:v>700</c:v>
                </c:pt>
                <c:pt idx="176">
                  <c:v>700</c:v>
                </c:pt>
                <c:pt idx="177">
                  <c:v>#N/A</c:v>
                </c:pt>
                <c:pt idx="178">
                  <c:v>#N/A</c:v>
                </c:pt>
                <c:pt idx="179">
                  <c:v>700</c:v>
                </c:pt>
                <c:pt idx="180">
                  <c:v>700</c:v>
                </c:pt>
                <c:pt idx="181">
                  <c:v>600</c:v>
                </c:pt>
                <c:pt idx="182">
                  <c:v>600</c:v>
                </c:pt>
                <c:pt idx="183">
                  <c:v>600</c:v>
                </c:pt>
                <c:pt idx="184">
                  <c:v>#N/A</c:v>
                </c:pt>
                <c:pt idx="185">
                  <c:v>#N/A</c:v>
                </c:pt>
                <c:pt idx="186">
                  <c:v>600</c:v>
                </c:pt>
                <c:pt idx="187">
                  <c:v>650</c:v>
                </c:pt>
                <c:pt idx="188">
                  <c:v>650</c:v>
                </c:pt>
                <c:pt idx="189">
                  <c:v>650</c:v>
                </c:pt>
                <c:pt idx="190">
                  <c:v>750</c:v>
                </c:pt>
                <c:pt idx="191">
                  <c:v>#N/A</c:v>
                </c:pt>
                <c:pt idx="192">
                  <c:v>#N/A</c:v>
                </c:pt>
                <c:pt idx="193">
                  <c:v>850</c:v>
                </c:pt>
                <c:pt idx="194">
                  <c:v>850</c:v>
                </c:pt>
                <c:pt idx="195">
                  <c:v>800</c:v>
                </c:pt>
                <c:pt idx="196">
                  <c:v>800</c:v>
                </c:pt>
                <c:pt idx="197">
                  <c:v>800</c:v>
                </c:pt>
                <c:pt idx="198">
                  <c:v>#N/A</c:v>
                </c:pt>
                <c:pt idx="199">
                  <c:v>#N/A</c:v>
                </c:pt>
                <c:pt idx="200">
                  <c:v>800</c:v>
                </c:pt>
                <c:pt idx="201">
                  <c:v>850</c:v>
                </c:pt>
                <c:pt idx="202">
                  <c:v>950</c:v>
                </c:pt>
                <c:pt idx="203">
                  <c:v>950</c:v>
                </c:pt>
                <c:pt idx="204">
                  <c:v>700</c:v>
                </c:pt>
                <c:pt idx="205">
                  <c:v>#N/A</c:v>
                </c:pt>
                <c:pt idx="206">
                  <c:v>#N/A</c:v>
                </c:pt>
                <c:pt idx="207">
                  <c:v>700</c:v>
                </c:pt>
                <c:pt idx="208">
                  <c:v>650</c:v>
                </c:pt>
                <c:pt idx="209">
                  <c:v>800</c:v>
                </c:pt>
                <c:pt idx="210">
                  <c:v>850</c:v>
                </c:pt>
                <c:pt idx="211">
                  <c:v>800</c:v>
                </c:pt>
                <c:pt idx="212">
                  <c:v>#N/A</c:v>
                </c:pt>
                <c:pt idx="213">
                  <c:v>#N/A</c:v>
                </c:pt>
                <c:pt idx="214">
                  <c:v>900</c:v>
                </c:pt>
                <c:pt idx="215">
                  <c:v>900</c:v>
                </c:pt>
                <c:pt idx="216">
                  <c:v>900</c:v>
                </c:pt>
                <c:pt idx="217">
                  <c:v>850</c:v>
                </c:pt>
                <c:pt idx="218">
                  <c:v>500</c:v>
                </c:pt>
                <c:pt idx="219">
                  <c:v>#N/A</c:v>
                </c:pt>
                <c:pt idx="220">
                  <c:v>#N/A</c:v>
                </c:pt>
                <c:pt idx="221">
                  <c:v>500</c:v>
                </c:pt>
                <c:pt idx="222">
                  <c:v>600</c:v>
                </c:pt>
                <c:pt idx="223">
                  <c:v>950</c:v>
                </c:pt>
                <c:pt idx="224">
                  <c:v>1050</c:v>
                </c:pt>
                <c:pt idx="225">
                  <c:v>1100</c:v>
                </c:pt>
                <c:pt idx="226">
                  <c:v>#N/A</c:v>
                </c:pt>
                <c:pt idx="227">
                  <c:v>#N/A</c:v>
                </c:pt>
                <c:pt idx="228">
                  <c:v>1000</c:v>
                </c:pt>
                <c:pt idx="229">
                  <c:v>900</c:v>
                </c:pt>
                <c:pt idx="230">
                  <c:v>1000</c:v>
                </c:pt>
                <c:pt idx="231">
                  <c:v>1050</c:v>
                </c:pt>
                <c:pt idx="232">
                  <c:v>700</c:v>
                </c:pt>
                <c:pt idx="233">
                  <c:v>#N/A</c:v>
                </c:pt>
                <c:pt idx="234">
                  <c:v>#N/A</c:v>
                </c:pt>
                <c:pt idx="235">
                  <c:v>750</c:v>
                </c:pt>
                <c:pt idx="236">
                  <c:v>600</c:v>
                </c:pt>
                <c:pt idx="237">
                  <c:v>200</c:v>
                </c:pt>
                <c:pt idx="238">
                  <c:v>250</c:v>
                </c:pt>
                <c:pt idx="239">
                  <c:v>600</c:v>
                </c:pt>
                <c:pt idx="240">
                  <c:v>#N/A</c:v>
                </c:pt>
                <c:pt idx="241">
                  <c:v>#N/A</c:v>
                </c:pt>
                <c:pt idx="242">
                  <c:v>350</c:v>
                </c:pt>
                <c:pt idx="243">
                  <c:v>1150</c:v>
                </c:pt>
                <c:pt idx="244">
                  <c:v>750</c:v>
                </c:pt>
                <c:pt idx="245">
                  <c:v>950</c:v>
                </c:pt>
                <c:pt idx="246">
                  <c:v>850</c:v>
                </c:pt>
                <c:pt idx="247">
                  <c:v>#N/A</c:v>
                </c:pt>
                <c:pt idx="248">
                  <c:v>#N/A</c:v>
                </c:pt>
                <c:pt idx="249">
                  <c:v>950</c:v>
                </c:pt>
                <c:pt idx="250">
                  <c:v>1650</c:v>
                </c:pt>
                <c:pt idx="251">
                  <c:v>1650</c:v>
                </c:pt>
                <c:pt idx="252">
                  <c:v>1500</c:v>
                </c:pt>
                <c:pt idx="253">
                  <c:v>1150</c:v>
                </c:pt>
                <c:pt idx="254">
                  <c:v>#N/A</c:v>
                </c:pt>
                <c:pt idx="255">
                  <c:v>#N/A</c:v>
                </c:pt>
                <c:pt idx="256">
                  <c:v>1250</c:v>
                </c:pt>
                <c:pt idx="257">
                  <c:v>1500</c:v>
                </c:pt>
                <c:pt idx="258">
                  <c:v>1250</c:v>
                </c:pt>
                <c:pt idx="259">
                  <c:v>1750</c:v>
                </c:pt>
                <c:pt idx="260">
                  <c:v>1250</c:v>
                </c:pt>
                <c:pt idx="261">
                  <c:v>#N/A</c:v>
                </c:pt>
                <c:pt idx="262">
                  <c:v>#N/A</c:v>
                </c:pt>
                <c:pt idx="263">
                  <c:v>#N/A</c:v>
                </c:pt>
                <c:pt idx="264">
                  <c:v>#N/A</c:v>
                </c:pt>
                <c:pt idx="265">
                  <c:v>500</c:v>
                </c:pt>
                <c:pt idx="266">
                  <c:v>2000</c:v>
                </c:pt>
                <c:pt idx="267">
                  <c:v>1250</c:v>
                </c:pt>
                <c:pt idx="268">
                  <c:v>#N/A</c:v>
                </c:pt>
                <c:pt idx="269">
                  <c:v>#N/A</c:v>
                </c:pt>
                <c:pt idx="270">
                  <c:v>1250</c:v>
                </c:pt>
                <c:pt idx="271">
                  <c:v>1000</c:v>
                </c:pt>
                <c:pt idx="272">
                  <c:v>2500</c:v>
                </c:pt>
                <c:pt idx="273">
                  <c:v>2500</c:v>
                </c:pt>
                <c:pt idx="274">
                  <c:v>#N/A</c:v>
                </c:pt>
                <c:pt idx="275">
                  <c:v>#N/A</c:v>
                </c:pt>
                <c:pt idx="276">
                  <c:v>#N/A</c:v>
                </c:pt>
                <c:pt idx="277">
                  <c:v>#N/A</c:v>
                </c:pt>
                <c:pt idx="278">
                  <c:v>#N/A</c:v>
                </c:pt>
                <c:pt idx="279">
                  <c:v>#N/A</c:v>
                </c:pt>
                <c:pt idx="280">
                  <c:v>#N/A</c:v>
                </c:pt>
                <c:pt idx="281">
                  <c:v>4500</c:v>
                </c:pt>
                <c:pt idx="282">
                  <c:v>#N/A</c:v>
                </c:pt>
                <c:pt idx="283">
                  <c:v>#N/A</c:v>
                </c:pt>
                <c:pt idx="284">
                  <c:v>7000</c:v>
                </c:pt>
                <c:pt idx="285">
                  <c:v>10000</c:v>
                </c:pt>
                <c:pt idx="286">
                  <c:v>11500</c:v>
                </c:pt>
                <c:pt idx="287">
                  <c:v>14250</c:v>
                </c:pt>
                <c:pt idx="288">
                  <c:v>15250</c:v>
                </c:pt>
                <c:pt idx="289">
                  <c:v>#N/A</c:v>
                </c:pt>
                <c:pt idx="290">
                  <c:v>#N/A</c:v>
                </c:pt>
                <c:pt idx="291">
                  <c:v>16250</c:v>
                </c:pt>
                <c:pt idx="292">
                  <c:v>15250</c:v>
                </c:pt>
                <c:pt idx="293">
                  <c:v>12000</c:v>
                </c:pt>
                <c:pt idx="294">
                  <c:v>10000</c:v>
                </c:pt>
                <c:pt idx="295">
                  <c:v>10250</c:v>
                </c:pt>
                <c:pt idx="296">
                  <c:v>#N/A</c:v>
                </c:pt>
                <c:pt idx="297">
                  <c:v>#N/A</c:v>
                </c:pt>
                <c:pt idx="298">
                  <c:v>11250</c:v>
                </c:pt>
                <c:pt idx="299">
                  <c:v>8500</c:v>
                </c:pt>
                <c:pt idx="300">
                  <c:v>8500</c:v>
                </c:pt>
                <c:pt idx="301">
                  <c:v>7000</c:v>
                </c:pt>
                <c:pt idx="302">
                  <c:v>6500</c:v>
                </c:pt>
                <c:pt idx="303">
                  <c:v>#N/A</c:v>
                </c:pt>
                <c:pt idx="304">
                  <c:v>#N/A</c:v>
                </c:pt>
                <c:pt idx="305">
                  <c:v>4750</c:v>
                </c:pt>
                <c:pt idx="306">
                  <c:v>4000</c:v>
                </c:pt>
                <c:pt idx="307">
                  <c:v>6000</c:v>
                </c:pt>
                <c:pt idx="308">
                  <c:v>5250</c:v>
                </c:pt>
                <c:pt idx="309">
                  <c:v>3750</c:v>
                </c:pt>
                <c:pt idx="310">
                  <c:v>#N/A</c:v>
                </c:pt>
                <c:pt idx="311">
                  <c:v>#N/A</c:v>
                </c:pt>
                <c:pt idx="312">
                  <c:v>4500</c:v>
                </c:pt>
                <c:pt idx="313">
                  <c:v>4500</c:v>
                </c:pt>
                <c:pt idx="314">
                  <c:v>3250</c:v>
                </c:pt>
                <c:pt idx="315">
                  <c:v>2750</c:v>
                </c:pt>
                <c:pt idx="316">
                  <c:v>1750</c:v>
                </c:pt>
                <c:pt idx="317">
                  <c:v>#N/A</c:v>
                </c:pt>
                <c:pt idx="318">
                  <c:v>#N/A</c:v>
                </c:pt>
                <c:pt idx="319">
                  <c:v>2250</c:v>
                </c:pt>
                <c:pt idx="320">
                  <c:v>2750</c:v>
                </c:pt>
                <c:pt idx="321">
                  <c:v>1250</c:v>
                </c:pt>
                <c:pt idx="322">
                  <c:v>1000</c:v>
                </c:pt>
                <c:pt idx="323">
                  <c:v>1000</c:v>
                </c:pt>
                <c:pt idx="324">
                  <c:v>#N/A</c:v>
                </c:pt>
                <c:pt idx="325">
                  <c:v>#N/A</c:v>
                </c:pt>
                <c:pt idx="326">
                  <c:v>1000</c:v>
                </c:pt>
                <c:pt idx="327">
                  <c:v>1000</c:v>
                </c:pt>
                <c:pt idx="328">
                  <c:v>1750</c:v>
                </c:pt>
                <c:pt idx="329">
                  <c:v>1750</c:v>
                </c:pt>
                <c:pt idx="330">
                  <c:v>2750</c:v>
                </c:pt>
                <c:pt idx="331">
                  <c:v>#N/A</c:v>
                </c:pt>
                <c:pt idx="332">
                  <c:v>#N/A</c:v>
                </c:pt>
                <c:pt idx="333">
                  <c:v>3000</c:v>
                </c:pt>
                <c:pt idx="334">
                  <c:v>3500</c:v>
                </c:pt>
                <c:pt idx="335">
                  <c:v>4250</c:v>
                </c:pt>
                <c:pt idx="336">
                  <c:v>1750</c:v>
                </c:pt>
                <c:pt idx="337">
                  <c:v>2250</c:v>
                </c:pt>
                <c:pt idx="338">
                  <c:v>#N/A</c:v>
                </c:pt>
                <c:pt idx="339">
                  <c:v>#N/A</c:v>
                </c:pt>
                <c:pt idx="340">
                  <c:v>1250</c:v>
                </c:pt>
                <c:pt idx="341">
                  <c:v>1250</c:v>
                </c:pt>
                <c:pt idx="342">
                  <c:v>900</c:v>
                </c:pt>
                <c:pt idx="343">
                  <c:v>900</c:v>
                </c:pt>
                <c:pt idx="344">
                  <c:v>850</c:v>
                </c:pt>
                <c:pt idx="345">
                  <c:v>#N/A</c:v>
                </c:pt>
                <c:pt idx="346">
                  <c:v>#N/A</c:v>
                </c:pt>
                <c:pt idx="347">
                  <c:v>750</c:v>
                </c:pt>
                <c:pt idx="348">
                  <c:v>750</c:v>
                </c:pt>
                <c:pt idx="349">
                  <c:v>750</c:v>
                </c:pt>
                <c:pt idx="350">
                  <c:v>750</c:v>
                </c:pt>
                <c:pt idx="351">
                  <c:v>750</c:v>
                </c:pt>
                <c:pt idx="352">
                  <c:v>#N/A</c:v>
                </c:pt>
                <c:pt idx="353">
                  <c:v>#N/A</c:v>
                </c:pt>
                <c:pt idx="354">
                  <c:v>750</c:v>
                </c:pt>
                <c:pt idx="355">
                  <c:v>750</c:v>
                </c:pt>
                <c:pt idx="356">
                  <c:v>750</c:v>
                </c:pt>
                <c:pt idx="357">
                  <c:v>750</c:v>
                </c:pt>
                <c:pt idx="358">
                  <c:v>750</c:v>
                </c:pt>
                <c:pt idx="359">
                  <c:v>#N/A</c:v>
                </c:pt>
                <c:pt idx="360">
                  <c:v>#N/A</c:v>
                </c:pt>
                <c:pt idx="361">
                  <c:v>750</c:v>
                </c:pt>
                <c:pt idx="362">
                  <c:v>550</c:v>
                </c:pt>
                <c:pt idx="363">
                  <c:v>450</c:v>
                </c:pt>
                <c:pt idx="364">
                  <c:v>450</c:v>
                </c:pt>
                <c:pt idx="365">
                  <c:v>450</c:v>
                </c:pt>
              </c:numCache>
            </c:numRef>
          </c:val>
          <c:smooth val="0"/>
          <c:extLst>
            <c:ext xmlns:c16="http://schemas.microsoft.com/office/drawing/2014/chart" uri="{C3380CC4-5D6E-409C-BE32-E72D297353CC}">
              <c16:uniqueId val="{00000001-7C2D-46B1-A1D7-5AB6E513FE3E}"/>
            </c:ext>
          </c:extLst>
        </c:ser>
        <c:ser>
          <c:idx val="2"/>
          <c:order val="2"/>
          <c:tx>
            <c:strRef>
              <c:f>现货价差!$AZ$4</c:f>
              <c:strCache>
                <c:ptCount val="1"/>
                <c:pt idx="0">
                  <c:v>2022</c:v>
                </c:pt>
              </c:strCache>
            </c:strRef>
          </c:tx>
          <c:spPr>
            <a:ln w="19050" cap="rnd">
              <a:solidFill>
                <a:schemeClr val="bg1">
                  <a:lumMod val="65000"/>
                </a:schemeClr>
              </a:solidFill>
              <a:round/>
            </a:ln>
            <a:effectLst/>
          </c:spPr>
          <c:marker>
            <c:symbol val="none"/>
          </c:marker>
          <c:cat>
            <c:strRef>
              <c:f>现货价差!$AW$5:$AW$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Z$5:$AZ$370</c:f>
              <c:numCache>
                <c:formatCode>General</c:formatCode>
                <c:ptCount val="366"/>
                <c:pt idx="0">
                  <c:v>#N/A</c:v>
                </c:pt>
                <c:pt idx="1">
                  <c:v>#N/A</c:v>
                </c:pt>
                <c:pt idx="2">
                  <c:v>#N/A</c:v>
                </c:pt>
                <c:pt idx="3">
                  <c:v>500</c:v>
                </c:pt>
                <c:pt idx="4">
                  <c:v>450</c:v>
                </c:pt>
                <c:pt idx="5">
                  <c:v>350</c:v>
                </c:pt>
                <c:pt idx="6">
                  <c:v>400</c:v>
                </c:pt>
                <c:pt idx="7">
                  <c:v>#N/A</c:v>
                </c:pt>
                <c:pt idx="8">
                  <c:v>#N/A</c:v>
                </c:pt>
                <c:pt idx="9">
                  <c:v>300</c:v>
                </c:pt>
                <c:pt idx="10">
                  <c:v>300</c:v>
                </c:pt>
                <c:pt idx="11">
                  <c:v>400</c:v>
                </c:pt>
                <c:pt idx="12">
                  <c:v>350</c:v>
                </c:pt>
                <c:pt idx="13">
                  <c:v>350</c:v>
                </c:pt>
                <c:pt idx="14">
                  <c:v>#N/A</c:v>
                </c:pt>
                <c:pt idx="15">
                  <c:v>#N/A</c:v>
                </c:pt>
                <c:pt idx="16">
                  <c:v>350</c:v>
                </c:pt>
                <c:pt idx="17">
                  <c:v>350</c:v>
                </c:pt>
                <c:pt idx="18">
                  <c:v>350</c:v>
                </c:pt>
                <c:pt idx="19">
                  <c:v>350</c:v>
                </c:pt>
                <c:pt idx="20">
                  <c:v>250</c:v>
                </c:pt>
                <c:pt idx="21">
                  <c:v>#N/A</c:v>
                </c:pt>
                <c:pt idx="22">
                  <c:v>#N/A</c:v>
                </c:pt>
                <c:pt idx="23">
                  <c:v>250</c:v>
                </c:pt>
                <c:pt idx="24">
                  <c:v>250</c:v>
                </c:pt>
                <c:pt idx="25">
                  <c:v>250</c:v>
                </c:pt>
                <c:pt idx="26">
                  <c:v>250</c:v>
                </c:pt>
                <c:pt idx="27">
                  <c:v>250</c:v>
                </c:pt>
                <c:pt idx="28">
                  <c:v>#N/A</c:v>
                </c:pt>
                <c:pt idx="29">
                  <c:v>#N/A</c:v>
                </c:pt>
                <c:pt idx="30">
                  <c:v>#N/A</c:v>
                </c:pt>
                <c:pt idx="31">
                  <c:v>#N/A</c:v>
                </c:pt>
                <c:pt idx="32">
                  <c:v>#N/A</c:v>
                </c:pt>
                <c:pt idx="33">
                  <c:v>#N/A</c:v>
                </c:pt>
                <c:pt idx="34">
                  <c:v>#N/A</c:v>
                </c:pt>
                <c:pt idx="35">
                  <c:v>#N/A</c:v>
                </c:pt>
                <c:pt idx="36">
                  <c:v>#N/A</c:v>
                </c:pt>
                <c:pt idx="37">
                  <c:v>250</c:v>
                </c:pt>
                <c:pt idx="38">
                  <c:v>250</c:v>
                </c:pt>
                <c:pt idx="39">
                  <c:v>250</c:v>
                </c:pt>
                <c:pt idx="40">
                  <c:v>250</c:v>
                </c:pt>
                <c:pt idx="41">
                  <c:v>150</c:v>
                </c:pt>
                <c:pt idx="42">
                  <c:v>#N/A</c:v>
                </c:pt>
                <c:pt idx="43">
                  <c:v>#N/A</c:v>
                </c:pt>
                <c:pt idx="44">
                  <c:v>150</c:v>
                </c:pt>
                <c:pt idx="45">
                  <c:v>200</c:v>
                </c:pt>
                <c:pt idx="46">
                  <c:v>250</c:v>
                </c:pt>
                <c:pt idx="47">
                  <c:v>300</c:v>
                </c:pt>
                <c:pt idx="48">
                  <c:v>250</c:v>
                </c:pt>
                <c:pt idx="49">
                  <c:v>#N/A</c:v>
                </c:pt>
                <c:pt idx="50">
                  <c:v>#N/A</c:v>
                </c:pt>
                <c:pt idx="51">
                  <c:v>350</c:v>
                </c:pt>
                <c:pt idx="52">
                  <c:v>300</c:v>
                </c:pt>
                <c:pt idx="53">
                  <c:v>300</c:v>
                </c:pt>
                <c:pt idx="54">
                  <c:v>300</c:v>
                </c:pt>
                <c:pt idx="55">
                  <c:v>750</c:v>
                </c:pt>
                <c:pt idx="56">
                  <c:v>#N/A</c:v>
                </c:pt>
                <c:pt idx="57">
                  <c:v>#N/A</c:v>
                </c:pt>
                <c:pt idx="58">
                  <c:v>600</c:v>
                </c:pt>
                <c:pt idx="60">
                  <c:v>700</c:v>
                </c:pt>
                <c:pt idx="61">
                  <c:v>700</c:v>
                </c:pt>
                <c:pt idx="62">
                  <c:v>750</c:v>
                </c:pt>
                <c:pt idx="63">
                  <c:v>750</c:v>
                </c:pt>
                <c:pt idx="64">
                  <c:v>#N/A</c:v>
                </c:pt>
                <c:pt idx="65">
                  <c:v>#N/A</c:v>
                </c:pt>
                <c:pt idx="66">
                  <c:v>650</c:v>
                </c:pt>
                <c:pt idx="67">
                  <c:v>550</c:v>
                </c:pt>
                <c:pt idx="68">
                  <c:v>550</c:v>
                </c:pt>
                <c:pt idx="69">
                  <c:v>550</c:v>
                </c:pt>
                <c:pt idx="70">
                  <c:v>550</c:v>
                </c:pt>
                <c:pt idx="71">
                  <c:v>#N/A</c:v>
                </c:pt>
                <c:pt idx="72">
                  <c:v>#N/A</c:v>
                </c:pt>
                <c:pt idx="73">
                  <c:v>400</c:v>
                </c:pt>
                <c:pt idx="74">
                  <c:v>400</c:v>
                </c:pt>
                <c:pt idx="75">
                  <c:v>250</c:v>
                </c:pt>
                <c:pt idx="76">
                  <c:v>200</c:v>
                </c:pt>
                <c:pt idx="77">
                  <c:v>250</c:v>
                </c:pt>
                <c:pt idx="78">
                  <c:v>#N/A</c:v>
                </c:pt>
                <c:pt idx="79">
                  <c:v>#N/A</c:v>
                </c:pt>
                <c:pt idx="80">
                  <c:v>550</c:v>
                </c:pt>
                <c:pt idx="81">
                  <c:v>400</c:v>
                </c:pt>
                <c:pt idx="82">
                  <c:v>400</c:v>
                </c:pt>
                <c:pt idx="83">
                  <c:v>600</c:v>
                </c:pt>
                <c:pt idx="84">
                  <c:v>500</c:v>
                </c:pt>
                <c:pt idx="85">
                  <c:v>#N/A</c:v>
                </c:pt>
                <c:pt idx="86">
                  <c:v>#N/A</c:v>
                </c:pt>
                <c:pt idx="87">
                  <c:v>600</c:v>
                </c:pt>
                <c:pt idx="88">
                  <c:v>850</c:v>
                </c:pt>
                <c:pt idx="89">
                  <c:v>900</c:v>
                </c:pt>
                <c:pt idx="90">
                  <c:v>850</c:v>
                </c:pt>
                <c:pt idx="91">
                  <c:v>1250</c:v>
                </c:pt>
                <c:pt idx="92">
                  <c:v>#N/A</c:v>
                </c:pt>
                <c:pt idx="93">
                  <c:v>#N/A</c:v>
                </c:pt>
                <c:pt idx="94">
                  <c:v>#N/A</c:v>
                </c:pt>
                <c:pt idx="95">
                  <c:v>#N/A</c:v>
                </c:pt>
                <c:pt idx="96">
                  <c:v>1150</c:v>
                </c:pt>
                <c:pt idx="97">
                  <c:v>1150</c:v>
                </c:pt>
                <c:pt idx="98">
                  <c:v>1150</c:v>
                </c:pt>
                <c:pt idx="99">
                  <c:v>#N/A</c:v>
                </c:pt>
                <c:pt idx="100">
                  <c:v>#N/A</c:v>
                </c:pt>
                <c:pt idx="101">
                  <c:v>1250</c:v>
                </c:pt>
                <c:pt idx="102">
                  <c:v>1150</c:v>
                </c:pt>
                <c:pt idx="103">
                  <c:v>1150</c:v>
                </c:pt>
                <c:pt idx="104">
                  <c:v>1100</c:v>
                </c:pt>
                <c:pt idx="105">
                  <c:v>1100</c:v>
                </c:pt>
                <c:pt idx="106">
                  <c:v>#N/A</c:v>
                </c:pt>
                <c:pt idx="107">
                  <c:v>#N/A</c:v>
                </c:pt>
                <c:pt idx="108">
                  <c:v>850</c:v>
                </c:pt>
                <c:pt idx="109">
                  <c:v>850</c:v>
                </c:pt>
                <c:pt idx="110">
                  <c:v>850</c:v>
                </c:pt>
                <c:pt idx="111">
                  <c:v>850</c:v>
                </c:pt>
                <c:pt idx="112">
                  <c:v>850</c:v>
                </c:pt>
                <c:pt idx="113">
                  <c:v>#N/A</c:v>
                </c:pt>
                <c:pt idx="114">
                  <c:v>#N/A</c:v>
                </c:pt>
                <c:pt idx="115">
                  <c:v>850</c:v>
                </c:pt>
                <c:pt idx="116">
                  <c:v>900</c:v>
                </c:pt>
                <c:pt idx="117">
                  <c:v>1000</c:v>
                </c:pt>
                <c:pt idx="118">
                  <c:v>1000</c:v>
                </c:pt>
                <c:pt idx="119">
                  <c:v>1000</c:v>
                </c:pt>
                <c:pt idx="120">
                  <c:v>#N/A</c:v>
                </c:pt>
                <c:pt idx="121">
                  <c:v>#N/A</c:v>
                </c:pt>
                <c:pt idx="122">
                  <c:v>#N/A</c:v>
                </c:pt>
                <c:pt idx="123">
                  <c:v>#N/A</c:v>
                </c:pt>
                <c:pt idx="124">
                  <c:v>#N/A</c:v>
                </c:pt>
                <c:pt idx="125">
                  <c:v>1000</c:v>
                </c:pt>
                <c:pt idx="126">
                  <c:v>1000</c:v>
                </c:pt>
                <c:pt idx="127">
                  <c:v>#N/A</c:v>
                </c:pt>
                <c:pt idx="128">
                  <c:v>#N/A</c:v>
                </c:pt>
                <c:pt idx="129">
                  <c:v>1000</c:v>
                </c:pt>
                <c:pt idx="130">
                  <c:v>1150</c:v>
                </c:pt>
                <c:pt idx="131">
                  <c:v>1150</c:v>
                </c:pt>
                <c:pt idx="132">
                  <c:v>1250</c:v>
                </c:pt>
                <c:pt idx="133">
                  <c:v>1250</c:v>
                </c:pt>
                <c:pt idx="134">
                  <c:v>#N/A</c:v>
                </c:pt>
                <c:pt idx="135">
                  <c:v>#N/A</c:v>
                </c:pt>
                <c:pt idx="136">
                  <c:v>1250</c:v>
                </c:pt>
                <c:pt idx="137">
                  <c:v>850</c:v>
                </c:pt>
                <c:pt idx="138">
                  <c:v>1000</c:v>
                </c:pt>
                <c:pt idx="139">
                  <c:v>1100</c:v>
                </c:pt>
                <c:pt idx="140">
                  <c:v>1250</c:v>
                </c:pt>
                <c:pt idx="141">
                  <c:v>#N/A</c:v>
                </c:pt>
                <c:pt idx="142">
                  <c:v>#N/A</c:v>
                </c:pt>
                <c:pt idx="143">
                  <c:v>1300</c:v>
                </c:pt>
                <c:pt idx="144">
                  <c:v>1250</c:v>
                </c:pt>
                <c:pt idx="145">
                  <c:v>1200</c:v>
                </c:pt>
                <c:pt idx="146">
                  <c:v>1100</c:v>
                </c:pt>
                <c:pt idx="147">
                  <c:v>1050</c:v>
                </c:pt>
                <c:pt idx="148">
                  <c:v>#N/A</c:v>
                </c:pt>
                <c:pt idx="149">
                  <c:v>#N/A</c:v>
                </c:pt>
                <c:pt idx="150">
                  <c:v>1200</c:v>
                </c:pt>
                <c:pt idx="151">
                  <c:v>1150</c:v>
                </c:pt>
                <c:pt idx="152">
                  <c:v>1150</c:v>
                </c:pt>
                <c:pt idx="153">
                  <c:v>1150</c:v>
                </c:pt>
                <c:pt idx="154">
                  <c:v>#N/A</c:v>
                </c:pt>
                <c:pt idx="155">
                  <c:v>#N/A</c:v>
                </c:pt>
                <c:pt idx="156">
                  <c:v>#N/A</c:v>
                </c:pt>
                <c:pt idx="157">
                  <c:v>1150</c:v>
                </c:pt>
                <c:pt idx="158">
                  <c:v>950</c:v>
                </c:pt>
                <c:pt idx="159">
                  <c:v>800</c:v>
                </c:pt>
                <c:pt idx="160">
                  <c:v>650</c:v>
                </c:pt>
                <c:pt idx="161">
                  <c:v>600</c:v>
                </c:pt>
                <c:pt idx="162">
                  <c:v>#N/A</c:v>
                </c:pt>
                <c:pt idx="163">
                  <c:v>#N/A</c:v>
                </c:pt>
                <c:pt idx="164">
                  <c:v>500</c:v>
                </c:pt>
                <c:pt idx="165">
                  <c:v>550</c:v>
                </c:pt>
                <c:pt idx="166">
                  <c:v>400</c:v>
                </c:pt>
                <c:pt idx="167">
                  <c:v>400</c:v>
                </c:pt>
                <c:pt idx="168">
                  <c:v>600</c:v>
                </c:pt>
                <c:pt idx="169">
                  <c:v>#N/A</c:v>
                </c:pt>
                <c:pt idx="170">
                  <c:v>#N/A</c:v>
                </c:pt>
                <c:pt idx="171">
                  <c:v>1050</c:v>
                </c:pt>
                <c:pt idx="172">
                  <c:v>650</c:v>
                </c:pt>
                <c:pt idx="173">
                  <c:v>650</c:v>
                </c:pt>
                <c:pt idx="174">
                  <c:v>650</c:v>
                </c:pt>
                <c:pt idx="175">
                  <c:v>700</c:v>
                </c:pt>
                <c:pt idx="176">
                  <c:v>#N/A</c:v>
                </c:pt>
                <c:pt idx="177">
                  <c:v>#N/A</c:v>
                </c:pt>
                <c:pt idx="178">
                  <c:v>800</c:v>
                </c:pt>
                <c:pt idx="179">
                  <c:v>800</c:v>
                </c:pt>
                <c:pt idx="180">
                  <c:v>700</c:v>
                </c:pt>
                <c:pt idx="181">
                  <c:v>850</c:v>
                </c:pt>
                <c:pt idx="182">
                  <c:v>800</c:v>
                </c:pt>
                <c:pt idx="183">
                  <c:v>#N/A</c:v>
                </c:pt>
                <c:pt idx="184">
                  <c:v>#N/A</c:v>
                </c:pt>
                <c:pt idx="185">
                  <c:v>800</c:v>
                </c:pt>
                <c:pt idx="186">
                  <c:v>800</c:v>
                </c:pt>
                <c:pt idx="187">
                  <c:v>800</c:v>
                </c:pt>
                <c:pt idx="188">
                  <c:v>800</c:v>
                </c:pt>
                <c:pt idx="189">
                  <c:v>950</c:v>
                </c:pt>
                <c:pt idx="190">
                  <c:v>#N/A</c:v>
                </c:pt>
                <c:pt idx="191">
                  <c:v>#N/A</c:v>
                </c:pt>
                <c:pt idx="192">
                  <c:v>1000</c:v>
                </c:pt>
                <c:pt idx="193">
                  <c:v>1150</c:v>
                </c:pt>
                <c:pt idx="194">
                  <c:v>1150</c:v>
                </c:pt>
                <c:pt idx="195">
                  <c:v>1150</c:v>
                </c:pt>
                <c:pt idx="196">
                  <c:v>1150</c:v>
                </c:pt>
                <c:pt idx="197">
                  <c:v>#N/A</c:v>
                </c:pt>
                <c:pt idx="198">
                  <c:v>#N/A</c:v>
                </c:pt>
                <c:pt idx="199">
                  <c:v>1050</c:v>
                </c:pt>
                <c:pt idx="200">
                  <c:v>950</c:v>
                </c:pt>
                <c:pt idx="201">
                  <c:v>950</c:v>
                </c:pt>
                <c:pt idx="202">
                  <c:v>950</c:v>
                </c:pt>
                <c:pt idx="203">
                  <c:v>950</c:v>
                </c:pt>
                <c:pt idx="204">
                  <c:v>#N/A</c:v>
                </c:pt>
                <c:pt idx="205">
                  <c:v>#N/A</c:v>
                </c:pt>
                <c:pt idx="206">
                  <c:v>1000</c:v>
                </c:pt>
                <c:pt idx="207">
                  <c:v>1000</c:v>
                </c:pt>
                <c:pt idx="208">
                  <c:v>1050</c:v>
                </c:pt>
                <c:pt idx="209">
                  <c:v>1100</c:v>
                </c:pt>
                <c:pt idx="210">
                  <c:v>1050</c:v>
                </c:pt>
                <c:pt idx="211">
                  <c:v>#N/A</c:v>
                </c:pt>
                <c:pt idx="212">
                  <c:v>#N/A</c:v>
                </c:pt>
                <c:pt idx="213">
                  <c:v>1050</c:v>
                </c:pt>
                <c:pt idx="214">
                  <c:v>1050</c:v>
                </c:pt>
                <c:pt idx="215">
                  <c:v>1150</c:v>
                </c:pt>
                <c:pt idx="216">
                  <c:v>1150</c:v>
                </c:pt>
                <c:pt idx="217">
                  <c:v>1100</c:v>
                </c:pt>
                <c:pt idx="218">
                  <c:v>#N/A</c:v>
                </c:pt>
                <c:pt idx="219">
                  <c:v>#N/A</c:v>
                </c:pt>
                <c:pt idx="220">
                  <c:v>1100</c:v>
                </c:pt>
                <c:pt idx="221">
                  <c:v>1000</c:v>
                </c:pt>
                <c:pt idx="222">
                  <c:v>1050</c:v>
                </c:pt>
                <c:pt idx="223">
                  <c:v>1000</c:v>
                </c:pt>
                <c:pt idx="224">
                  <c:v>700</c:v>
                </c:pt>
                <c:pt idx="225">
                  <c:v>#N/A</c:v>
                </c:pt>
                <c:pt idx="226">
                  <c:v>#N/A</c:v>
                </c:pt>
                <c:pt idx="227">
                  <c:v>700</c:v>
                </c:pt>
                <c:pt idx="228">
                  <c:v>350</c:v>
                </c:pt>
                <c:pt idx="229">
                  <c:v>400</c:v>
                </c:pt>
                <c:pt idx="230">
                  <c:v>550</c:v>
                </c:pt>
                <c:pt idx="231">
                  <c:v>550</c:v>
                </c:pt>
                <c:pt idx="232">
                  <c:v>#N/A</c:v>
                </c:pt>
                <c:pt idx="233">
                  <c:v>#N/A</c:v>
                </c:pt>
                <c:pt idx="234">
                  <c:v>550</c:v>
                </c:pt>
                <c:pt idx="235">
                  <c:v>850</c:v>
                </c:pt>
                <c:pt idx="236">
                  <c:v>700</c:v>
                </c:pt>
                <c:pt idx="237">
                  <c:v>750</c:v>
                </c:pt>
                <c:pt idx="238">
                  <c:v>700</c:v>
                </c:pt>
                <c:pt idx="239">
                  <c:v>#N/A</c:v>
                </c:pt>
                <c:pt idx="240">
                  <c:v>#N/A</c:v>
                </c:pt>
                <c:pt idx="241">
                  <c:v>950</c:v>
                </c:pt>
                <c:pt idx="242">
                  <c:v>1100</c:v>
                </c:pt>
                <c:pt idx="243">
                  <c:v>1250</c:v>
                </c:pt>
                <c:pt idx="244">
                  <c:v>1250</c:v>
                </c:pt>
                <c:pt idx="245">
                  <c:v>1250</c:v>
                </c:pt>
                <c:pt idx="246">
                  <c:v>#N/A</c:v>
                </c:pt>
                <c:pt idx="247">
                  <c:v>#N/A</c:v>
                </c:pt>
                <c:pt idx="248">
                  <c:v>1300</c:v>
                </c:pt>
                <c:pt idx="249">
                  <c:v>1200</c:v>
                </c:pt>
                <c:pt idx="250">
                  <c:v>1150</c:v>
                </c:pt>
                <c:pt idx="251">
                  <c:v>1150</c:v>
                </c:pt>
                <c:pt idx="252">
                  <c:v>1150</c:v>
                </c:pt>
                <c:pt idx="253">
                  <c:v>#N/A</c:v>
                </c:pt>
                <c:pt idx="254">
                  <c:v>#N/A</c:v>
                </c:pt>
                <c:pt idx="255">
                  <c:v>#N/A</c:v>
                </c:pt>
                <c:pt idx="256">
                  <c:v>1150</c:v>
                </c:pt>
                <c:pt idx="257">
                  <c:v>1250</c:v>
                </c:pt>
                <c:pt idx="258">
                  <c:v>1200</c:v>
                </c:pt>
                <c:pt idx="259">
                  <c:v>1250</c:v>
                </c:pt>
                <c:pt idx="260">
                  <c:v>#N/A</c:v>
                </c:pt>
                <c:pt idx="261">
                  <c:v>#N/A</c:v>
                </c:pt>
                <c:pt idx="262">
                  <c:v>1250</c:v>
                </c:pt>
                <c:pt idx="263">
                  <c:v>1300</c:v>
                </c:pt>
                <c:pt idx="264">
                  <c:v>1200</c:v>
                </c:pt>
                <c:pt idx="265">
                  <c:v>1100</c:v>
                </c:pt>
                <c:pt idx="266">
                  <c:v>1100</c:v>
                </c:pt>
                <c:pt idx="267">
                  <c:v>#N/A</c:v>
                </c:pt>
                <c:pt idx="268">
                  <c:v>#N/A</c:v>
                </c:pt>
                <c:pt idx="269">
                  <c:v>1100</c:v>
                </c:pt>
                <c:pt idx="270">
                  <c:v>1100</c:v>
                </c:pt>
                <c:pt idx="271">
                  <c:v>1100</c:v>
                </c:pt>
                <c:pt idx="272">
                  <c:v>1100</c:v>
                </c:pt>
                <c:pt idx="273">
                  <c:v>1100</c:v>
                </c:pt>
                <c:pt idx="274">
                  <c:v>#N/A</c:v>
                </c:pt>
                <c:pt idx="275">
                  <c:v>#N/A</c:v>
                </c:pt>
                <c:pt idx="276">
                  <c:v>#N/A</c:v>
                </c:pt>
                <c:pt idx="277">
                  <c:v>#N/A</c:v>
                </c:pt>
                <c:pt idx="278">
                  <c:v>#N/A</c:v>
                </c:pt>
                <c:pt idx="279">
                  <c:v>#N/A</c:v>
                </c:pt>
                <c:pt idx="280">
                  <c:v>#N/A</c:v>
                </c:pt>
                <c:pt idx="281">
                  <c:v>#N/A</c:v>
                </c:pt>
                <c:pt idx="282">
                  <c:v>#N/A</c:v>
                </c:pt>
                <c:pt idx="283">
                  <c:v>950</c:v>
                </c:pt>
                <c:pt idx="284">
                  <c:v>950</c:v>
                </c:pt>
                <c:pt idx="285">
                  <c:v>1050</c:v>
                </c:pt>
                <c:pt idx="286">
                  <c:v>1050</c:v>
                </c:pt>
                <c:pt idx="287">
                  <c:v>1100</c:v>
                </c:pt>
                <c:pt idx="288">
                  <c:v>#N/A</c:v>
                </c:pt>
                <c:pt idx="289">
                  <c:v>#N/A</c:v>
                </c:pt>
                <c:pt idx="290">
                  <c:v>1050</c:v>
                </c:pt>
                <c:pt idx="291">
                  <c:v>1050</c:v>
                </c:pt>
                <c:pt idx="292">
                  <c:v>1050</c:v>
                </c:pt>
                <c:pt idx="293">
                  <c:v>1050</c:v>
                </c:pt>
                <c:pt idx="294">
                  <c:v>1050</c:v>
                </c:pt>
                <c:pt idx="295">
                  <c:v>#N/A</c:v>
                </c:pt>
                <c:pt idx="296">
                  <c:v>#N/A</c:v>
                </c:pt>
                <c:pt idx="297">
                  <c:v>1050</c:v>
                </c:pt>
                <c:pt idx="298">
                  <c:v>1050</c:v>
                </c:pt>
                <c:pt idx="299">
                  <c:v>1050</c:v>
                </c:pt>
                <c:pt idx="300">
                  <c:v>1200</c:v>
                </c:pt>
                <c:pt idx="301">
                  <c:v>1200</c:v>
                </c:pt>
                <c:pt idx="302">
                  <c:v>#N/A</c:v>
                </c:pt>
                <c:pt idx="303">
                  <c:v>#N/A</c:v>
                </c:pt>
                <c:pt idx="304">
                  <c:v>1250</c:v>
                </c:pt>
                <c:pt idx="305">
                  <c:v>1150</c:v>
                </c:pt>
                <c:pt idx="306">
                  <c:v>1150</c:v>
                </c:pt>
                <c:pt idx="307">
                  <c:v>1150</c:v>
                </c:pt>
                <c:pt idx="308">
                  <c:v>1200</c:v>
                </c:pt>
                <c:pt idx="309">
                  <c:v>#N/A</c:v>
                </c:pt>
                <c:pt idx="310">
                  <c:v>#N/A</c:v>
                </c:pt>
                <c:pt idx="311">
                  <c:v>1200</c:v>
                </c:pt>
                <c:pt idx="312">
                  <c:v>1200</c:v>
                </c:pt>
                <c:pt idx="313">
                  <c:v>1200</c:v>
                </c:pt>
                <c:pt idx="314">
                  <c:v>1200</c:v>
                </c:pt>
                <c:pt idx="315">
                  <c:v>1200</c:v>
                </c:pt>
                <c:pt idx="316">
                  <c:v>#N/A</c:v>
                </c:pt>
                <c:pt idx="317">
                  <c:v>#N/A</c:v>
                </c:pt>
                <c:pt idx="318">
                  <c:v>1300</c:v>
                </c:pt>
                <c:pt idx="319">
                  <c:v>1400</c:v>
                </c:pt>
                <c:pt idx="320">
                  <c:v>1500</c:v>
                </c:pt>
                <c:pt idx="321">
                  <c:v>1300</c:v>
                </c:pt>
                <c:pt idx="322">
                  <c:v>1150</c:v>
                </c:pt>
                <c:pt idx="323">
                  <c:v>#N/A</c:v>
                </c:pt>
                <c:pt idx="324">
                  <c:v>#N/A</c:v>
                </c:pt>
                <c:pt idx="325">
                  <c:v>1200</c:v>
                </c:pt>
                <c:pt idx="326">
                  <c:v>1200</c:v>
                </c:pt>
                <c:pt idx="327">
                  <c:v>1200</c:v>
                </c:pt>
                <c:pt idx="328">
                  <c:v>1200</c:v>
                </c:pt>
                <c:pt idx="329">
                  <c:v>1150</c:v>
                </c:pt>
                <c:pt idx="330">
                  <c:v>#N/A</c:v>
                </c:pt>
                <c:pt idx="331">
                  <c:v>#N/A</c:v>
                </c:pt>
                <c:pt idx="332">
                  <c:v>1150</c:v>
                </c:pt>
                <c:pt idx="333">
                  <c:v>1050</c:v>
                </c:pt>
                <c:pt idx="334">
                  <c:v>900</c:v>
                </c:pt>
                <c:pt idx="335">
                  <c:v>750</c:v>
                </c:pt>
                <c:pt idx="336">
                  <c:v>750</c:v>
                </c:pt>
                <c:pt idx="337">
                  <c:v>#N/A</c:v>
                </c:pt>
                <c:pt idx="338">
                  <c:v>#N/A</c:v>
                </c:pt>
                <c:pt idx="339">
                  <c:v>750</c:v>
                </c:pt>
                <c:pt idx="340">
                  <c:v>550</c:v>
                </c:pt>
                <c:pt idx="341">
                  <c:v>450</c:v>
                </c:pt>
                <c:pt idx="342">
                  <c:v>450</c:v>
                </c:pt>
                <c:pt idx="343">
                  <c:v>450</c:v>
                </c:pt>
                <c:pt idx="344">
                  <c:v>#N/A</c:v>
                </c:pt>
                <c:pt idx="345">
                  <c:v>#N/A</c:v>
                </c:pt>
                <c:pt idx="346">
                  <c:v>450</c:v>
                </c:pt>
                <c:pt idx="347">
                  <c:v>400</c:v>
                </c:pt>
                <c:pt idx="348">
                  <c:v>400</c:v>
                </c:pt>
                <c:pt idx="349">
                  <c:v>400</c:v>
                </c:pt>
                <c:pt idx="350">
                  <c:v>400</c:v>
                </c:pt>
                <c:pt idx="351">
                  <c:v>#N/A</c:v>
                </c:pt>
                <c:pt idx="352">
                  <c:v>#N/A</c:v>
                </c:pt>
                <c:pt idx="353">
                  <c:v>450</c:v>
                </c:pt>
                <c:pt idx="354">
                  <c:v>450</c:v>
                </c:pt>
                <c:pt idx="355">
                  <c:v>350</c:v>
                </c:pt>
                <c:pt idx="356">
                  <c:v>250</c:v>
                </c:pt>
                <c:pt idx="357">
                  <c:v>250</c:v>
                </c:pt>
                <c:pt idx="358">
                  <c:v>#N/A</c:v>
                </c:pt>
                <c:pt idx="359">
                  <c:v>#N/A</c:v>
                </c:pt>
                <c:pt idx="360">
                  <c:v>250</c:v>
                </c:pt>
                <c:pt idx="361">
                  <c:v>150</c:v>
                </c:pt>
                <c:pt idx="362">
                  <c:v>150</c:v>
                </c:pt>
                <c:pt idx="363">
                  <c:v>250</c:v>
                </c:pt>
                <c:pt idx="364">
                  <c:v>200</c:v>
                </c:pt>
                <c:pt idx="365">
                  <c:v>#N/A</c:v>
                </c:pt>
              </c:numCache>
            </c:numRef>
          </c:val>
          <c:smooth val="0"/>
          <c:extLst>
            <c:ext xmlns:c16="http://schemas.microsoft.com/office/drawing/2014/chart" uri="{C3380CC4-5D6E-409C-BE32-E72D297353CC}">
              <c16:uniqueId val="{00000002-7C2D-46B1-A1D7-5AB6E513FE3E}"/>
            </c:ext>
          </c:extLst>
        </c:ser>
        <c:ser>
          <c:idx val="3"/>
          <c:order val="3"/>
          <c:tx>
            <c:strRef>
              <c:f>现货价差!$BA$4</c:f>
              <c:strCache>
                <c:ptCount val="1"/>
                <c:pt idx="0">
                  <c:v>2023</c:v>
                </c:pt>
              </c:strCache>
            </c:strRef>
          </c:tx>
          <c:spPr>
            <a:ln w="19050" cap="rnd">
              <a:solidFill>
                <a:schemeClr val="accent4"/>
              </a:solidFill>
              <a:round/>
            </a:ln>
            <a:effectLst/>
          </c:spPr>
          <c:marker>
            <c:symbol val="none"/>
          </c:marker>
          <c:cat>
            <c:strRef>
              <c:f>现货价差!$AW$5:$AW$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BA$5:$BA$370</c:f>
              <c:numCache>
                <c:formatCode>General</c:formatCode>
                <c:ptCount val="366"/>
                <c:pt idx="0">
                  <c:v>#N/A</c:v>
                </c:pt>
                <c:pt idx="1">
                  <c:v>#N/A</c:v>
                </c:pt>
                <c:pt idx="2">
                  <c:v>200</c:v>
                </c:pt>
                <c:pt idx="3">
                  <c:v>300</c:v>
                </c:pt>
                <c:pt idx="4">
                  <c:v>350</c:v>
                </c:pt>
                <c:pt idx="5">
                  <c:v>350</c:v>
                </c:pt>
                <c:pt idx="6">
                  <c:v>#N/A</c:v>
                </c:pt>
                <c:pt idx="7">
                  <c:v>#N/A</c:v>
                </c:pt>
                <c:pt idx="8">
                  <c:v>300</c:v>
                </c:pt>
                <c:pt idx="9">
                  <c:v>300</c:v>
                </c:pt>
                <c:pt idx="10">
                  <c:v>400</c:v>
                </c:pt>
                <c:pt idx="11">
                  <c:v>400</c:v>
                </c:pt>
                <c:pt idx="12">
                  <c:v>350</c:v>
                </c:pt>
                <c:pt idx="13">
                  <c:v>#N/A</c:v>
                </c:pt>
                <c:pt idx="14">
                  <c:v>#N/A</c:v>
                </c:pt>
                <c:pt idx="15">
                  <c:v>350</c:v>
                </c:pt>
                <c:pt idx="16">
                  <c:v>350</c:v>
                </c:pt>
                <c:pt idx="17">
                  <c:v>350</c:v>
                </c:pt>
                <c:pt idx="18">
                  <c:v>350</c:v>
                </c:pt>
                <c:pt idx="19">
                  <c:v>350</c:v>
                </c:pt>
                <c:pt idx="20">
                  <c:v>#N/A</c:v>
                </c:pt>
                <c:pt idx="21">
                  <c:v>#N/A</c:v>
                </c:pt>
                <c:pt idx="22">
                  <c:v>#N/A</c:v>
                </c:pt>
                <c:pt idx="23">
                  <c:v>#N/A</c:v>
                </c:pt>
                <c:pt idx="24">
                  <c:v>#N/A</c:v>
                </c:pt>
                <c:pt idx="25">
                  <c:v>#N/A</c:v>
                </c:pt>
                <c:pt idx="26">
                  <c:v>#N/A</c:v>
                </c:pt>
                <c:pt idx="27">
                  <c:v>#N/A</c:v>
                </c:pt>
                <c:pt idx="28">
                  <c:v>#N/A</c:v>
                </c:pt>
                <c:pt idx="29">
                  <c:v>250</c:v>
                </c:pt>
                <c:pt idx="30">
                  <c:v>200</c:v>
                </c:pt>
                <c:pt idx="31">
                  <c:v>150</c:v>
                </c:pt>
                <c:pt idx="32">
                  <c:v>50</c:v>
                </c:pt>
                <c:pt idx="33">
                  <c:v>50</c:v>
                </c:pt>
                <c:pt idx="34">
                  <c:v>#N/A</c:v>
                </c:pt>
                <c:pt idx="35">
                  <c:v>#N/A</c:v>
                </c:pt>
                <c:pt idx="36">
                  <c:v>50</c:v>
                </c:pt>
                <c:pt idx="37">
                  <c:v>150</c:v>
                </c:pt>
                <c:pt idx="38">
                  <c:v>150</c:v>
                </c:pt>
                <c:pt idx="39">
                  <c:v>250</c:v>
                </c:pt>
                <c:pt idx="40">
                  <c:v>300</c:v>
                </c:pt>
                <c:pt idx="41">
                  <c:v>#N/A</c:v>
                </c:pt>
                <c:pt idx="42">
                  <c:v>#N/A</c:v>
                </c:pt>
                <c:pt idx="43">
                  <c:v>450</c:v>
                </c:pt>
                <c:pt idx="44">
                  <c:v>400</c:v>
                </c:pt>
                <c:pt idx="45">
                  <c:v>400</c:v>
                </c:pt>
                <c:pt idx="46">
                  <c:v>400</c:v>
                </c:pt>
                <c:pt idx="47">
                  <c:v>400</c:v>
                </c:pt>
                <c:pt idx="48">
                  <c:v>#N/A</c:v>
                </c:pt>
                <c:pt idx="49">
                  <c:v>#N/A</c:v>
                </c:pt>
                <c:pt idx="50">
                  <c:v>400</c:v>
                </c:pt>
                <c:pt idx="51">
                  <c:v>400</c:v>
                </c:pt>
                <c:pt idx="52">
                  <c:v>400</c:v>
                </c:pt>
                <c:pt idx="53">
                  <c:v>400</c:v>
                </c:pt>
                <c:pt idx="54">
                  <c:v>400</c:v>
                </c:pt>
                <c:pt idx="55">
                  <c:v>#N/A</c:v>
                </c:pt>
                <c:pt idx="56">
                  <c:v>#N/A</c:v>
                </c:pt>
                <c:pt idx="57">
                  <c:v>400</c:v>
                </c:pt>
                <c:pt idx="58">
                  <c:v>350</c:v>
                </c:pt>
                <c:pt idx="60">
                  <c:v>250</c:v>
                </c:pt>
                <c:pt idx="61">
                  <c:v>250</c:v>
                </c:pt>
                <c:pt idx="62">
                  <c:v>250</c:v>
                </c:pt>
                <c:pt idx="63">
                  <c:v>#N/A</c:v>
                </c:pt>
                <c:pt idx="64">
                  <c:v>#N/A</c:v>
                </c:pt>
                <c:pt idx="65">
                  <c:v>200</c:v>
                </c:pt>
                <c:pt idx="66">
                  <c:v>200</c:v>
                </c:pt>
                <c:pt idx="67">
                  <c:v>200</c:v>
                </c:pt>
                <c:pt idx="68">
                  <c:v>200</c:v>
                </c:pt>
                <c:pt idx="69">
                  <c:v>250</c:v>
                </c:pt>
                <c:pt idx="70">
                  <c:v>#N/A</c:v>
                </c:pt>
                <c:pt idx="71">
                  <c:v>#N/A</c:v>
                </c:pt>
                <c:pt idx="72">
                  <c:v>350</c:v>
                </c:pt>
                <c:pt idx="73">
                  <c:v>450</c:v>
                </c:pt>
                <c:pt idx="74">
                  <c:v>450</c:v>
                </c:pt>
                <c:pt idx="75">
                  <c:v>500</c:v>
                </c:pt>
                <c:pt idx="76">
                  <c:v>500</c:v>
                </c:pt>
                <c:pt idx="77">
                  <c:v>#N/A</c:v>
                </c:pt>
                <c:pt idx="78">
                  <c:v>#N/A</c:v>
                </c:pt>
                <c:pt idx="79">
                  <c:v>500</c:v>
                </c:pt>
                <c:pt idx="80">
                  <c:v>500</c:v>
                </c:pt>
                <c:pt idx="81">
                  <c:v>450</c:v>
                </c:pt>
                <c:pt idx="82">
                  <c:v>400</c:v>
                </c:pt>
                <c:pt idx="83">
                  <c:v>350</c:v>
                </c:pt>
                <c:pt idx="84">
                  <c:v>#N/A</c:v>
                </c:pt>
                <c:pt idx="85">
                  <c:v>#N/A</c:v>
                </c:pt>
                <c:pt idx="86">
                  <c:v>350</c:v>
                </c:pt>
                <c:pt idx="87">
                  <c:v>350</c:v>
                </c:pt>
                <c:pt idx="88">
                  <c:v>350</c:v>
                </c:pt>
                <c:pt idx="89">
                  <c:v>350</c:v>
                </c:pt>
                <c:pt idx="90">
                  <c:v>350</c:v>
                </c:pt>
                <c:pt idx="91">
                  <c:v>#N/A</c:v>
                </c:pt>
                <c:pt idx="92">
                  <c:v>#N/A</c:v>
                </c:pt>
                <c:pt idx="93">
                  <c:v>350</c:v>
                </c:pt>
                <c:pt idx="94">
                  <c:v>350</c:v>
                </c:pt>
                <c:pt idx="95">
                  <c:v>#N/A</c:v>
                </c:pt>
                <c:pt idx="96">
                  <c:v>300</c:v>
                </c:pt>
                <c:pt idx="97">
                  <c:v>200</c:v>
                </c:pt>
                <c:pt idx="98">
                  <c:v>#N/A</c:v>
                </c:pt>
                <c:pt idx="99">
                  <c:v>#N/A</c:v>
                </c:pt>
                <c:pt idx="100">
                  <c:v>150</c:v>
                </c:pt>
                <c:pt idx="101">
                  <c:v>150</c:v>
                </c:pt>
                <c:pt idx="102">
                  <c:v>150</c:v>
                </c:pt>
                <c:pt idx="103">
                  <c:v>150</c:v>
                </c:pt>
                <c:pt idx="104">
                  <c:v>150</c:v>
                </c:pt>
                <c:pt idx="105">
                  <c:v>#N/A</c:v>
                </c:pt>
                <c:pt idx="106">
                  <c:v>#N/A</c:v>
                </c:pt>
                <c:pt idx="107">
                  <c:v>150</c:v>
                </c:pt>
                <c:pt idx="108">
                  <c:v>150</c:v>
                </c:pt>
                <c:pt idx="109">
                  <c:v>150</c:v>
                </c:pt>
                <c:pt idx="110">
                  <c:v>150</c:v>
                </c:pt>
                <c:pt idx="111">
                  <c:v>150</c:v>
                </c:pt>
                <c:pt idx="112">
                  <c:v>#N/A</c:v>
                </c:pt>
                <c:pt idx="113">
                  <c:v>#N/A</c:v>
                </c:pt>
                <c:pt idx="114">
                  <c:v>250</c:v>
                </c:pt>
                <c:pt idx="115">
                  <c:v>250</c:v>
                </c:pt>
                <c:pt idx="116">
                  <c:v>250</c:v>
                </c:pt>
                <c:pt idx="117">
                  <c:v>300</c:v>
                </c:pt>
                <c:pt idx="118">
                  <c:v>300</c:v>
                </c:pt>
                <c:pt idx="119">
                  <c:v>#N/A</c:v>
                </c:pt>
                <c:pt idx="120">
                  <c:v>#N/A</c:v>
                </c:pt>
                <c:pt idx="121">
                  <c:v>#N/A</c:v>
                </c:pt>
                <c:pt idx="122">
                  <c:v>#N/A</c:v>
                </c:pt>
                <c:pt idx="123">
                  <c:v>#N/A</c:v>
                </c:pt>
                <c:pt idx="124">
                  <c:v>300</c:v>
                </c:pt>
                <c:pt idx="125">
                  <c:v>250</c:v>
                </c:pt>
                <c:pt idx="126">
                  <c:v>#N/A</c:v>
                </c:pt>
                <c:pt idx="127">
                  <c:v>#N/A</c:v>
                </c:pt>
                <c:pt idx="128">
                  <c:v>250</c:v>
                </c:pt>
                <c:pt idx="129">
                  <c:v>250</c:v>
                </c:pt>
                <c:pt idx="130">
                  <c:v>250</c:v>
                </c:pt>
                <c:pt idx="131">
                  <c:v>200</c:v>
                </c:pt>
                <c:pt idx="132">
                  <c:v>200</c:v>
                </c:pt>
                <c:pt idx="133">
                  <c:v>#N/A</c:v>
                </c:pt>
                <c:pt idx="134">
                  <c:v>#N/A</c:v>
                </c:pt>
                <c:pt idx="135">
                  <c:v>200</c:v>
                </c:pt>
                <c:pt idx="136">
                  <c:v>200</c:v>
                </c:pt>
                <c:pt idx="137">
                  <c:v>150</c:v>
                </c:pt>
                <c:pt idx="138">
                  <c:v>150</c:v>
                </c:pt>
                <c:pt idx="139">
                  <c:v>150</c:v>
                </c:pt>
                <c:pt idx="140">
                  <c:v>#N/A</c:v>
                </c:pt>
                <c:pt idx="141">
                  <c:v>#N/A</c:v>
                </c:pt>
                <c:pt idx="142">
                  <c:v>150</c:v>
                </c:pt>
                <c:pt idx="143">
                  <c:v>200</c:v>
                </c:pt>
                <c:pt idx="144">
                  <c:v>250</c:v>
                </c:pt>
                <c:pt idx="145">
                  <c:v>200</c:v>
                </c:pt>
                <c:pt idx="146">
                  <c:v>200</c:v>
                </c:pt>
                <c:pt idx="147">
                  <c:v>#N/A</c:v>
                </c:pt>
                <c:pt idx="148">
                  <c:v>#N/A</c:v>
                </c:pt>
                <c:pt idx="149">
                  <c:v>200</c:v>
                </c:pt>
                <c:pt idx="150">
                  <c:v>200</c:v>
                </c:pt>
                <c:pt idx="151">
                  <c:v>250</c:v>
                </c:pt>
                <c:pt idx="152">
                  <c:v>250</c:v>
                </c:pt>
                <c:pt idx="153">
                  <c:v>250</c:v>
                </c:pt>
                <c:pt idx="154">
                  <c:v>#N/A</c:v>
                </c:pt>
                <c:pt idx="155">
                  <c:v>#N/A</c:v>
                </c:pt>
                <c:pt idx="156">
                  <c:v>250</c:v>
                </c:pt>
                <c:pt idx="157">
                  <c:v>250</c:v>
                </c:pt>
                <c:pt idx="158">
                  <c:v>250</c:v>
                </c:pt>
                <c:pt idx="159">
                  <c:v>250</c:v>
                </c:pt>
                <c:pt idx="160">
                  <c:v>250</c:v>
                </c:pt>
                <c:pt idx="161">
                  <c:v>#N/A</c:v>
                </c:pt>
                <c:pt idx="162">
                  <c:v>#N/A</c:v>
                </c:pt>
                <c:pt idx="163">
                  <c:v>250</c:v>
                </c:pt>
                <c:pt idx="164">
                  <c:v>300</c:v>
                </c:pt>
                <c:pt idx="165">
                  <c:v>200</c:v>
                </c:pt>
                <c:pt idx="166">
                  <c:v>150</c:v>
                </c:pt>
                <c:pt idx="167">
                  <c:v>150</c:v>
                </c:pt>
                <c:pt idx="168">
                  <c:v>#N/A</c:v>
                </c:pt>
                <c:pt idx="169">
                  <c:v>#N/A</c:v>
                </c:pt>
                <c:pt idx="170">
                  <c:v>150</c:v>
                </c:pt>
                <c:pt idx="171">
                  <c:v>150</c:v>
                </c:pt>
                <c:pt idx="172">
                  <c:v>300</c:v>
                </c:pt>
                <c:pt idx="173">
                  <c:v>#N/A</c:v>
                </c:pt>
                <c:pt idx="174">
                  <c:v>#N/A</c:v>
                </c:pt>
                <c:pt idx="175">
                  <c:v>#N/A</c:v>
                </c:pt>
                <c:pt idx="176">
                  <c:v>#N/A</c:v>
                </c:pt>
                <c:pt idx="177">
                  <c:v>150</c:v>
                </c:pt>
                <c:pt idx="178">
                  <c:v>150</c:v>
                </c:pt>
                <c:pt idx="179">
                  <c:v>150</c:v>
                </c:pt>
                <c:pt idx="180">
                  <c:v>200</c:v>
                </c:pt>
                <c:pt idx="181">
                  <c:v>200</c:v>
                </c:pt>
                <c:pt idx="182">
                  <c:v>#N/A</c:v>
                </c:pt>
                <c:pt idx="183">
                  <c:v>#N/A</c:v>
                </c:pt>
                <c:pt idx="184">
                  <c:v>200</c:v>
                </c:pt>
                <c:pt idx="185">
                  <c:v>200</c:v>
                </c:pt>
                <c:pt idx="186">
                  <c:v>250</c:v>
                </c:pt>
                <c:pt idx="187">
                  <c:v>250</c:v>
                </c:pt>
                <c:pt idx="188">
                  <c:v>250</c:v>
                </c:pt>
                <c:pt idx="189">
                  <c:v>#N/A</c:v>
                </c:pt>
                <c:pt idx="190">
                  <c:v>#N/A</c:v>
                </c:pt>
                <c:pt idx="191">
                  <c:v>250</c:v>
                </c:pt>
                <c:pt idx="192">
                  <c:v>250</c:v>
                </c:pt>
                <c:pt idx="193">
                  <c:v>250</c:v>
                </c:pt>
                <c:pt idx="194">
                  <c:v>#N/A</c:v>
                </c:pt>
                <c:pt idx="195">
                  <c:v>-100</c:v>
                </c:pt>
                <c:pt idx="196">
                  <c:v>#N/A</c:v>
                </c:pt>
                <c:pt idx="197">
                  <c:v>#N/A</c:v>
                </c:pt>
                <c:pt idx="198">
                  <c:v>-100</c:v>
                </c:pt>
                <c:pt idx="199">
                  <c:v>-50</c:v>
                </c:pt>
                <c:pt idx="200">
                  <c:v>-50</c:v>
                </c:pt>
                <c:pt idx="201">
                  <c:v>-50</c:v>
                </c:pt>
                <c:pt idx="202">
                  <c:v>-50</c:v>
                </c:pt>
                <c:pt idx="203">
                  <c:v>#N/A</c:v>
                </c:pt>
                <c:pt idx="204">
                  <c:v>#N/A</c:v>
                </c:pt>
                <c:pt idx="205">
                  <c:v>-50</c:v>
                </c:pt>
                <c:pt idx="206">
                  <c:v>-50</c:v>
                </c:pt>
                <c:pt idx="207">
                  <c:v>-50</c:v>
                </c:pt>
                <c:pt idx="208">
                  <c:v>-50</c:v>
                </c:pt>
                <c:pt idx="209">
                  <c:v>-50</c:v>
                </c:pt>
                <c:pt idx="210">
                  <c:v>#N/A</c:v>
                </c:pt>
                <c:pt idx="211">
                  <c:v>#N/A</c:v>
                </c:pt>
                <c:pt idx="212">
                  <c:v>-50</c:v>
                </c:pt>
                <c:pt idx="213">
                  <c:v>-50</c:v>
                </c:pt>
                <c:pt idx="214">
                  <c:v>-50</c:v>
                </c:pt>
                <c:pt idx="215">
                  <c:v>-50</c:v>
                </c:pt>
                <c:pt idx="216">
                  <c:v>-50</c:v>
                </c:pt>
                <c:pt idx="217">
                  <c:v>#N/A</c:v>
                </c:pt>
                <c:pt idx="218">
                  <c:v>#N/A</c:v>
                </c:pt>
                <c:pt idx="219">
                  <c:v>-50</c:v>
                </c:pt>
                <c:pt idx="220">
                  <c:v>-50</c:v>
                </c:pt>
                <c:pt idx="221">
                  <c:v>#N/A</c:v>
                </c:pt>
                <c:pt idx="222">
                  <c:v>300</c:v>
                </c:pt>
                <c:pt idx="223">
                  <c:v>400</c:v>
                </c:pt>
                <c:pt idx="224">
                  <c:v>#N/A</c:v>
                </c:pt>
                <c:pt idx="225">
                  <c:v>#N/A</c:v>
                </c:pt>
                <c:pt idx="226">
                  <c:v>500</c:v>
                </c:pt>
                <c:pt idx="227">
                  <c:v>400</c:v>
                </c:pt>
                <c:pt idx="228">
                  <c:v>400</c:v>
                </c:pt>
                <c:pt idx="229">
                  <c:v>300</c:v>
                </c:pt>
                <c:pt idx="230">
                  <c:v>300</c:v>
                </c:pt>
                <c:pt idx="231">
                  <c:v>#N/A</c:v>
                </c:pt>
                <c:pt idx="232">
                  <c:v>#N/A</c:v>
                </c:pt>
                <c:pt idx="233">
                  <c:v>350</c:v>
                </c:pt>
                <c:pt idx="234">
                  <c:v>300</c:v>
                </c:pt>
                <c:pt idx="235">
                  <c:v>350</c:v>
                </c:pt>
                <c:pt idx="236">
                  <c:v>400</c:v>
                </c:pt>
                <c:pt idx="237">
                  <c:v>450</c:v>
                </c:pt>
                <c:pt idx="238">
                  <c:v>#N/A</c:v>
                </c:pt>
                <c:pt idx="239">
                  <c:v>#N/A</c:v>
                </c:pt>
                <c:pt idx="240">
                  <c:v>500</c:v>
                </c:pt>
                <c:pt idx="241">
                  <c:v>500</c:v>
                </c:pt>
                <c:pt idx="242">
                  <c:v>500</c:v>
                </c:pt>
                <c:pt idx="243">
                  <c:v>500</c:v>
                </c:pt>
                <c:pt idx="244">
                  <c:v>500</c:v>
                </c:pt>
                <c:pt idx="245">
                  <c:v>#N/A</c:v>
                </c:pt>
                <c:pt idx="246">
                  <c:v>#N/A</c:v>
                </c:pt>
                <c:pt idx="247">
                  <c:v>500</c:v>
                </c:pt>
                <c:pt idx="248">
                  <c:v>500</c:v>
                </c:pt>
                <c:pt idx="249">
                  <c:v>500</c:v>
                </c:pt>
                <c:pt idx="250">
                  <c:v>550</c:v>
                </c:pt>
                <c:pt idx="251">
                  <c:v>550</c:v>
                </c:pt>
                <c:pt idx="252">
                  <c:v>#N/A</c:v>
                </c:pt>
                <c:pt idx="253">
                  <c:v>#N/A</c:v>
                </c:pt>
                <c:pt idx="254">
                  <c:v>550</c:v>
                </c:pt>
                <c:pt idx="255">
                  <c:v>550</c:v>
                </c:pt>
                <c:pt idx="256">
                  <c:v>600</c:v>
                </c:pt>
                <c:pt idx="257">
                  <c:v>450</c:v>
                </c:pt>
                <c:pt idx="258">
                  <c:v>450</c:v>
                </c:pt>
                <c:pt idx="259">
                  <c:v>#N/A</c:v>
                </c:pt>
                <c:pt idx="260">
                  <c:v>#N/A</c:v>
                </c:pt>
                <c:pt idx="261">
                  <c:v>500</c:v>
                </c:pt>
                <c:pt idx="262">
                  <c:v>550</c:v>
                </c:pt>
                <c:pt idx="263">
                  <c:v>550</c:v>
                </c:pt>
                <c:pt idx="264">
                  <c:v>650</c:v>
                </c:pt>
                <c:pt idx="265">
                  <c:v>550</c:v>
                </c:pt>
                <c:pt idx="266">
                  <c:v>#N/A</c:v>
                </c:pt>
                <c:pt idx="267">
                  <c:v>#N/A</c:v>
                </c:pt>
                <c:pt idx="268">
                  <c:v>550</c:v>
                </c:pt>
                <c:pt idx="269">
                  <c:v>550</c:v>
                </c:pt>
                <c:pt idx="270">
                  <c:v>550</c:v>
                </c:pt>
                <c:pt idx="271">
                  <c:v>550</c:v>
                </c:pt>
                <c:pt idx="272">
                  <c:v>#N/A</c:v>
                </c:pt>
                <c:pt idx="273">
                  <c:v>#N/A</c:v>
                </c:pt>
                <c:pt idx="274">
                  <c:v>#N/A</c:v>
                </c:pt>
                <c:pt idx="275">
                  <c:v>#N/A</c:v>
                </c:pt>
                <c:pt idx="276">
                  <c:v>#N/A</c:v>
                </c:pt>
                <c:pt idx="277">
                  <c:v>#N/A</c:v>
                </c:pt>
                <c:pt idx="278">
                  <c:v>#N/A</c:v>
                </c:pt>
                <c:pt idx="279">
                  <c:v>#N/A</c:v>
                </c:pt>
                <c:pt idx="280">
                  <c:v>#N/A</c:v>
                </c:pt>
                <c:pt idx="281">
                  <c:v>#N/A</c:v>
                </c:pt>
                <c:pt idx="282">
                  <c:v>550</c:v>
                </c:pt>
                <c:pt idx="283">
                  <c:v>550</c:v>
                </c:pt>
                <c:pt idx="284">
                  <c:v>550</c:v>
                </c:pt>
                <c:pt idx="285">
                  <c:v>550</c:v>
                </c:pt>
                <c:pt idx="286">
                  <c:v>550</c:v>
                </c:pt>
                <c:pt idx="287">
                  <c:v>#N/A</c:v>
                </c:pt>
                <c:pt idx="288">
                  <c:v>#N/A</c:v>
                </c:pt>
                <c:pt idx="289">
                  <c:v>600</c:v>
                </c:pt>
                <c:pt idx="290">
                  <c:v>600</c:v>
                </c:pt>
                <c:pt idx="291">
                  <c:v>650</c:v>
                </c:pt>
                <c:pt idx="292">
                  <c:v>600</c:v>
                </c:pt>
                <c:pt idx="293">
                  <c:v>600</c:v>
                </c:pt>
                <c:pt idx="294">
                  <c:v>#N/A</c:v>
                </c:pt>
                <c:pt idx="295">
                  <c:v>#N/A</c:v>
                </c:pt>
                <c:pt idx="296">
                  <c:v>600</c:v>
                </c:pt>
                <c:pt idx="297">
                  <c:v>700</c:v>
                </c:pt>
                <c:pt idx="298">
                  <c:v>700</c:v>
                </c:pt>
                <c:pt idx="299">
                  <c:v>700</c:v>
                </c:pt>
                <c:pt idx="300">
                  <c:v>700</c:v>
                </c:pt>
                <c:pt idx="301">
                  <c:v>#N/A</c:v>
                </c:pt>
                <c:pt idx="302">
                  <c:v>#N/A</c:v>
                </c:pt>
                <c:pt idx="303">
                  <c:v>700</c:v>
                </c:pt>
                <c:pt idx="304">
                  <c:v>700</c:v>
                </c:pt>
                <c:pt idx="305">
                  <c:v>700</c:v>
                </c:pt>
                <c:pt idx="306">
                  <c:v>700</c:v>
                </c:pt>
                <c:pt idx="307">
                  <c:v>650</c:v>
                </c:pt>
                <c:pt idx="308">
                  <c:v>#N/A</c:v>
                </c:pt>
                <c:pt idx="309">
                  <c:v>#N/A</c:v>
                </c:pt>
                <c:pt idx="310">
                  <c:v>650</c:v>
                </c:pt>
                <c:pt idx="311">
                  <c:v>700</c:v>
                </c:pt>
                <c:pt idx="312">
                  <c:v>650</c:v>
                </c:pt>
                <c:pt idx="313">
                  <c:v>600</c:v>
                </c:pt>
                <c:pt idx="314">
                  <c:v>550</c:v>
                </c:pt>
                <c:pt idx="315">
                  <c:v>#N/A</c:v>
                </c:pt>
                <c:pt idx="316">
                  <c:v>#N/A</c:v>
                </c:pt>
                <c:pt idx="317">
                  <c:v>500</c:v>
                </c:pt>
                <c:pt idx="318">
                  <c:v>500</c:v>
                </c:pt>
                <c:pt idx="319">
                  <c:v>500</c:v>
                </c:pt>
                <c:pt idx="320">
                  <c:v>450</c:v>
                </c:pt>
                <c:pt idx="321">
                  <c:v>450</c:v>
                </c:pt>
                <c:pt idx="322">
                  <c:v>#N/A</c:v>
                </c:pt>
                <c:pt idx="323">
                  <c:v>#N/A</c:v>
                </c:pt>
                <c:pt idx="324">
                  <c:v>450</c:v>
                </c:pt>
                <c:pt idx="325">
                  <c:v>450</c:v>
                </c:pt>
                <c:pt idx="326">
                  <c:v>450</c:v>
                </c:pt>
                <c:pt idx="327">
                  <c:v>450</c:v>
                </c:pt>
                <c:pt idx="328">
                  <c:v>450</c:v>
                </c:pt>
                <c:pt idx="329">
                  <c:v>#N/A</c:v>
                </c:pt>
                <c:pt idx="330">
                  <c:v>#N/A</c:v>
                </c:pt>
                <c:pt idx="331">
                  <c:v>450</c:v>
                </c:pt>
                <c:pt idx="332">
                  <c:v>450</c:v>
                </c:pt>
                <c:pt idx="333">
                  <c:v>500</c:v>
                </c:pt>
                <c:pt idx="334">
                  <c:v>400</c:v>
                </c:pt>
                <c:pt idx="335">
                  <c:v>400</c:v>
                </c:pt>
                <c:pt idx="336">
                  <c:v>#N/A</c:v>
                </c:pt>
                <c:pt idx="337">
                  <c:v>#N/A</c:v>
                </c:pt>
                <c:pt idx="338">
                  <c:v>400</c:v>
                </c:pt>
                <c:pt idx="339">
                  <c:v>400</c:v>
                </c:pt>
                <c:pt idx="340">
                  <c:v>400</c:v>
                </c:pt>
                <c:pt idx="341">
                  <c:v>400</c:v>
                </c:pt>
                <c:pt idx="342">
                  <c:v>300</c:v>
                </c:pt>
                <c:pt idx="343">
                  <c:v>#N/A</c:v>
                </c:pt>
                <c:pt idx="344">
                  <c:v>#N/A</c:v>
                </c:pt>
                <c:pt idx="345">
                  <c:v>350</c:v>
                </c:pt>
                <c:pt idx="346">
                  <c:v>250</c:v>
                </c:pt>
                <c:pt idx="347">
                  <c:v>300</c:v>
                </c:pt>
                <c:pt idx="348">
                  <c:v>350</c:v>
                </c:pt>
                <c:pt idx="349">
                  <c:v>350</c:v>
                </c:pt>
                <c:pt idx="350">
                  <c:v>#N/A</c:v>
                </c:pt>
                <c:pt idx="351">
                  <c:v>#N/A</c:v>
                </c:pt>
                <c:pt idx="352">
                  <c:v>400</c:v>
                </c:pt>
                <c:pt idx="353">
                  <c:v>400</c:v>
                </c:pt>
                <c:pt idx="354">
                  <c:v>400</c:v>
                </c:pt>
                <c:pt idx="355">
                  <c:v>400</c:v>
                </c:pt>
                <c:pt idx="356">
                  <c:v>500</c:v>
                </c:pt>
                <c:pt idx="357">
                  <c:v>#N/A</c:v>
                </c:pt>
                <c:pt idx="358">
                  <c:v>#N/A</c:v>
                </c:pt>
                <c:pt idx="359">
                  <c:v>500</c:v>
                </c:pt>
                <c:pt idx="360">
                  <c:v>500</c:v>
                </c:pt>
                <c:pt idx="361">
                  <c:v>450</c:v>
                </c:pt>
                <c:pt idx="362">
                  <c:v>500</c:v>
                </c:pt>
                <c:pt idx="363">
                  <c:v>500</c:v>
                </c:pt>
                <c:pt idx="364">
                  <c:v>#N/A</c:v>
                </c:pt>
                <c:pt idx="365">
                  <c:v>#N/A</c:v>
                </c:pt>
              </c:numCache>
            </c:numRef>
          </c:val>
          <c:smooth val="0"/>
          <c:extLst>
            <c:ext xmlns:c16="http://schemas.microsoft.com/office/drawing/2014/chart" uri="{C3380CC4-5D6E-409C-BE32-E72D297353CC}">
              <c16:uniqueId val="{00000003-7C2D-46B1-A1D7-5AB6E513FE3E}"/>
            </c:ext>
          </c:extLst>
        </c:ser>
        <c:ser>
          <c:idx val="4"/>
          <c:order val="4"/>
          <c:tx>
            <c:strRef>
              <c:f>现货价差!$BB$4</c:f>
              <c:strCache>
                <c:ptCount val="1"/>
                <c:pt idx="0">
                  <c:v>2024</c:v>
                </c:pt>
              </c:strCache>
            </c:strRef>
          </c:tx>
          <c:spPr>
            <a:ln w="28575" cap="rnd">
              <a:solidFill>
                <a:schemeClr val="tx1"/>
              </a:solidFill>
              <a:round/>
            </a:ln>
            <a:effectLst/>
          </c:spPr>
          <c:marker>
            <c:symbol val="none"/>
          </c:marker>
          <c:cat>
            <c:strRef>
              <c:f>现货价差!$AW$5:$AW$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BB$5:$BB$370</c:f>
              <c:numCache>
                <c:formatCode>General</c:formatCode>
                <c:ptCount val="366"/>
                <c:pt idx="0">
                  <c:v>#N/A</c:v>
                </c:pt>
                <c:pt idx="1">
                  <c:v>500</c:v>
                </c:pt>
                <c:pt idx="2">
                  <c:v>500</c:v>
                </c:pt>
                <c:pt idx="3">
                  <c:v>500</c:v>
                </c:pt>
                <c:pt idx="4">
                  <c:v>500</c:v>
                </c:pt>
                <c:pt idx="5">
                  <c:v>#N/A</c:v>
                </c:pt>
                <c:pt idx="6">
                  <c:v>#N/A</c:v>
                </c:pt>
                <c:pt idx="7">
                  <c:v>500</c:v>
                </c:pt>
                <c:pt idx="8">
                  <c:v>450</c:v>
                </c:pt>
                <c:pt idx="9">
                  <c:v>400</c:v>
                </c:pt>
                <c:pt idx="10">
                  <c:v>300</c:v>
                </c:pt>
                <c:pt idx="11">
                  <c:v>300</c:v>
                </c:pt>
                <c:pt idx="12">
                  <c:v>#N/A</c:v>
                </c:pt>
                <c:pt idx="13">
                  <c:v>#N/A</c:v>
                </c:pt>
                <c:pt idx="14">
                  <c:v>200</c:v>
                </c:pt>
                <c:pt idx="15">
                  <c:v>150</c:v>
                </c:pt>
                <c:pt idx="16">
                  <c:v>200</c:v>
                </c:pt>
                <c:pt idx="17">
                  <c:v>200</c:v>
                </c:pt>
                <c:pt idx="18">
                  <c:v>200</c:v>
                </c:pt>
                <c:pt idx="19">
                  <c:v>#N/A</c:v>
                </c:pt>
                <c:pt idx="20">
                  <c:v>#N/A</c:v>
                </c:pt>
                <c:pt idx="21">
                  <c:v>200</c:v>
                </c:pt>
                <c:pt idx="22">
                  <c:v>200</c:v>
                </c:pt>
                <c:pt idx="23">
                  <c:v>200</c:v>
                </c:pt>
                <c:pt idx="24">
                  <c:v>200</c:v>
                </c:pt>
                <c:pt idx="25">
                  <c:v>200</c:v>
                </c:pt>
                <c:pt idx="26">
                  <c:v>#N/A</c:v>
                </c:pt>
                <c:pt idx="27">
                  <c:v>#N/A</c:v>
                </c:pt>
                <c:pt idx="28">
                  <c:v>150</c:v>
                </c:pt>
                <c:pt idx="29">
                  <c:v>150</c:v>
                </c:pt>
                <c:pt idx="30">
                  <c:v>150</c:v>
                </c:pt>
                <c:pt idx="31">
                  <c:v>150</c:v>
                </c:pt>
                <c:pt idx="32">
                  <c:v>150</c:v>
                </c:pt>
                <c:pt idx="33">
                  <c:v>#N/A</c:v>
                </c:pt>
                <c:pt idx="34">
                  <c:v>#N/A</c:v>
                </c:pt>
                <c:pt idx="35">
                  <c:v>150</c:v>
                </c:pt>
                <c:pt idx="36">
                  <c:v>150</c:v>
                </c:pt>
                <c:pt idx="37">
                  <c:v>150</c:v>
                </c:pt>
                <c:pt idx="38">
                  <c:v>150</c:v>
                </c:pt>
                <c:pt idx="39">
                  <c:v>#N/A</c:v>
                </c:pt>
                <c:pt idx="40">
                  <c:v>#N/A</c:v>
                </c:pt>
                <c:pt idx="41">
                  <c:v>#N/A</c:v>
                </c:pt>
                <c:pt idx="42">
                  <c:v>#N/A</c:v>
                </c:pt>
                <c:pt idx="43">
                  <c:v>#N/A</c:v>
                </c:pt>
                <c:pt idx="44">
                  <c:v>#N/A</c:v>
                </c:pt>
                <c:pt idx="45">
                  <c:v>#N/A</c:v>
                </c:pt>
                <c:pt idx="46">
                  <c:v>#N/A</c:v>
                </c:pt>
                <c:pt idx="47">
                  <c:v>#N/A</c:v>
                </c:pt>
                <c:pt idx="48">
                  <c:v>#N/A</c:v>
                </c:pt>
                <c:pt idx="49">
                  <c:v>150</c:v>
                </c:pt>
                <c:pt idx="50">
                  <c:v>150</c:v>
                </c:pt>
                <c:pt idx="51">
                  <c:v>250</c:v>
                </c:pt>
                <c:pt idx="52">
                  <c:v>300</c:v>
                </c:pt>
                <c:pt idx="53">
                  <c:v>300</c:v>
                </c:pt>
                <c:pt idx="54">
                  <c:v>#N/A</c:v>
                </c:pt>
                <c:pt idx="55">
                  <c:v>#N/A</c:v>
                </c:pt>
                <c:pt idx="56">
                  <c:v>300</c:v>
                </c:pt>
                <c:pt idx="57">
                  <c:v>300</c:v>
                </c:pt>
                <c:pt idx="58">
                  <c:v>300</c:v>
                </c:pt>
                <c:pt idx="59">
                  <c:v>250</c:v>
                </c:pt>
                <c:pt idx="60">
                  <c:v>250</c:v>
                </c:pt>
                <c:pt idx="61">
                  <c:v>#N/A</c:v>
                </c:pt>
                <c:pt idx="62">
                  <c:v>#N/A</c:v>
                </c:pt>
                <c:pt idx="63">
                  <c:v>250</c:v>
                </c:pt>
                <c:pt idx="64">
                  <c:v>250</c:v>
                </c:pt>
                <c:pt idx="65">
                  <c:v>250</c:v>
                </c:pt>
                <c:pt idx="66">
                  <c:v>300</c:v>
                </c:pt>
                <c:pt idx="67">
                  <c:v>300</c:v>
                </c:pt>
                <c:pt idx="68">
                  <c:v>#N/A</c:v>
                </c:pt>
                <c:pt idx="69">
                  <c:v>#N/A</c:v>
                </c:pt>
                <c:pt idx="70">
                  <c:v>300</c:v>
                </c:pt>
                <c:pt idx="71">
                  <c:v>300</c:v>
                </c:pt>
                <c:pt idx="72">
                  <c:v>300</c:v>
                </c:pt>
                <c:pt idx="73">
                  <c:v>300</c:v>
                </c:pt>
                <c:pt idx="74">
                  <c:v>300</c:v>
                </c:pt>
                <c:pt idx="75">
                  <c:v>#N/A</c:v>
                </c:pt>
                <c:pt idx="76">
                  <c:v>#N/A</c:v>
                </c:pt>
                <c:pt idx="77">
                  <c:v>250</c:v>
                </c:pt>
                <c:pt idx="78">
                  <c:v>200</c:v>
                </c:pt>
                <c:pt idx="79">
                  <c:v>200</c:v>
                </c:pt>
                <c:pt idx="80">
                  <c:v>150</c:v>
                </c:pt>
                <c:pt idx="81">
                  <c:v>150</c:v>
                </c:pt>
                <c:pt idx="82">
                  <c:v>#N/A</c:v>
                </c:pt>
                <c:pt idx="83">
                  <c:v>#N/A</c:v>
                </c:pt>
                <c:pt idx="84">
                  <c:v>150</c:v>
                </c:pt>
                <c:pt idx="85">
                  <c:v>100</c:v>
                </c:pt>
                <c:pt idx="86">
                  <c:v>100</c:v>
                </c:pt>
                <c:pt idx="87">
                  <c:v>100</c:v>
                </c:pt>
                <c:pt idx="88">
                  <c:v>200</c:v>
                </c:pt>
                <c:pt idx="89">
                  <c:v>#N/A</c:v>
                </c:pt>
                <c:pt idx="90">
                  <c:v>#N/A</c:v>
                </c:pt>
                <c:pt idx="91">
                  <c:v>150</c:v>
                </c:pt>
                <c:pt idx="92">
                  <c:v>150</c:v>
                </c:pt>
                <c:pt idx="93">
                  <c:v>150</c:v>
                </c:pt>
                <c:pt idx="94">
                  <c:v>#N/A</c:v>
                </c:pt>
                <c:pt idx="95">
                  <c:v>#N/A</c:v>
                </c:pt>
                <c:pt idx="96">
                  <c:v>#N/A</c:v>
                </c:pt>
                <c:pt idx="97">
                  <c:v>#N/A</c:v>
                </c:pt>
                <c:pt idx="98">
                  <c:v>250</c:v>
                </c:pt>
                <c:pt idx="99">
                  <c:v>250</c:v>
                </c:pt>
                <c:pt idx="100">
                  <c:v>200</c:v>
                </c:pt>
                <c:pt idx="101">
                  <c:v>200</c:v>
                </c:pt>
                <c:pt idx="102">
                  <c:v>200</c:v>
                </c:pt>
                <c:pt idx="103">
                  <c:v>#N/A</c:v>
                </c:pt>
                <c:pt idx="104">
                  <c:v>#N/A</c:v>
                </c:pt>
                <c:pt idx="105">
                  <c:v>200</c:v>
                </c:pt>
                <c:pt idx="106">
                  <c:v>200</c:v>
                </c:pt>
                <c:pt idx="107">
                  <c:v>200</c:v>
                </c:pt>
                <c:pt idx="108">
                  <c:v>200</c:v>
                </c:pt>
                <c:pt idx="109">
                  <c:v>250</c:v>
                </c:pt>
                <c:pt idx="110">
                  <c:v>#N/A</c:v>
                </c:pt>
                <c:pt idx="111">
                  <c:v>#N/A</c:v>
                </c:pt>
                <c:pt idx="112">
                  <c:v>250</c:v>
                </c:pt>
                <c:pt idx="113">
                  <c:v>250</c:v>
                </c:pt>
                <c:pt idx="114">
                  <c:v>250</c:v>
                </c:pt>
                <c:pt idx="115">
                  <c:v>250</c:v>
                </c:pt>
                <c:pt idx="116">
                  <c:v>250</c:v>
                </c:pt>
                <c:pt idx="117">
                  <c:v>#N/A</c:v>
                </c:pt>
                <c:pt idx="118">
                  <c:v>#N/A</c:v>
                </c:pt>
                <c:pt idx="119">
                  <c:v>250</c:v>
                </c:pt>
                <c:pt idx="120">
                  <c:v>250</c:v>
                </c:pt>
                <c:pt idx="121">
                  <c:v>#N/A</c:v>
                </c:pt>
                <c:pt idx="122">
                  <c:v>#N/A</c:v>
                </c:pt>
                <c:pt idx="123">
                  <c:v>#N/A</c:v>
                </c:pt>
                <c:pt idx="124">
                  <c:v>#N/A</c:v>
                </c:pt>
                <c:pt idx="125">
                  <c:v>#N/A</c:v>
                </c:pt>
                <c:pt idx="126">
                  <c:v>300</c:v>
                </c:pt>
                <c:pt idx="127">
                  <c:v>300</c:v>
                </c:pt>
                <c:pt idx="128">
                  <c:v>300</c:v>
                </c:pt>
                <c:pt idx="129">
                  <c:v>300</c:v>
                </c:pt>
                <c:pt idx="130">
                  <c:v>300</c:v>
                </c:pt>
                <c:pt idx="131">
                  <c:v>#N/A</c:v>
                </c:pt>
                <c:pt idx="132">
                  <c:v>#N/A</c:v>
                </c:pt>
                <c:pt idx="133">
                  <c:v>300</c:v>
                </c:pt>
                <c:pt idx="134">
                  <c:v>300</c:v>
                </c:pt>
                <c:pt idx="135">
                  <c:v>300</c:v>
                </c:pt>
                <c:pt idx="136">
                  <c:v>200</c:v>
                </c:pt>
                <c:pt idx="137">
                  <c:v>200</c:v>
                </c:pt>
                <c:pt idx="138">
                  <c:v>#N/A</c:v>
                </c:pt>
                <c:pt idx="139">
                  <c:v>#N/A</c:v>
                </c:pt>
                <c:pt idx="140">
                  <c:v>200</c:v>
                </c:pt>
                <c:pt idx="141">
                  <c:v>100</c:v>
                </c:pt>
                <c:pt idx="142">
                  <c:v>100</c:v>
                </c:pt>
                <c:pt idx="143">
                  <c:v>100</c:v>
                </c:pt>
                <c:pt idx="144">
                  <c:v>100</c:v>
                </c:pt>
                <c:pt idx="145">
                  <c:v>#N/A</c:v>
                </c:pt>
                <c:pt idx="146">
                  <c:v>#N/A</c:v>
                </c:pt>
                <c:pt idx="147">
                  <c:v>100</c:v>
                </c:pt>
                <c:pt idx="148">
                  <c:v>100</c:v>
                </c:pt>
                <c:pt idx="149">
                  <c:v>100</c:v>
                </c:pt>
                <c:pt idx="150">
                  <c:v>100</c:v>
                </c:pt>
                <c:pt idx="151">
                  <c:v>100</c:v>
                </c:pt>
                <c:pt idx="152">
                  <c:v>#N/A</c:v>
                </c:pt>
                <c:pt idx="153">
                  <c:v>#N/A</c:v>
                </c:pt>
                <c:pt idx="154">
                  <c:v>100</c:v>
                </c:pt>
                <c:pt idx="155">
                  <c:v>100</c:v>
                </c:pt>
                <c:pt idx="156">
                  <c:v>100</c:v>
                </c:pt>
                <c:pt idx="157">
                  <c:v>100</c:v>
                </c:pt>
                <c:pt idx="158">
                  <c:v>100</c:v>
                </c:pt>
                <c:pt idx="159">
                  <c:v>#N/A</c:v>
                </c:pt>
                <c:pt idx="160">
                  <c:v>#N/A</c:v>
                </c:pt>
                <c:pt idx="161">
                  <c:v>#N/A</c:v>
                </c:pt>
                <c:pt idx="162">
                  <c:v>150</c:v>
                </c:pt>
                <c:pt idx="163">
                  <c:v>200</c:v>
                </c:pt>
                <c:pt idx="164">
                  <c:v>200</c:v>
                </c:pt>
                <c:pt idx="165">
                  <c:v>200</c:v>
                </c:pt>
                <c:pt idx="166">
                  <c:v>#N/A</c:v>
                </c:pt>
                <c:pt idx="167">
                  <c:v>#N/A</c:v>
                </c:pt>
                <c:pt idx="168">
                  <c:v>200</c:v>
                </c:pt>
                <c:pt idx="169">
                  <c:v>200</c:v>
                </c:pt>
                <c:pt idx="170">
                  <c:v>250</c:v>
                </c:pt>
                <c:pt idx="171">
                  <c:v>250</c:v>
                </c:pt>
                <c:pt idx="172">
                  <c:v>300</c:v>
                </c:pt>
                <c:pt idx="173">
                  <c:v>#N/A</c:v>
                </c:pt>
                <c:pt idx="174">
                  <c:v>#N/A</c:v>
                </c:pt>
                <c:pt idx="175">
                  <c:v>400</c:v>
                </c:pt>
                <c:pt idx="176">
                  <c:v>450</c:v>
                </c:pt>
                <c:pt idx="177">
                  <c:v>400</c:v>
                </c:pt>
                <c:pt idx="178">
                  <c:v>400</c:v>
                </c:pt>
                <c:pt idx="179">
                  <c:v>400</c:v>
                </c:pt>
                <c:pt idx="180">
                  <c:v>#N/A</c:v>
                </c:pt>
                <c:pt idx="181">
                  <c:v>#N/A</c:v>
                </c:pt>
                <c:pt idx="182">
                  <c:v>350</c:v>
                </c:pt>
                <c:pt idx="183">
                  <c:v>350</c:v>
                </c:pt>
                <c:pt idx="184">
                  <c:v>350</c:v>
                </c:pt>
                <c:pt idx="185">
                  <c:v>350</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4-7C2D-46B1-A1D7-5AB6E513FE3E}"/>
            </c:ext>
          </c:extLst>
        </c:ser>
        <c:dLbls>
          <c:showLegendKey val="0"/>
          <c:showVal val="0"/>
          <c:showCatName val="0"/>
          <c:showSerName val="0"/>
          <c:showPercent val="0"/>
          <c:showBubbleSize val="0"/>
        </c:dLbls>
        <c:smooth val="0"/>
        <c:axId val="2134209279"/>
        <c:axId val="2059693599"/>
      </c:lineChart>
      <c:catAx>
        <c:axId val="213420927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2059693599"/>
        <c:crosses val="autoZero"/>
        <c:auto val="1"/>
        <c:lblAlgn val="ctr"/>
        <c:lblOffset val="100"/>
        <c:noMultiLvlLbl val="0"/>
      </c:catAx>
      <c:valAx>
        <c:axId val="2059693599"/>
        <c:scaling>
          <c:orientation val="minMax"/>
          <c:max val="1750"/>
          <c:min val="-5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2134209279"/>
        <c:crosses val="autoZero"/>
        <c:crossBetween val="between"/>
        <c:majorUnit val="200"/>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ea"/>
                <a:sym typeface="+mn-lt"/>
              </a:defRPr>
            </a:pPr>
            <a:r>
              <a:rPr lang="zh-CN"/>
              <a:t>多晶硅价格</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ea"/>
              <a:sym typeface="+mn-lt"/>
            </a:defRPr>
          </a:pPr>
          <a:endParaRPr lang="zh-CN"/>
        </a:p>
      </c:txPr>
    </c:title>
    <c:autoTitleDeleted val="0"/>
    <c:plotArea>
      <c:layout/>
      <c:lineChart>
        <c:grouping val="standard"/>
        <c:varyColors val="0"/>
        <c:ser>
          <c:idx val="0"/>
          <c:order val="0"/>
          <c:tx>
            <c:strRef>
              <c:f>多晶硅价格图表!$AD$9</c:f>
              <c:strCache>
                <c:ptCount val="1"/>
                <c:pt idx="0">
                  <c:v>复投料</c:v>
                </c:pt>
              </c:strCache>
            </c:strRef>
          </c:tx>
          <c:spPr>
            <a:ln w="28575" cap="rnd">
              <a:solidFill>
                <a:schemeClr val="accent5">
                  <a:lumMod val="75000"/>
                </a:schemeClr>
              </a:solidFill>
              <a:round/>
            </a:ln>
            <a:effectLst/>
          </c:spPr>
          <c:marker>
            <c:symbol val="none"/>
          </c:marker>
          <c:cat>
            <c:numRef>
              <c:f>多晶硅价格图表!$AC$10:$AC$376</c:f>
              <c:numCache>
                <c:formatCode>m/d/yyyy</c:formatCode>
                <c:ptCount val="367"/>
                <c:pt idx="0">
                  <c:v>45478</c:v>
                </c:pt>
                <c:pt idx="1">
                  <c:v>45477</c:v>
                </c:pt>
                <c:pt idx="2">
                  <c:v>45476</c:v>
                </c:pt>
                <c:pt idx="3">
                  <c:v>45475</c:v>
                </c:pt>
                <c:pt idx="4">
                  <c:v>45474</c:v>
                </c:pt>
                <c:pt idx="5">
                  <c:v>45473</c:v>
                </c:pt>
                <c:pt idx="6">
                  <c:v>45472</c:v>
                </c:pt>
                <c:pt idx="7">
                  <c:v>45471</c:v>
                </c:pt>
                <c:pt idx="8">
                  <c:v>45470</c:v>
                </c:pt>
                <c:pt idx="9">
                  <c:v>45469</c:v>
                </c:pt>
                <c:pt idx="10">
                  <c:v>45468</c:v>
                </c:pt>
                <c:pt idx="11">
                  <c:v>45467</c:v>
                </c:pt>
                <c:pt idx="12">
                  <c:v>45466</c:v>
                </c:pt>
                <c:pt idx="13">
                  <c:v>45465</c:v>
                </c:pt>
                <c:pt idx="14">
                  <c:v>45464</c:v>
                </c:pt>
                <c:pt idx="15">
                  <c:v>45463</c:v>
                </c:pt>
                <c:pt idx="16">
                  <c:v>45462</c:v>
                </c:pt>
                <c:pt idx="17">
                  <c:v>45461</c:v>
                </c:pt>
                <c:pt idx="18">
                  <c:v>45460</c:v>
                </c:pt>
                <c:pt idx="19">
                  <c:v>45459</c:v>
                </c:pt>
                <c:pt idx="20">
                  <c:v>45458</c:v>
                </c:pt>
                <c:pt idx="21">
                  <c:v>45457</c:v>
                </c:pt>
                <c:pt idx="22">
                  <c:v>45456</c:v>
                </c:pt>
                <c:pt idx="23">
                  <c:v>45455</c:v>
                </c:pt>
                <c:pt idx="24">
                  <c:v>45454</c:v>
                </c:pt>
                <c:pt idx="25">
                  <c:v>45453</c:v>
                </c:pt>
                <c:pt idx="26">
                  <c:v>45452</c:v>
                </c:pt>
                <c:pt idx="27">
                  <c:v>45451</c:v>
                </c:pt>
                <c:pt idx="28">
                  <c:v>45450</c:v>
                </c:pt>
                <c:pt idx="29">
                  <c:v>45449</c:v>
                </c:pt>
                <c:pt idx="30">
                  <c:v>45448</c:v>
                </c:pt>
                <c:pt idx="31">
                  <c:v>45447</c:v>
                </c:pt>
                <c:pt idx="32">
                  <c:v>45446</c:v>
                </c:pt>
                <c:pt idx="33">
                  <c:v>45445</c:v>
                </c:pt>
                <c:pt idx="34">
                  <c:v>45444</c:v>
                </c:pt>
                <c:pt idx="35">
                  <c:v>45443</c:v>
                </c:pt>
                <c:pt idx="36">
                  <c:v>45442</c:v>
                </c:pt>
                <c:pt idx="37">
                  <c:v>45441</c:v>
                </c:pt>
                <c:pt idx="38">
                  <c:v>45440</c:v>
                </c:pt>
                <c:pt idx="39">
                  <c:v>45439</c:v>
                </c:pt>
                <c:pt idx="40">
                  <c:v>45438</c:v>
                </c:pt>
                <c:pt idx="41">
                  <c:v>45437</c:v>
                </c:pt>
                <c:pt idx="42">
                  <c:v>45436</c:v>
                </c:pt>
                <c:pt idx="43">
                  <c:v>45435</c:v>
                </c:pt>
                <c:pt idx="44">
                  <c:v>45434</c:v>
                </c:pt>
                <c:pt idx="45">
                  <c:v>45433</c:v>
                </c:pt>
                <c:pt idx="46">
                  <c:v>45432</c:v>
                </c:pt>
                <c:pt idx="47">
                  <c:v>45431</c:v>
                </c:pt>
                <c:pt idx="48">
                  <c:v>45430</c:v>
                </c:pt>
                <c:pt idx="49">
                  <c:v>45429</c:v>
                </c:pt>
                <c:pt idx="50">
                  <c:v>45428</c:v>
                </c:pt>
                <c:pt idx="51">
                  <c:v>45427</c:v>
                </c:pt>
                <c:pt idx="52">
                  <c:v>45426</c:v>
                </c:pt>
                <c:pt idx="53">
                  <c:v>45425</c:v>
                </c:pt>
                <c:pt idx="54">
                  <c:v>45424</c:v>
                </c:pt>
                <c:pt idx="55">
                  <c:v>45423</c:v>
                </c:pt>
                <c:pt idx="56">
                  <c:v>45422</c:v>
                </c:pt>
                <c:pt idx="57">
                  <c:v>45421</c:v>
                </c:pt>
                <c:pt idx="58">
                  <c:v>45420</c:v>
                </c:pt>
                <c:pt idx="59">
                  <c:v>45419</c:v>
                </c:pt>
                <c:pt idx="60">
                  <c:v>45418</c:v>
                </c:pt>
                <c:pt idx="61">
                  <c:v>45417</c:v>
                </c:pt>
                <c:pt idx="62">
                  <c:v>45416</c:v>
                </c:pt>
                <c:pt idx="63">
                  <c:v>45415</c:v>
                </c:pt>
                <c:pt idx="64">
                  <c:v>45414</c:v>
                </c:pt>
                <c:pt idx="65">
                  <c:v>45413</c:v>
                </c:pt>
                <c:pt idx="66">
                  <c:v>45412</c:v>
                </c:pt>
                <c:pt idx="67">
                  <c:v>45411</c:v>
                </c:pt>
                <c:pt idx="68">
                  <c:v>45410</c:v>
                </c:pt>
                <c:pt idx="69">
                  <c:v>45409</c:v>
                </c:pt>
                <c:pt idx="70">
                  <c:v>45408</c:v>
                </c:pt>
                <c:pt idx="71">
                  <c:v>45407</c:v>
                </c:pt>
                <c:pt idx="72">
                  <c:v>45406</c:v>
                </c:pt>
                <c:pt idx="73">
                  <c:v>45405</c:v>
                </c:pt>
                <c:pt idx="74">
                  <c:v>45404</c:v>
                </c:pt>
                <c:pt idx="75">
                  <c:v>45403</c:v>
                </c:pt>
                <c:pt idx="76">
                  <c:v>45402</c:v>
                </c:pt>
                <c:pt idx="77">
                  <c:v>45401</c:v>
                </c:pt>
                <c:pt idx="78">
                  <c:v>45400</c:v>
                </c:pt>
                <c:pt idx="79">
                  <c:v>45399</c:v>
                </c:pt>
                <c:pt idx="80">
                  <c:v>45398</c:v>
                </c:pt>
                <c:pt idx="81">
                  <c:v>45397</c:v>
                </c:pt>
                <c:pt idx="82">
                  <c:v>45396</c:v>
                </c:pt>
                <c:pt idx="83">
                  <c:v>45395</c:v>
                </c:pt>
                <c:pt idx="84">
                  <c:v>45394</c:v>
                </c:pt>
                <c:pt idx="85">
                  <c:v>45393</c:v>
                </c:pt>
                <c:pt idx="86">
                  <c:v>45392</c:v>
                </c:pt>
                <c:pt idx="87">
                  <c:v>45391</c:v>
                </c:pt>
                <c:pt idx="88">
                  <c:v>45390</c:v>
                </c:pt>
                <c:pt idx="89">
                  <c:v>45389</c:v>
                </c:pt>
                <c:pt idx="90">
                  <c:v>45388</c:v>
                </c:pt>
                <c:pt idx="91">
                  <c:v>45387</c:v>
                </c:pt>
                <c:pt idx="92">
                  <c:v>45386</c:v>
                </c:pt>
                <c:pt idx="93">
                  <c:v>45385</c:v>
                </c:pt>
                <c:pt idx="94">
                  <c:v>45384</c:v>
                </c:pt>
                <c:pt idx="95">
                  <c:v>45383</c:v>
                </c:pt>
                <c:pt idx="96">
                  <c:v>45382</c:v>
                </c:pt>
                <c:pt idx="97">
                  <c:v>45381</c:v>
                </c:pt>
                <c:pt idx="98">
                  <c:v>45380</c:v>
                </c:pt>
                <c:pt idx="99">
                  <c:v>45379</c:v>
                </c:pt>
                <c:pt idx="100">
                  <c:v>45378</c:v>
                </c:pt>
                <c:pt idx="101">
                  <c:v>45377</c:v>
                </c:pt>
                <c:pt idx="102">
                  <c:v>45376</c:v>
                </c:pt>
                <c:pt idx="103">
                  <c:v>45375</c:v>
                </c:pt>
                <c:pt idx="104">
                  <c:v>45374</c:v>
                </c:pt>
                <c:pt idx="105">
                  <c:v>45373</c:v>
                </c:pt>
                <c:pt idx="106">
                  <c:v>45372</c:v>
                </c:pt>
                <c:pt idx="107">
                  <c:v>45371</c:v>
                </c:pt>
                <c:pt idx="108">
                  <c:v>45370</c:v>
                </c:pt>
                <c:pt idx="109">
                  <c:v>45369</c:v>
                </c:pt>
                <c:pt idx="110">
                  <c:v>45368</c:v>
                </c:pt>
                <c:pt idx="111">
                  <c:v>45367</c:v>
                </c:pt>
                <c:pt idx="112">
                  <c:v>45366</c:v>
                </c:pt>
                <c:pt idx="113">
                  <c:v>45365</c:v>
                </c:pt>
                <c:pt idx="114">
                  <c:v>45364</c:v>
                </c:pt>
                <c:pt idx="115">
                  <c:v>45363</c:v>
                </c:pt>
                <c:pt idx="116">
                  <c:v>45362</c:v>
                </c:pt>
                <c:pt idx="117">
                  <c:v>45361</c:v>
                </c:pt>
                <c:pt idx="118">
                  <c:v>45360</c:v>
                </c:pt>
                <c:pt idx="119">
                  <c:v>45359</c:v>
                </c:pt>
                <c:pt idx="120">
                  <c:v>45358</c:v>
                </c:pt>
                <c:pt idx="121">
                  <c:v>45357</c:v>
                </c:pt>
                <c:pt idx="122">
                  <c:v>45356</c:v>
                </c:pt>
                <c:pt idx="123">
                  <c:v>45355</c:v>
                </c:pt>
                <c:pt idx="124">
                  <c:v>45354</c:v>
                </c:pt>
                <c:pt idx="125">
                  <c:v>45353</c:v>
                </c:pt>
                <c:pt idx="126">
                  <c:v>45352</c:v>
                </c:pt>
                <c:pt idx="127">
                  <c:v>45351</c:v>
                </c:pt>
                <c:pt idx="128">
                  <c:v>45350</c:v>
                </c:pt>
                <c:pt idx="129">
                  <c:v>45349</c:v>
                </c:pt>
                <c:pt idx="130">
                  <c:v>45348</c:v>
                </c:pt>
                <c:pt idx="131">
                  <c:v>45347</c:v>
                </c:pt>
                <c:pt idx="132">
                  <c:v>45346</c:v>
                </c:pt>
                <c:pt idx="133">
                  <c:v>45345</c:v>
                </c:pt>
                <c:pt idx="134">
                  <c:v>45344</c:v>
                </c:pt>
                <c:pt idx="135">
                  <c:v>45343</c:v>
                </c:pt>
                <c:pt idx="136">
                  <c:v>45342</c:v>
                </c:pt>
                <c:pt idx="137">
                  <c:v>45341</c:v>
                </c:pt>
                <c:pt idx="138">
                  <c:v>45340</c:v>
                </c:pt>
                <c:pt idx="139">
                  <c:v>45339</c:v>
                </c:pt>
                <c:pt idx="140">
                  <c:v>45338</c:v>
                </c:pt>
                <c:pt idx="141">
                  <c:v>45337</c:v>
                </c:pt>
                <c:pt idx="142">
                  <c:v>45336</c:v>
                </c:pt>
                <c:pt idx="143">
                  <c:v>45335</c:v>
                </c:pt>
                <c:pt idx="144">
                  <c:v>45334</c:v>
                </c:pt>
                <c:pt idx="145">
                  <c:v>45333</c:v>
                </c:pt>
                <c:pt idx="146">
                  <c:v>45332</c:v>
                </c:pt>
                <c:pt idx="147">
                  <c:v>45331</c:v>
                </c:pt>
                <c:pt idx="148">
                  <c:v>45330</c:v>
                </c:pt>
                <c:pt idx="149">
                  <c:v>45329</c:v>
                </c:pt>
                <c:pt idx="150">
                  <c:v>45328</c:v>
                </c:pt>
                <c:pt idx="151">
                  <c:v>45327</c:v>
                </c:pt>
                <c:pt idx="152">
                  <c:v>45326</c:v>
                </c:pt>
                <c:pt idx="153">
                  <c:v>45325</c:v>
                </c:pt>
                <c:pt idx="154">
                  <c:v>45324</c:v>
                </c:pt>
                <c:pt idx="155">
                  <c:v>45323</c:v>
                </c:pt>
                <c:pt idx="156">
                  <c:v>45322</c:v>
                </c:pt>
                <c:pt idx="157">
                  <c:v>45321</c:v>
                </c:pt>
                <c:pt idx="158">
                  <c:v>45320</c:v>
                </c:pt>
                <c:pt idx="159">
                  <c:v>45319</c:v>
                </c:pt>
                <c:pt idx="160">
                  <c:v>45318</c:v>
                </c:pt>
                <c:pt idx="161">
                  <c:v>45317</c:v>
                </c:pt>
                <c:pt idx="162">
                  <c:v>45316</c:v>
                </c:pt>
                <c:pt idx="163">
                  <c:v>45315</c:v>
                </c:pt>
                <c:pt idx="164">
                  <c:v>45314</c:v>
                </c:pt>
                <c:pt idx="165">
                  <c:v>45313</c:v>
                </c:pt>
                <c:pt idx="166">
                  <c:v>45312</c:v>
                </c:pt>
                <c:pt idx="167">
                  <c:v>45311</c:v>
                </c:pt>
                <c:pt idx="168">
                  <c:v>45310</c:v>
                </c:pt>
                <c:pt idx="169">
                  <c:v>45309</c:v>
                </c:pt>
                <c:pt idx="170">
                  <c:v>45308</c:v>
                </c:pt>
                <c:pt idx="171">
                  <c:v>45307</c:v>
                </c:pt>
                <c:pt idx="172">
                  <c:v>45306</c:v>
                </c:pt>
                <c:pt idx="173">
                  <c:v>45305</c:v>
                </c:pt>
                <c:pt idx="174">
                  <c:v>45304</c:v>
                </c:pt>
                <c:pt idx="175">
                  <c:v>45303</c:v>
                </c:pt>
                <c:pt idx="176">
                  <c:v>45302</c:v>
                </c:pt>
                <c:pt idx="177">
                  <c:v>45301</c:v>
                </c:pt>
                <c:pt idx="178">
                  <c:v>45300</c:v>
                </c:pt>
                <c:pt idx="179">
                  <c:v>45299</c:v>
                </c:pt>
                <c:pt idx="180">
                  <c:v>45298</c:v>
                </c:pt>
                <c:pt idx="181">
                  <c:v>45297</c:v>
                </c:pt>
                <c:pt idx="182">
                  <c:v>45296</c:v>
                </c:pt>
                <c:pt idx="183">
                  <c:v>45295</c:v>
                </c:pt>
                <c:pt idx="184">
                  <c:v>45294</c:v>
                </c:pt>
                <c:pt idx="185">
                  <c:v>45293</c:v>
                </c:pt>
                <c:pt idx="186">
                  <c:v>45292</c:v>
                </c:pt>
                <c:pt idx="187">
                  <c:v>45291</c:v>
                </c:pt>
                <c:pt idx="188">
                  <c:v>45290</c:v>
                </c:pt>
                <c:pt idx="189">
                  <c:v>45289</c:v>
                </c:pt>
                <c:pt idx="190">
                  <c:v>45288</c:v>
                </c:pt>
                <c:pt idx="191">
                  <c:v>45287</c:v>
                </c:pt>
                <c:pt idx="192">
                  <c:v>45286</c:v>
                </c:pt>
                <c:pt idx="193">
                  <c:v>45285</c:v>
                </c:pt>
                <c:pt idx="194">
                  <c:v>45284</c:v>
                </c:pt>
                <c:pt idx="195">
                  <c:v>45283</c:v>
                </c:pt>
                <c:pt idx="196">
                  <c:v>45282</c:v>
                </c:pt>
                <c:pt idx="197">
                  <c:v>45281</c:v>
                </c:pt>
                <c:pt idx="198">
                  <c:v>45280</c:v>
                </c:pt>
                <c:pt idx="199">
                  <c:v>45279</c:v>
                </c:pt>
                <c:pt idx="200">
                  <c:v>45278</c:v>
                </c:pt>
                <c:pt idx="201">
                  <c:v>45277</c:v>
                </c:pt>
                <c:pt idx="202">
                  <c:v>45276</c:v>
                </c:pt>
                <c:pt idx="203">
                  <c:v>45275</c:v>
                </c:pt>
                <c:pt idx="204">
                  <c:v>45274</c:v>
                </c:pt>
                <c:pt idx="205">
                  <c:v>45273</c:v>
                </c:pt>
                <c:pt idx="206">
                  <c:v>45272</c:v>
                </c:pt>
                <c:pt idx="207">
                  <c:v>45271</c:v>
                </c:pt>
                <c:pt idx="208">
                  <c:v>45270</c:v>
                </c:pt>
                <c:pt idx="209">
                  <c:v>45269</c:v>
                </c:pt>
                <c:pt idx="210">
                  <c:v>45268</c:v>
                </c:pt>
                <c:pt idx="211">
                  <c:v>45267</c:v>
                </c:pt>
                <c:pt idx="212">
                  <c:v>45266</c:v>
                </c:pt>
                <c:pt idx="213">
                  <c:v>45265</c:v>
                </c:pt>
                <c:pt idx="214">
                  <c:v>45264</c:v>
                </c:pt>
                <c:pt idx="215">
                  <c:v>45263</c:v>
                </c:pt>
                <c:pt idx="216">
                  <c:v>45262</c:v>
                </c:pt>
                <c:pt idx="217">
                  <c:v>45261</c:v>
                </c:pt>
                <c:pt idx="218">
                  <c:v>45260</c:v>
                </c:pt>
                <c:pt idx="219">
                  <c:v>45259</c:v>
                </c:pt>
                <c:pt idx="220">
                  <c:v>45258</c:v>
                </c:pt>
                <c:pt idx="221">
                  <c:v>45257</c:v>
                </c:pt>
                <c:pt idx="222">
                  <c:v>45256</c:v>
                </c:pt>
                <c:pt idx="223">
                  <c:v>45255</c:v>
                </c:pt>
                <c:pt idx="224">
                  <c:v>45254</c:v>
                </c:pt>
                <c:pt idx="225">
                  <c:v>45253</c:v>
                </c:pt>
                <c:pt idx="226">
                  <c:v>45252</c:v>
                </c:pt>
                <c:pt idx="227">
                  <c:v>45251</c:v>
                </c:pt>
                <c:pt idx="228">
                  <c:v>45250</c:v>
                </c:pt>
                <c:pt idx="229">
                  <c:v>45249</c:v>
                </c:pt>
                <c:pt idx="230">
                  <c:v>45248</c:v>
                </c:pt>
                <c:pt idx="231">
                  <c:v>45247</c:v>
                </c:pt>
                <c:pt idx="232">
                  <c:v>45246</c:v>
                </c:pt>
                <c:pt idx="233">
                  <c:v>45245</c:v>
                </c:pt>
                <c:pt idx="234">
                  <c:v>45244</c:v>
                </c:pt>
                <c:pt idx="235">
                  <c:v>45243</c:v>
                </c:pt>
                <c:pt idx="236">
                  <c:v>45242</c:v>
                </c:pt>
                <c:pt idx="237">
                  <c:v>45241</c:v>
                </c:pt>
                <c:pt idx="238">
                  <c:v>45240</c:v>
                </c:pt>
                <c:pt idx="239">
                  <c:v>45239</c:v>
                </c:pt>
                <c:pt idx="240">
                  <c:v>45238</c:v>
                </c:pt>
                <c:pt idx="241">
                  <c:v>45237</c:v>
                </c:pt>
                <c:pt idx="242">
                  <c:v>45236</c:v>
                </c:pt>
                <c:pt idx="243">
                  <c:v>45235</c:v>
                </c:pt>
                <c:pt idx="244">
                  <c:v>45234</c:v>
                </c:pt>
                <c:pt idx="245">
                  <c:v>45233</c:v>
                </c:pt>
                <c:pt idx="246">
                  <c:v>45232</c:v>
                </c:pt>
                <c:pt idx="247">
                  <c:v>45231</c:v>
                </c:pt>
                <c:pt idx="248">
                  <c:v>45230</c:v>
                </c:pt>
                <c:pt idx="249">
                  <c:v>45229</c:v>
                </c:pt>
                <c:pt idx="250">
                  <c:v>45228</c:v>
                </c:pt>
                <c:pt idx="251">
                  <c:v>45227</c:v>
                </c:pt>
                <c:pt idx="252">
                  <c:v>45226</c:v>
                </c:pt>
                <c:pt idx="253">
                  <c:v>45225</c:v>
                </c:pt>
                <c:pt idx="254">
                  <c:v>45224</c:v>
                </c:pt>
                <c:pt idx="255">
                  <c:v>45223</c:v>
                </c:pt>
                <c:pt idx="256">
                  <c:v>45222</c:v>
                </c:pt>
                <c:pt idx="257">
                  <c:v>45221</c:v>
                </c:pt>
                <c:pt idx="258">
                  <c:v>45220</c:v>
                </c:pt>
                <c:pt idx="259">
                  <c:v>45219</c:v>
                </c:pt>
                <c:pt idx="260">
                  <c:v>45218</c:v>
                </c:pt>
                <c:pt idx="261">
                  <c:v>45217</c:v>
                </c:pt>
                <c:pt idx="262">
                  <c:v>45216</c:v>
                </c:pt>
                <c:pt idx="263">
                  <c:v>45215</c:v>
                </c:pt>
                <c:pt idx="264">
                  <c:v>45214</c:v>
                </c:pt>
                <c:pt idx="265">
                  <c:v>45213</c:v>
                </c:pt>
                <c:pt idx="266">
                  <c:v>45212</c:v>
                </c:pt>
                <c:pt idx="267">
                  <c:v>45211</c:v>
                </c:pt>
                <c:pt idx="268">
                  <c:v>45210</c:v>
                </c:pt>
                <c:pt idx="269">
                  <c:v>45209</c:v>
                </c:pt>
                <c:pt idx="270">
                  <c:v>45208</c:v>
                </c:pt>
                <c:pt idx="271">
                  <c:v>45207</c:v>
                </c:pt>
                <c:pt idx="272">
                  <c:v>45206</c:v>
                </c:pt>
                <c:pt idx="273">
                  <c:v>45205</c:v>
                </c:pt>
                <c:pt idx="274">
                  <c:v>45204</c:v>
                </c:pt>
                <c:pt idx="275">
                  <c:v>45203</c:v>
                </c:pt>
                <c:pt idx="276">
                  <c:v>45202</c:v>
                </c:pt>
                <c:pt idx="277">
                  <c:v>45201</c:v>
                </c:pt>
                <c:pt idx="278">
                  <c:v>45200</c:v>
                </c:pt>
                <c:pt idx="279">
                  <c:v>45199</c:v>
                </c:pt>
                <c:pt idx="280">
                  <c:v>45198</c:v>
                </c:pt>
                <c:pt idx="281">
                  <c:v>45197</c:v>
                </c:pt>
                <c:pt idx="282">
                  <c:v>45196</c:v>
                </c:pt>
                <c:pt idx="283">
                  <c:v>45195</c:v>
                </c:pt>
                <c:pt idx="284">
                  <c:v>45194</c:v>
                </c:pt>
                <c:pt idx="285">
                  <c:v>45193</c:v>
                </c:pt>
                <c:pt idx="286">
                  <c:v>45192</c:v>
                </c:pt>
                <c:pt idx="287">
                  <c:v>45191</c:v>
                </c:pt>
                <c:pt idx="288">
                  <c:v>45190</c:v>
                </c:pt>
                <c:pt idx="289">
                  <c:v>45189</c:v>
                </c:pt>
                <c:pt idx="290">
                  <c:v>45188</c:v>
                </c:pt>
                <c:pt idx="291">
                  <c:v>45187</c:v>
                </c:pt>
                <c:pt idx="292">
                  <c:v>45186</c:v>
                </c:pt>
                <c:pt idx="293">
                  <c:v>45185</c:v>
                </c:pt>
                <c:pt idx="294">
                  <c:v>45184</c:v>
                </c:pt>
                <c:pt idx="295">
                  <c:v>45183</c:v>
                </c:pt>
                <c:pt idx="296">
                  <c:v>45182</c:v>
                </c:pt>
                <c:pt idx="297">
                  <c:v>45181</c:v>
                </c:pt>
                <c:pt idx="298">
                  <c:v>45180</c:v>
                </c:pt>
                <c:pt idx="299">
                  <c:v>45179</c:v>
                </c:pt>
                <c:pt idx="300">
                  <c:v>45178</c:v>
                </c:pt>
                <c:pt idx="301">
                  <c:v>45177</c:v>
                </c:pt>
                <c:pt idx="302">
                  <c:v>45176</c:v>
                </c:pt>
                <c:pt idx="303">
                  <c:v>45175</c:v>
                </c:pt>
                <c:pt idx="304">
                  <c:v>45174</c:v>
                </c:pt>
                <c:pt idx="305">
                  <c:v>45173</c:v>
                </c:pt>
                <c:pt idx="306">
                  <c:v>45172</c:v>
                </c:pt>
                <c:pt idx="307">
                  <c:v>45171</c:v>
                </c:pt>
                <c:pt idx="308">
                  <c:v>45170</c:v>
                </c:pt>
                <c:pt idx="309">
                  <c:v>45169</c:v>
                </c:pt>
                <c:pt idx="310">
                  <c:v>45168</c:v>
                </c:pt>
                <c:pt idx="311">
                  <c:v>45167</c:v>
                </c:pt>
                <c:pt idx="312">
                  <c:v>45166</c:v>
                </c:pt>
                <c:pt idx="313">
                  <c:v>45165</c:v>
                </c:pt>
                <c:pt idx="314">
                  <c:v>45164</c:v>
                </c:pt>
                <c:pt idx="315">
                  <c:v>45163</c:v>
                </c:pt>
                <c:pt idx="316">
                  <c:v>45162</c:v>
                </c:pt>
                <c:pt idx="317">
                  <c:v>45161</c:v>
                </c:pt>
                <c:pt idx="318">
                  <c:v>45160</c:v>
                </c:pt>
                <c:pt idx="319">
                  <c:v>45159</c:v>
                </c:pt>
                <c:pt idx="320">
                  <c:v>45158</c:v>
                </c:pt>
                <c:pt idx="321">
                  <c:v>45157</c:v>
                </c:pt>
                <c:pt idx="322">
                  <c:v>45156</c:v>
                </c:pt>
                <c:pt idx="323">
                  <c:v>45155</c:v>
                </c:pt>
                <c:pt idx="324">
                  <c:v>45154</c:v>
                </c:pt>
                <c:pt idx="325">
                  <c:v>45153</c:v>
                </c:pt>
                <c:pt idx="326">
                  <c:v>45152</c:v>
                </c:pt>
                <c:pt idx="327">
                  <c:v>45151</c:v>
                </c:pt>
                <c:pt idx="328">
                  <c:v>45150</c:v>
                </c:pt>
                <c:pt idx="329">
                  <c:v>45149</c:v>
                </c:pt>
                <c:pt idx="330">
                  <c:v>45148</c:v>
                </c:pt>
                <c:pt idx="331">
                  <c:v>45147</c:v>
                </c:pt>
                <c:pt idx="332">
                  <c:v>45146</c:v>
                </c:pt>
                <c:pt idx="333">
                  <c:v>45145</c:v>
                </c:pt>
                <c:pt idx="334">
                  <c:v>45144</c:v>
                </c:pt>
                <c:pt idx="335">
                  <c:v>45143</c:v>
                </c:pt>
                <c:pt idx="336">
                  <c:v>45142</c:v>
                </c:pt>
                <c:pt idx="337">
                  <c:v>45141</c:v>
                </c:pt>
                <c:pt idx="338">
                  <c:v>45140</c:v>
                </c:pt>
                <c:pt idx="339">
                  <c:v>45139</c:v>
                </c:pt>
                <c:pt idx="340">
                  <c:v>45138</c:v>
                </c:pt>
                <c:pt idx="341">
                  <c:v>45137</c:v>
                </c:pt>
                <c:pt idx="342">
                  <c:v>45136</c:v>
                </c:pt>
                <c:pt idx="343">
                  <c:v>45135</c:v>
                </c:pt>
                <c:pt idx="344">
                  <c:v>45134</c:v>
                </c:pt>
                <c:pt idx="345">
                  <c:v>45133</c:v>
                </c:pt>
                <c:pt idx="346">
                  <c:v>45132</c:v>
                </c:pt>
                <c:pt idx="347">
                  <c:v>45131</c:v>
                </c:pt>
                <c:pt idx="348">
                  <c:v>45130</c:v>
                </c:pt>
                <c:pt idx="349">
                  <c:v>45129</c:v>
                </c:pt>
                <c:pt idx="350">
                  <c:v>45128</c:v>
                </c:pt>
                <c:pt idx="351">
                  <c:v>45127</c:v>
                </c:pt>
                <c:pt idx="352">
                  <c:v>45126</c:v>
                </c:pt>
                <c:pt idx="353">
                  <c:v>45125</c:v>
                </c:pt>
                <c:pt idx="354">
                  <c:v>45124</c:v>
                </c:pt>
                <c:pt idx="355">
                  <c:v>45123</c:v>
                </c:pt>
                <c:pt idx="356">
                  <c:v>45122</c:v>
                </c:pt>
                <c:pt idx="357">
                  <c:v>45121</c:v>
                </c:pt>
                <c:pt idx="358">
                  <c:v>45120</c:v>
                </c:pt>
                <c:pt idx="359">
                  <c:v>45119</c:v>
                </c:pt>
                <c:pt idx="360">
                  <c:v>45118</c:v>
                </c:pt>
                <c:pt idx="361">
                  <c:v>45117</c:v>
                </c:pt>
                <c:pt idx="362">
                  <c:v>45116</c:v>
                </c:pt>
                <c:pt idx="363">
                  <c:v>45115</c:v>
                </c:pt>
                <c:pt idx="364">
                  <c:v>45114</c:v>
                </c:pt>
                <c:pt idx="365">
                  <c:v>45113</c:v>
                </c:pt>
                <c:pt idx="366">
                  <c:v>45112</c:v>
                </c:pt>
              </c:numCache>
            </c:numRef>
          </c:cat>
          <c:val>
            <c:numRef>
              <c:f>多晶硅价格图表!$AD$10:$AD$376</c:f>
              <c:numCache>
                <c:formatCode>#,##0_);[Red]\(#,##0\)</c:formatCode>
                <c:ptCount val="367"/>
                <c:pt idx="0">
                  <c:v>36500</c:v>
                </c:pt>
                <c:pt idx="1">
                  <c:v>36500</c:v>
                </c:pt>
                <c:pt idx="2">
                  <c:v>36500</c:v>
                </c:pt>
                <c:pt idx="3">
                  <c:v>36500</c:v>
                </c:pt>
                <c:pt idx="4">
                  <c:v>36500</c:v>
                </c:pt>
                <c:pt idx="5">
                  <c:v>36500</c:v>
                </c:pt>
                <c:pt idx="6">
                  <c:v>36500</c:v>
                </c:pt>
                <c:pt idx="7">
                  <c:v>36500</c:v>
                </c:pt>
                <c:pt idx="8">
                  <c:v>36500</c:v>
                </c:pt>
                <c:pt idx="9">
                  <c:v>38500</c:v>
                </c:pt>
                <c:pt idx="10">
                  <c:v>38500</c:v>
                </c:pt>
                <c:pt idx="11">
                  <c:v>38500</c:v>
                </c:pt>
                <c:pt idx="12">
                  <c:v>38500</c:v>
                </c:pt>
                <c:pt idx="13">
                  <c:v>38500</c:v>
                </c:pt>
                <c:pt idx="14">
                  <c:v>38500</c:v>
                </c:pt>
                <c:pt idx="15">
                  <c:v>38500</c:v>
                </c:pt>
                <c:pt idx="16">
                  <c:v>38500</c:v>
                </c:pt>
                <c:pt idx="17">
                  <c:v>38500</c:v>
                </c:pt>
                <c:pt idx="18">
                  <c:v>38500</c:v>
                </c:pt>
                <c:pt idx="19">
                  <c:v>38500</c:v>
                </c:pt>
                <c:pt idx="20">
                  <c:v>38500</c:v>
                </c:pt>
                <c:pt idx="21">
                  <c:v>38500</c:v>
                </c:pt>
                <c:pt idx="22">
                  <c:v>38500</c:v>
                </c:pt>
                <c:pt idx="23">
                  <c:v>39500</c:v>
                </c:pt>
                <c:pt idx="24">
                  <c:v>39500</c:v>
                </c:pt>
                <c:pt idx="25">
                  <c:v>39500</c:v>
                </c:pt>
                <c:pt idx="26">
                  <c:v>39500</c:v>
                </c:pt>
                <c:pt idx="27">
                  <c:v>39500</c:v>
                </c:pt>
                <c:pt idx="28">
                  <c:v>39500</c:v>
                </c:pt>
                <c:pt idx="29">
                  <c:v>39500</c:v>
                </c:pt>
                <c:pt idx="30">
                  <c:v>39500</c:v>
                </c:pt>
                <c:pt idx="31">
                  <c:v>39500</c:v>
                </c:pt>
                <c:pt idx="32">
                  <c:v>39500</c:v>
                </c:pt>
                <c:pt idx="33">
                  <c:v>39500</c:v>
                </c:pt>
                <c:pt idx="34">
                  <c:v>39500</c:v>
                </c:pt>
                <c:pt idx="35">
                  <c:v>39500</c:v>
                </c:pt>
                <c:pt idx="36">
                  <c:v>39500</c:v>
                </c:pt>
                <c:pt idx="37">
                  <c:v>39500</c:v>
                </c:pt>
                <c:pt idx="38">
                  <c:v>39500</c:v>
                </c:pt>
                <c:pt idx="39">
                  <c:v>39500</c:v>
                </c:pt>
                <c:pt idx="40">
                  <c:v>39500</c:v>
                </c:pt>
                <c:pt idx="41">
                  <c:v>39500</c:v>
                </c:pt>
                <c:pt idx="42">
                  <c:v>39500</c:v>
                </c:pt>
                <c:pt idx="43">
                  <c:v>39500</c:v>
                </c:pt>
                <c:pt idx="44">
                  <c:v>39500</c:v>
                </c:pt>
                <c:pt idx="45">
                  <c:v>39500</c:v>
                </c:pt>
                <c:pt idx="46">
                  <c:v>39500</c:v>
                </c:pt>
                <c:pt idx="47">
                  <c:v>40500</c:v>
                </c:pt>
                <c:pt idx="48">
                  <c:v>40500</c:v>
                </c:pt>
                <c:pt idx="49">
                  <c:v>40500</c:v>
                </c:pt>
                <c:pt idx="50">
                  <c:v>40500</c:v>
                </c:pt>
                <c:pt idx="51">
                  <c:v>40500</c:v>
                </c:pt>
                <c:pt idx="52">
                  <c:v>41500</c:v>
                </c:pt>
                <c:pt idx="53">
                  <c:v>41500</c:v>
                </c:pt>
                <c:pt idx="54">
                  <c:v>41500</c:v>
                </c:pt>
                <c:pt idx="55">
                  <c:v>41500</c:v>
                </c:pt>
                <c:pt idx="56">
                  <c:v>41500</c:v>
                </c:pt>
                <c:pt idx="57">
                  <c:v>41500</c:v>
                </c:pt>
                <c:pt idx="58">
                  <c:v>42500</c:v>
                </c:pt>
                <c:pt idx="59">
                  <c:v>42500</c:v>
                </c:pt>
                <c:pt idx="60">
                  <c:v>44500</c:v>
                </c:pt>
                <c:pt idx="61">
                  <c:v>44500</c:v>
                </c:pt>
                <c:pt idx="62">
                  <c:v>44500</c:v>
                </c:pt>
                <c:pt idx="63">
                  <c:v>44500</c:v>
                </c:pt>
                <c:pt idx="64">
                  <c:v>44500</c:v>
                </c:pt>
                <c:pt idx="65">
                  <c:v>44500</c:v>
                </c:pt>
                <c:pt idx="66">
                  <c:v>44500</c:v>
                </c:pt>
                <c:pt idx="67">
                  <c:v>44500</c:v>
                </c:pt>
                <c:pt idx="68">
                  <c:v>44500</c:v>
                </c:pt>
                <c:pt idx="69">
                  <c:v>44500</c:v>
                </c:pt>
                <c:pt idx="70">
                  <c:v>44500</c:v>
                </c:pt>
                <c:pt idx="71">
                  <c:v>44500</c:v>
                </c:pt>
                <c:pt idx="72">
                  <c:v>46500</c:v>
                </c:pt>
                <c:pt idx="73">
                  <c:v>46500</c:v>
                </c:pt>
                <c:pt idx="74">
                  <c:v>46500</c:v>
                </c:pt>
                <c:pt idx="75">
                  <c:v>48500</c:v>
                </c:pt>
                <c:pt idx="76">
                  <c:v>48500</c:v>
                </c:pt>
                <c:pt idx="77">
                  <c:v>48500</c:v>
                </c:pt>
                <c:pt idx="78">
                  <c:v>48500</c:v>
                </c:pt>
                <c:pt idx="79">
                  <c:v>50500</c:v>
                </c:pt>
                <c:pt idx="80">
                  <c:v>50500</c:v>
                </c:pt>
                <c:pt idx="81">
                  <c:v>50500</c:v>
                </c:pt>
                <c:pt idx="82">
                  <c:v>52500</c:v>
                </c:pt>
                <c:pt idx="83">
                  <c:v>52500</c:v>
                </c:pt>
                <c:pt idx="84">
                  <c:v>52500</c:v>
                </c:pt>
                <c:pt idx="85">
                  <c:v>52500</c:v>
                </c:pt>
                <c:pt idx="86">
                  <c:v>52500</c:v>
                </c:pt>
                <c:pt idx="87">
                  <c:v>52500</c:v>
                </c:pt>
                <c:pt idx="88">
                  <c:v>53500</c:v>
                </c:pt>
                <c:pt idx="89">
                  <c:v>56500</c:v>
                </c:pt>
                <c:pt idx="90">
                  <c:v>56500</c:v>
                </c:pt>
                <c:pt idx="91">
                  <c:v>56500</c:v>
                </c:pt>
                <c:pt idx="92">
                  <c:v>56500</c:v>
                </c:pt>
                <c:pt idx="93">
                  <c:v>56500</c:v>
                </c:pt>
                <c:pt idx="94">
                  <c:v>56500</c:v>
                </c:pt>
                <c:pt idx="95">
                  <c:v>56500</c:v>
                </c:pt>
                <c:pt idx="96">
                  <c:v>61500</c:v>
                </c:pt>
                <c:pt idx="97">
                  <c:v>61500</c:v>
                </c:pt>
                <c:pt idx="98">
                  <c:v>61500</c:v>
                </c:pt>
                <c:pt idx="99">
                  <c:v>61500</c:v>
                </c:pt>
                <c:pt idx="100">
                  <c:v>61500</c:v>
                </c:pt>
                <c:pt idx="101">
                  <c:v>61500</c:v>
                </c:pt>
                <c:pt idx="102">
                  <c:v>61500</c:v>
                </c:pt>
                <c:pt idx="103">
                  <c:v>61500</c:v>
                </c:pt>
                <c:pt idx="104">
                  <c:v>61500</c:v>
                </c:pt>
                <c:pt idx="105">
                  <c:v>61500</c:v>
                </c:pt>
                <c:pt idx="106">
                  <c:v>61500</c:v>
                </c:pt>
                <c:pt idx="107">
                  <c:v>61500</c:v>
                </c:pt>
                <c:pt idx="108">
                  <c:v>61500</c:v>
                </c:pt>
                <c:pt idx="109">
                  <c:v>61500</c:v>
                </c:pt>
                <c:pt idx="110">
                  <c:v>62500</c:v>
                </c:pt>
                <c:pt idx="111">
                  <c:v>62500</c:v>
                </c:pt>
                <c:pt idx="112">
                  <c:v>62500</c:v>
                </c:pt>
                <c:pt idx="113">
                  <c:v>62500</c:v>
                </c:pt>
                <c:pt idx="114">
                  <c:v>62500</c:v>
                </c:pt>
                <c:pt idx="115">
                  <c:v>62500</c:v>
                </c:pt>
                <c:pt idx="116">
                  <c:v>62500</c:v>
                </c:pt>
                <c:pt idx="117">
                  <c:v>62500</c:v>
                </c:pt>
                <c:pt idx="118">
                  <c:v>62500</c:v>
                </c:pt>
                <c:pt idx="119">
                  <c:v>62500</c:v>
                </c:pt>
                <c:pt idx="120">
                  <c:v>62500</c:v>
                </c:pt>
                <c:pt idx="121">
                  <c:v>62500</c:v>
                </c:pt>
                <c:pt idx="122">
                  <c:v>62500</c:v>
                </c:pt>
                <c:pt idx="123">
                  <c:v>62500</c:v>
                </c:pt>
                <c:pt idx="124">
                  <c:v>62500</c:v>
                </c:pt>
                <c:pt idx="125">
                  <c:v>62500</c:v>
                </c:pt>
                <c:pt idx="126">
                  <c:v>62500</c:v>
                </c:pt>
                <c:pt idx="127">
                  <c:v>62500</c:v>
                </c:pt>
                <c:pt idx="128">
                  <c:v>61500</c:v>
                </c:pt>
                <c:pt idx="129">
                  <c:v>61500</c:v>
                </c:pt>
                <c:pt idx="130">
                  <c:v>61500</c:v>
                </c:pt>
                <c:pt idx="131">
                  <c:v>61500</c:v>
                </c:pt>
                <c:pt idx="132">
                  <c:v>61500</c:v>
                </c:pt>
                <c:pt idx="133">
                  <c:v>61500</c:v>
                </c:pt>
                <c:pt idx="134">
                  <c:v>61500</c:v>
                </c:pt>
                <c:pt idx="135">
                  <c:v>61500</c:v>
                </c:pt>
                <c:pt idx="136">
                  <c:v>61500</c:v>
                </c:pt>
                <c:pt idx="137">
                  <c:v>61500</c:v>
                </c:pt>
                <c:pt idx="138">
                  <c:v>61500</c:v>
                </c:pt>
                <c:pt idx="139">
                  <c:v>61500</c:v>
                </c:pt>
                <c:pt idx="140">
                  <c:v>61500</c:v>
                </c:pt>
                <c:pt idx="141">
                  <c:v>61500</c:v>
                </c:pt>
                <c:pt idx="142">
                  <c:v>61500</c:v>
                </c:pt>
                <c:pt idx="143">
                  <c:v>61500</c:v>
                </c:pt>
                <c:pt idx="144">
                  <c:v>61500</c:v>
                </c:pt>
                <c:pt idx="145">
                  <c:v>61500</c:v>
                </c:pt>
                <c:pt idx="146">
                  <c:v>61500</c:v>
                </c:pt>
                <c:pt idx="147">
                  <c:v>61500</c:v>
                </c:pt>
                <c:pt idx="148">
                  <c:v>61500</c:v>
                </c:pt>
                <c:pt idx="149">
                  <c:v>61500</c:v>
                </c:pt>
                <c:pt idx="150">
                  <c:v>61500</c:v>
                </c:pt>
                <c:pt idx="151">
                  <c:v>61500</c:v>
                </c:pt>
                <c:pt idx="152">
                  <c:v>61500</c:v>
                </c:pt>
                <c:pt idx="153">
                  <c:v>61500</c:v>
                </c:pt>
                <c:pt idx="154">
                  <c:v>61500</c:v>
                </c:pt>
                <c:pt idx="155">
                  <c:v>61000</c:v>
                </c:pt>
                <c:pt idx="156">
                  <c:v>61000</c:v>
                </c:pt>
                <c:pt idx="157">
                  <c:v>61000</c:v>
                </c:pt>
                <c:pt idx="158">
                  <c:v>61000</c:v>
                </c:pt>
                <c:pt idx="159">
                  <c:v>61000</c:v>
                </c:pt>
                <c:pt idx="160">
                  <c:v>61000</c:v>
                </c:pt>
                <c:pt idx="161">
                  <c:v>61000</c:v>
                </c:pt>
                <c:pt idx="162">
                  <c:v>61000</c:v>
                </c:pt>
                <c:pt idx="163">
                  <c:v>60700</c:v>
                </c:pt>
                <c:pt idx="164">
                  <c:v>60700</c:v>
                </c:pt>
                <c:pt idx="165">
                  <c:v>60700</c:v>
                </c:pt>
                <c:pt idx="166">
                  <c:v>60700</c:v>
                </c:pt>
                <c:pt idx="167">
                  <c:v>60700</c:v>
                </c:pt>
                <c:pt idx="168">
                  <c:v>60700</c:v>
                </c:pt>
                <c:pt idx="169">
                  <c:v>60700</c:v>
                </c:pt>
                <c:pt idx="170">
                  <c:v>60500</c:v>
                </c:pt>
                <c:pt idx="171">
                  <c:v>60500</c:v>
                </c:pt>
                <c:pt idx="172">
                  <c:v>60500</c:v>
                </c:pt>
                <c:pt idx="173">
                  <c:v>60500</c:v>
                </c:pt>
                <c:pt idx="174">
                  <c:v>60500</c:v>
                </c:pt>
                <c:pt idx="175">
                  <c:v>60500</c:v>
                </c:pt>
                <c:pt idx="176">
                  <c:v>60500</c:v>
                </c:pt>
                <c:pt idx="177">
                  <c:v>60500</c:v>
                </c:pt>
                <c:pt idx="178">
                  <c:v>60500</c:v>
                </c:pt>
                <c:pt idx="179">
                  <c:v>60500</c:v>
                </c:pt>
                <c:pt idx="180">
                  <c:v>60500</c:v>
                </c:pt>
                <c:pt idx="181">
                  <c:v>60500</c:v>
                </c:pt>
                <c:pt idx="182">
                  <c:v>60500</c:v>
                </c:pt>
                <c:pt idx="183">
                  <c:v>60500</c:v>
                </c:pt>
                <c:pt idx="184">
                  <c:v>61500</c:v>
                </c:pt>
                <c:pt idx="185">
                  <c:v>61500</c:v>
                </c:pt>
                <c:pt idx="186">
                  <c:v>61500</c:v>
                </c:pt>
                <c:pt idx="187">
                  <c:v>61500</c:v>
                </c:pt>
                <c:pt idx="188">
                  <c:v>61500</c:v>
                </c:pt>
                <c:pt idx="189">
                  <c:v>61500</c:v>
                </c:pt>
                <c:pt idx="190">
                  <c:v>61500</c:v>
                </c:pt>
                <c:pt idx="191">
                  <c:v>62500</c:v>
                </c:pt>
                <c:pt idx="192">
                  <c:v>62500</c:v>
                </c:pt>
                <c:pt idx="193">
                  <c:v>62500</c:v>
                </c:pt>
                <c:pt idx="194">
                  <c:v>62500</c:v>
                </c:pt>
                <c:pt idx="195">
                  <c:v>62500</c:v>
                </c:pt>
                <c:pt idx="196">
                  <c:v>62500</c:v>
                </c:pt>
                <c:pt idx="197">
                  <c:v>62500</c:v>
                </c:pt>
                <c:pt idx="198">
                  <c:v>63000</c:v>
                </c:pt>
                <c:pt idx="199">
                  <c:v>63000</c:v>
                </c:pt>
                <c:pt idx="200">
                  <c:v>63000</c:v>
                </c:pt>
                <c:pt idx="201">
                  <c:v>63000</c:v>
                </c:pt>
                <c:pt idx="202">
                  <c:v>63000</c:v>
                </c:pt>
                <c:pt idx="203">
                  <c:v>63000</c:v>
                </c:pt>
                <c:pt idx="204">
                  <c:v>63000</c:v>
                </c:pt>
                <c:pt idx="205">
                  <c:v>63500</c:v>
                </c:pt>
                <c:pt idx="206">
                  <c:v>63500</c:v>
                </c:pt>
                <c:pt idx="207">
                  <c:v>63500</c:v>
                </c:pt>
                <c:pt idx="208">
                  <c:v>63500</c:v>
                </c:pt>
                <c:pt idx="209">
                  <c:v>63500</c:v>
                </c:pt>
                <c:pt idx="210">
                  <c:v>63500</c:v>
                </c:pt>
                <c:pt idx="211">
                  <c:v>63500</c:v>
                </c:pt>
                <c:pt idx="212">
                  <c:v>64500</c:v>
                </c:pt>
                <c:pt idx="213">
                  <c:v>64500</c:v>
                </c:pt>
                <c:pt idx="214">
                  <c:v>64500</c:v>
                </c:pt>
                <c:pt idx="215">
                  <c:v>64500</c:v>
                </c:pt>
                <c:pt idx="216">
                  <c:v>64500</c:v>
                </c:pt>
                <c:pt idx="217">
                  <c:v>64500</c:v>
                </c:pt>
                <c:pt idx="218">
                  <c:v>64500</c:v>
                </c:pt>
                <c:pt idx="219">
                  <c:v>65000</c:v>
                </c:pt>
                <c:pt idx="220">
                  <c:v>65000</c:v>
                </c:pt>
                <c:pt idx="221">
                  <c:v>65000</c:v>
                </c:pt>
                <c:pt idx="222">
                  <c:v>65000</c:v>
                </c:pt>
                <c:pt idx="223">
                  <c:v>65000</c:v>
                </c:pt>
                <c:pt idx="224">
                  <c:v>65000</c:v>
                </c:pt>
                <c:pt idx="225">
                  <c:v>65000</c:v>
                </c:pt>
                <c:pt idx="226">
                  <c:v>65000</c:v>
                </c:pt>
                <c:pt idx="227">
                  <c:v>66000</c:v>
                </c:pt>
                <c:pt idx="228">
                  <c:v>66000</c:v>
                </c:pt>
                <c:pt idx="229">
                  <c:v>66000</c:v>
                </c:pt>
                <c:pt idx="230">
                  <c:v>66000</c:v>
                </c:pt>
                <c:pt idx="231">
                  <c:v>66000</c:v>
                </c:pt>
                <c:pt idx="232">
                  <c:v>66000</c:v>
                </c:pt>
                <c:pt idx="233">
                  <c:v>66000</c:v>
                </c:pt>
                <c:pt idx="234">
                  <c:v>67000</c:v>
                </c:pt>
                <c:pt idx="235">
                  <c:v>67000</c:v>
                </c:pt>
                <c:pt idx="236">
                  <c:v>67000</c:v>
                </c:pt>
                <c:pt idx="237">
                  <c:v>67000</c:v>
                </c:pt>
                <c:pt idx="238">
                  <c:v>67000</c:v>
                </c:pt>
                <c:pt idx="239">
                  <c:v>67000</c:v>
                </c:pt>
                <c:pt idx="240">
                  <c:v>68000</c:v>
                </c:pt>
                <c:pt idx="241">
                  <c:v>68000</c:v>
                </c:pt>
                <c:pt idx="242">
                  <c:v>69000</c:v>
                </c:pt>
                <c:pt idx="243">
                  <c:v>69000</c:v>
                </c:pt>
                <c:pt idx="244">
                  <c:v>69000</c:v>
                </c:pt>
                <c:pt idx="245">
                  <c:v>69000</c:v>
                </c:pt>
                <c:pt idx="246">
                  <c:v>69000</c:v>
                </c:pt>
                <c:pt idx="247">
                  <c:v>76000</c:v>
                </c:pt>
                <c:pt idx="248">
                  <c:v>76000</c:v>
                </c:pt>
                <c:pt idx="249">
                  <c:v>76000</c:v>
                </c:pt>
                <c:pt idx="250">
                  <c:v>76000</c:v>
                </c:pt>
                <c:pt idx="251">
                  <c:v>76000</c:v>
                </c:pt>
                <c:pt idx="252">
                  <c:v>76000</c:v>
                </c:pt>
                <c:pt idx="253">
                  <c:v>76000</c:v>
                </c:pt>
                <c:pt idx="254">
                  <c:v>78000</c:v>
                </c:pt>
                <c:pt idx="255">
                  <c:v>78000</c:v>
                </c:pt>
                <c:pt idx="256">
                  <c:v>80000</c:v>
                </c:pt>
                <c:pt idx="257">
                  <c:v>80000</c:v>
                </c:pt>
                <c:pt idx="258">
                  <c:v>80000</c:v>
                </c:pt>
                <c:pt idx="259">
                  <c:v>80000</c:v>
                </c:pt>
                <c:pt idx="260">
                  <c:v>80000</c:v>
                </c:pt>
                <c:pt idx="261">
                  <c:v>80000</c:v>
                </c:pt>
                <c:pt idx="262">
                  <c:v>80000</c:v>
                </c:pt>
                <c:pt idx="263">
                  <c:v>80000</c:v>
                </c:pt>
                <c:pt idx="264">
                  <c:v>80000</c:v>
                </c:pt>
                <c:pt idx="265">
                  <c:v>80000</c:v>
                </c:pt>
                <c:pt idx="266">
                  <c:v>80000</c:v>
                </c:pt>
                <c:pt idx="267">
                  <c:v>80000</c:v>
                </c:pt>
                <c:pt idx="268">
                  <c:v>81000</c:v>
                </c:pt>
                <c:pt idx="269">
                  <c:v>81000</c:v>
                </c:pt>
                <c:pt idx="270">
                  <c:v>81000</c:v>
                </c:pt>
                <c:pt idx="271">
                  <c:v>81000</c:v>
                </c:pt>
                <c:pt idx="272">
                  <c:v>81000</c:v>
                </c:pt>
                <c:pt idx="273">
                  <c:v>81000</c:v>
                </c:pt>
                <c:pt idx="274">
                  <c:v>81000</c:v>
                </c:pt>
                <c:pt idx="275">
                  <c:v>81000</c:v>
                </c:pt>
                <c:pt idx="276">
                  <c:v>81000</c:v>
                </c:pt>
                <c:pt idx="277">
                  <c:v>81000</c:v>
                </c:pt>
                <c:pt idx="278">
                  <c:v>81000</c:v>
                </c:pt>
                <c:pt idx="279">
                  <c:v>81000</c:v>
                </c:pt>
                <c:pt idx="280">
                  <c:v>81000</c:v>
                </c:pt>
                <c:pt idx="281">
                  <c:v>81000</c:v>
                </c:pt>
                <c:pt idx="282">
                  <c:v>81000</c:v>
                </c:pt>
                <c:pt idx="283">
                  <c:v>81000</c:v>
                </c:pt>
                <c:pt idx="284">
                  <c:v>81000</c:v>
                </c:pt>
                <c:pt idx="285">
                  <c:v>81000</c:v>
                </c:pt>
                <c:pt idx="286">
                  <c:v>81000</c:v>
                </c:pt>
                <c:pt idx="287">
                  <c:v>81000</c:v>
                </c:pt>
                <c:pt idx="288">
                  <c:v>81000</c:v>
                </c:pt>
                <c:pt idx="289">
                  <c:v>81000</c:v>
                </c:pt>
                <c:pt idx="290">
                  <c:v>81000</c:v>
                </c:pt>
                <c:pt idx="291">
                  <c:v>81000</c:v>
                </c:pt>
                <c:pt idx="292">
                  <c:v>81000</c:v>
                </c:pt>
                <c:pt idx="293">
                  <c:v>81000</c:v>
                </c:pt>
                <c:pt idx="294">
                  <c:v>81000</c:v>
                </c:pt>
                <c:pt idx="295">
                  <c:v>81000</c:v>
                </c:pt>
                <c:pt idx="296">
                  <c:v>81000</c:v>
                </c:pt>
                <c:pt idx="297">
                  <c:v>81000</c:v>
                </c:pt>
                <c:pt idx="298">
                  <c:v>81000</c:v>
                </c:pt>
                <c:pt idx="299">
                  <c:v>81000</c:v>
                </c:pt>
                <c:pt idx="300">
                  <c:v>81000</c:v>
                </c:pt>
                <c:pt idx="301">
                  <c:v>81000</c:v>
                </c:pt>
                <c:pt idx="302">
                  <c:v>81000</c:v>
                </c:pt>
                <c:pt idx="303">
                  <c:v>80000</c:v>
                </c:pt>
                <c:pt idx="304">
                  <c:v>80000</c:v>
                </c:pt>
                <c:pt idx="305">
                  <c:v>80000</c:v>
                </c:pt>
                <c:pt idx="306">
                  <c:v>80000</c:v>
                </c:pt>
                <c:pt idx="307">
                  <c:v>80000</c:v>
                </c:pt>
                <c:pt idx="308">
                  <c:v>80000</c:v>
                </c:pt>
                <c:pt idx="309">
                  <c:v>80000</c:v>
                </c:pt>
                <c:pt idx="310">
                  <c:v>74000</c:v>
                </c:pt>
                <c:pt idx="311">
                  <c:v>74000</c:v>
                </c:pt>
                <c:pt idx="312">
                  <c:v>74000</c:v>
                </c:pt>
                <c:pt idx="313">
                  <c:v>74000</c:v>
                </c:pt>
                <c:pt idx="314">
                  <c:v>74000</c:v>
                </c:pt>
                <c:pt idx="315">
                  <c:v>74000</c:v>
                </c:pt>
                <c:pt idx="316">
                  <c:v>74000</c:v>
                </c:pt>
                <c:pt idx="317">
                  <c:v>73000</c:v>
                </c:pt>
                <c:pt idx="318">
                  <c:v>73000</c:v>
                </c:pt>
                <c:pt idx="319">
                  <c:v>73000</c:v>
                </c:pt>
                <c:pt idx="320">
                  <c:v>73000</c:v>
                </c:pt>
                <c:pt idx="321">
                  <c:v>73000</c:v>
                </c:pt>
                <c:pt idx="322">
                  <c:v>73000</c:v>
                </c:pt>
                <c:pt idx="323">
                  <c:v>73000</c:v>
                </c:pt>
                <c:pt idx="324">
                  <c:v>73000</c:v>
                </c:pt>
                <c:pt idx="325">
                  <c:v>72000</c:v>
                </c:pt>
                <c:pt idx="326">
                  <c:v>72000</c:v>
                </c:pt>
                <c:pt idx="327">
                  <c:v>72000</c:v>
                </c:pt>
                <c:pt idx="328">
                  <c:v>72000</c:v>
                </c:pt>
                <c:pt idx="329">
                  <c:v>72000</c:v>
                </c:pt>
                <c:pt idx="330">
                  <c:v>72000</c:v>
                </c:pt>
                <c:pt idx="331">
                  <c:v>72000</c:v>
                </c:pt>
                <c:pt idx="332">
                  <c:v>72000</c:v>
                </c:pt>
                <c:pt idx="333">
                  <c:v>71000</c:v>
                </c:pt>
                <c:pt idx="334">
                  <c:v>71000</c:v>
                </c:pt>
                <c:pt idx="335">
                  <c:v>71000</c:v>
                </c:pt>
                <c:pt idx="336">
                  <c:v>71000</c:v>
                </c:pt>
                <c:pt idx="337">
                  <c:v>71000</c:v>
                </c:pt>
                <c:pt idx="338">
                  <c:v>70000</c:v>
                </c:pt>
                <c:pt idx="339">
                  <c:v>70000</c:v>
                </c:pt>
                <c:pt idx="340">
                  <c:v>70000</c:v>
                </c:pt>
                <c:pt idx="341">
                  <c:v>70000</c:v>
                </c:pt>
                <c:pt idx="342">
                  <c:v>70000</c:v>
                </c:pt>
                <c:pt idx="343">
                  <c:v>70000</c:v>
                </c:pt>
                <c:pt idx="344">
                  <c:v>70000</c:v>
                </c:pt>
                <c:pt idx="345">
                  <c:v>69000</c:v>
                </c:pt>
                <c:pt idx="346">
                  <c:v>69000</c:v>
                </c:pt>
                <c:pt idx="347">
                  <c:v>69000</c:v>
                </c:pt>
                <c:pt idx="348">
                  <c:v>69000</c:v>
                </c:pt>
                <c:pt idx="349">
                  <c:v>69000</c:v>
                </c:pt>
                <c:pt idx="350">
                  <c:v>69000</c:v>
                </c:pt>
                <c:pt idx="351">
                  <c:v>69000</c:v>
                </c:pt>
                <c:pt idx="352">
                  <c:v>69000</c:v>
                </c:pt>
                <c:pt idx="353">
                  <c:v>66000</c:v>
                </c:pt>
                <c:pt idx="354">
                  <c:v>66000</c:v>
                </c:pt>
                <c:pt idx="355">
                  <c:v>66000</c:v>
                </c:pt>
                <c:pt idx="356">
                  <c:v>66000</c:v>
                </c:pt>
                <c:pt idx="357">
                  <c:v>66000</c:v>
                </c:pt>
                <c:pt idx="358">
                  <c:v>66000</c:v>
                </c:pt>
                <c:pt idx="359">
                  <c:v>66000</c:v>
                </c:pt>
                <c:pt idx="360">
                  <c:v>66000</c:v>
                </c:pt>
                <c:pt idx="361">
                  <c:v>66000</c:v>
                </c:pt>
                <c:pt idx="362">
                  <c:v>66000</c:v>
                </c:pt>
                <c:pt idx="363">
                  <c:v>66000</c:v>
                </c:pt>
                <c:pt idx="364">
                  <c:v>66000</c:v>
                </c:pt>
                <c:pt idx="365">
                  <c:v>66000</c:v>
                </c:pt>
                <c:pt idx="366">
                  <c:v>66000</c:v>
                </c:pt>
              </c:numCache>
            </c:numRef>
          </c:val>
          <c:smooth val="0"/>
          <c:extLst>
            <c:ext xmlns:c16="http://schemas.microsoft.com/office/drawing/2014/chart" uri="{C3380CC4-5D6E-409C-BE32-E72D297353CC}">
              <c16:uniqueId val="{00000000-14AF-4B78-B36B-546D6B80E89B}"/>
            </c:ext>
          </c:extLst>
        </c:ser>
        <c:ser>
          <c:idx val="1"/>
          <c:order val="1"/>
          <c:tx>
            <c:strRef>
              <c:f>多晶硅价格图表!$AE$9</c:f>
              <c:strCache>
                <c:ptCount val="1"/>
                <c:pt idx="0">
                  <c:v>致密料</c:v>
                </c:pt>
              </c:strCache>
            </c:strRef>
          </c:tx>
          <c:spPr>
            <a:ln w="28575" cap="rnd">
              <a:solidFill>
                <a:schemeClr val="bg1">
                  <a:lumMod val="50000"/>
                </a:schemeClr>
              </a:solidFill>
              <a:round/>
            </a:ln>
            <a:effectLst/>
          </c:spPr>
          <c:marker>
            <c:symbol val="none"/>
          </c:marker>
          <c:cat>
            <c:numRef>
              <c:f>多晶硅价格图表!$AC$10:$AC$376</c:f>
              <c:numCache>
                <c:formatCode>m/d/yyyy</c:formatCode>
                <c:ptCount val="367"/>
                <c:pt idx="0">
                  <c:v>45478</c:v>
                </c:pt>
                <c:pt idx="1">
                  <c:v>45477</c:v>
                </c:pt>
                <c:pt idx="2">
                  <c:v>45476</c:v>
                </c:pt>
                <c:pt idx="3">
                  <c:v>45475</c:v>
                </c:pt>
                <c:pt idx="4">
                  <c:v>45474</c:v>
                </c:pt>
                <c:pt idx="5">
                  <c:v>45473</c:v>
                </c:pt>
                <c:pt idx="6">
                  <c:v>45472</c:v>
                </c:pt>
                <c:pt idx="7">
                  <c:v>45471</c:v>
                </c:pt>
                <c:pt idx="8">
                  <c:v>45470</c:v>
                </c:pt>
                <c:pt idx="9">
                  <c:v>45469</c:v>
                </c:pt>
                <c:pt idx="10">
                  <c:v>45468</c:v>
                </c:pt>
                <c:pt idx="11">
                  <c:v>45467</c:v>
                </c:pt>
                <c:pt idx="12">
                  <c:v>45466</c:v>
                </c:pt>
                <c:pt idx="13">
                  <c:v>45465</c:v>
                </c:pt>
                <c:pt idx="14">
                  <c:v>45464</c:v>
                </c:pt>
                <c:pt idx="15">
                  <c:v>45463</c:v>
                </c:pt>
                <c:pt idx="16">
                  <c:v>45462</c:v>
                </c:pt>
                <c:pt idx="17">
                  <c:v>45461</c:v>
                </c:pt>
                <c:pt idx="18">
                  <c:v>45460</c:v>
                </c:pt>
                <c:pt idx="19">
                  <c:v>45459</c:v>
                </c:pt>
                <c:pt idx="20">
                  <c:v>45458</c:v>
                </c:pt>
                <c:pt idx="21">
                  <c:v>45457</c:v>
                </c:pt>
                <c:pt idx="22">
                  <c:v>45456</c:v>
                </c:pt>
                <c:pt idx="23">
                  <c:v>45455</c:v>
                </c:pt>
                <c:pt idx="24">
                  <c:v>45454</c:v>
                </c:pt>
                <c:pt idx="25">
                  <c:v>45453</c:v>
                </c:pt>
                <c:pt idx="26">
                  <c:v>45452</c:v>
                </c:pt>
                <c:pt idx="27">
                  <c:v>45451</c:v>
                </c:pt>
                <c:pt idx="28">
                  <c:v>45450</c:v>
                </c:pt>
                <c:pt idx="29">
                  <c:v>45449</c:v>
                </c:pt>
                <c:pt idx="30">
                  <c:v>45448</c:v>
                </c:pt>
                <c:pt idx="31">
                  <c:v>45447</c:v>
                </c:pt>
                <c:pt idx="32">
                  <c:v>45446</c:v>
                </c:pt>
                <c:pt idx="33">
                  <c:v>45445</c:v>
                </c:pt>
                <c:pt idx="34">
                  <c:v>45444</c:v>
                </c:pt>
                <c:pt idx="35">
                  <c:v>45443</c:v>
                </c:pt>
                <c:pt idx="36">
                  <c:v>45442</c:v>
                </c:pt>
                <c:pt idx="37">
                  <c:v>45441</c:v>
                </c:pt>
                <c:pt idx="38">
                  <c:v>45440</c:v>
                </c:pt>
                <c:pt idx="39">
                  <c:v>45439</c:v>
                </c:pt>
                <c:pt idx="40">
                  <c:v>45438</c:v>
                </c:pt>
                <c:pt idx="41">
                  <c:v>45437</c:v>
                </c:pt>
                <c:pt idx="42">
                  <c:v>45436</c:v>
                </c:pt>
                <c:pt idx="43">
                  <c:v>45435</c:v>
                </c:pt>
                <c:pt idx="44">
                  <c:v>45434</c:v>
                </c:pt>
                <c:pt idx="45">
                  <c:v>45433</c:v>
                </c:pt>
                <c:pt idx="46">
                  <c:v>45432</c:v>
                </c:pt>
                <c:pt idx="47">
                  <c:v>45431</c:v>
                </c:pt>
                <c:pt idx="48">
                  <c:v>45430</c:v>
                </c:pt>
                <c:pt idx="49">
                  <c:v>45429</c:v>
                </c:pt>
                <c:pt idx="50">
                  <c:v>45428</c:v>
                </c:pt>
                <c:pt idx="51">
                  <c:v>45427</c:v>
                </c:pt>
                <c:pt idx="52">
                  <c:v>45426</c:v>
                </c:pt>
                <c:pt idx="53">
                  <c:v>45425</c:v>
                </c:pt>
                <c:pt idx="54">
                  <c:v>45424</c:v>
                </c:pt>
                <c:pt idx="55">
                  <c:v>45423</c:v>
                </c:pt>
                <c:pt idx="56">
                  <c:v>45422</c:v>
                </c:pt>
                <c:pt idx="57">
                  <c:v>45421</c:v>
                </c:pt>
                <c:pt idx="58">
                  <c:v>45420</c:v>
                </c:pt>
                <c:pt idx="59">
                  <c:v>45419</c:v>
                </c:pt>
                <c:pt idx="60">
                  <c:v>45418</c:v>
                </c:pt>
                <c:pt idx="61">
                  <c:v>45417</c:v>
                </c:pt>
                <c:pt idx="62">
                  <c:v>45416</c:v>
                </c:pt>
                <c:pt idx="63">
                  <c:v>45415</c:v>
                </c:pt>
                <c:pt idx="64">
                  <c:v>45414</c:v>
                </c:pt>
                <c:pt idx="65">
                  <c:v>45413</c:v>
                </c:pt>
                <c:pt idx="66">
                  <c:v>45412</c:v>
                </c:pt>
                <c:pt idx="67">
                  <c:v>45411</c:v>
                </c:pt>
                <c:pt idx="68">
                  <c:v>45410</c:v>
                </c:pt>
                <c:pt idx="69">
                  <c:v>45409</c:v>
                </c:pt>
                <c:pt idx="70">
                  <c:v>45408</c:v>
                </c:pt>
                <c:pt idx="71">
                  <c:v>45407</c:v>
                </c:pt>
                <c:pt idx="72">
                  <c:v>45406</c:v>
                </c:pt>
                <c:pt idx="73">
                  <c:v>45405</c:v>
                </c:pt>
                <c:pt idx="74">
                  <c:v>45404</c:v>
                </c:pt>
                <c:pt idx="75">
                  <c:v>45403</c:v>
                </c:pt>
                <c:pt idx="76">
                  <c:v>45402</c:v>
                </c:pt>
                <c:pt idx="77">
                  <c:v>45401</c:v>
                </c:pt>
                <c:pt idx="78">
                  <c:v>45400</c:v>
                </c:pt>
                <c:pt idx="79">
                  <c:v>45399</c:v>
                </c:pt>
                <c:pt idx="80">
                  <c:v>45398</c:v>
                </c:pt>
                <c:pt idx="81">
                  <c:v>45397</c:v>
                </c:pt>
                <c:pt idx="82">
                  <c:v>45396</c:v>
                </c:pt>
                <c:pt idx="83">
                  <c:v>45395</c:v>
                </c:pt>
                <c:pt idx="84">
                  <c:v>45394</c:v>
                </c:pt>
                <c:pt idx="85">
                  <c:v>45393</c:v>
                </c:pt>
                <c:pt idx="86">
                  <c:v>45392</c:v>
                </c:pt>
                <c:pt idx="87">
                  <c:v>45391</c:v>
                </c:pt>
                <c:pt idx="88">
                  <c:v>45390</c:v>
                </c:pt>
                <c:pt idx="89">
                  <c:v>45389</c:v>
                </c:pt>
                <c:pt idx="90">
                  <c:v>45388</c:v>
                </c:pt>
                <c:pt idx="91">
                  <c:v>45387</c:v>
                </c:pt>
                <c:pt idx="92">
                  <c:v>45386</c:v>
                </c:pt>
                <c:pt idx="93">
                  <c:v>45385</c:v>
                </c:pt>
                <c:pt idx="94">
                  <c:v>45384</c:v>
                </c:pt>
                <c:pt idx="95">
                  <c:v>45383</c:v>
                </c:pt>
                <c:pt idx="96">
                  <c:v>45382</c:v>
                </c:pt>
                <c:pt idx="97">
                  <c:v>45381</c:v>
                </c:pt>
                <c:pt idx="98">
                  <c:v>45380</c:v>
                </c:pt>
                <c:pt idx="99">
                  <c:v>45379</c:v>
                </c:pt>
                <c:pt idx="100">
                  <c:v>45378</c:v>
                </c:pt>
                <c:pt idx="101">
                  <c:v>45377</c:v>
                </c:pt>
                <c:pt idx="102">
                  <c:v>45376</c:v>
                </c:pt>
                <c:pt idx="103">
                  <c:v>45375</c:v>
                </c:pt>
                <c:pt idx="104">
                  <c:v>45374</c:v>
                </c:pt>
                <c:pt idx="105">
                  <c:v>45373</c:v>
                </c:pt>
                <c:pt idx="106">
                  <c:v>45372</c:v>
                </c:pt>
                <c:pt idx="107">
                  <c:v>45371</c:v>
                </c:pt>
                <c:pt idx="108">
                  <c:v>45370</c:v>
                </c:pt>
                <c:pt idx="109">
                  <c:v>45369</c:v>
                </c:pt>
                <c:pt idx="110">
                  <c:v>45368</c:v>
                </c:pt>
                <c:pt idx="111">
                  <c:v>45367</c:v>
                </c:pt>
                <c:pt idx="112">
                  <c:v>45366</c:v>
                </c:pt>
                <c:pt idx="113">
                  <c:v>45365</c:v>
                </c:pt>
                <c:pt idx="114">
                  <c:v>45364</c:v>
                </c:pt>
                <c:pt idx="115">
                  <c:v>45363</c:v>
                </c:pt>
                <c:pt idx="116">
                  <c:v>45362</c:v>
                </c:pt>
                <c:pt idx="117">
                  <c:v>45361</c:v>
                </c:pt>
                <c:pt idx="118">
                  <c:v>45360</c:v>
                </c:pt>
                <c:pt idx="119">
                  <c:v>45359</c:v>
                </c:pt>
                <c:pt idx="120">
                  <c:v>45358</c:v>
                </c:pt>
                <c:pt idx="121">
                  <c:v>45357</c:v>
                </c:pt>
                <c:pt idx="122">
                  <c:v>45356</c:v>
                </c:pt>
                <c:pt idx="123">
                  <c:v>45355</c:v>
                </c:pt>
                <c:pt idx="124">
                  <c:v>45354</c:v>
                </c:pt>
                <c:pt idx="125">
                  <c:v>45353</c:v>
                </c:pt>
                <c:pt idx="126">
                  <c:v>45352</c:v>
                </c:pt>
                <c:pt idx="127">
                  <c:v>45351</c:v>
                </c:pt>
                <c:pt idx="128">
                  <c:v>45350</c:v>
                </c:pt>
                <c:pt idx="129">
                  <c:v>45349</c:v>
                </c:pt>
                <c:pt idx="130">
                  <c:v>45348</c:v>
                </c:pt>
                <c:pt idx="131">
                  <c:v>45347</c:v>
                </c:pt>
                <c:pt idx="132">
                  <c:v>45346</c:v>
                </c:pt>
                <c:pt idx="133">
                  <c:v>45345</c:v>
                </c:pt>
                <c:pt idx="134">
                  <c:v>45344</c:v>
                </c:pt>
                <c:pt idx="135">
                  <c:v>45343</c:v>
                </c:pt>
                <c:pt idx="136">
                  <c:v>45342</c:v>
                </c:pt>
                <c:pt idx="137">
                  <c:v>45341</c:v>
                </c:pt>
                <c:pt idx="138">
                  <c:v>45340</c:v>
                </c:pt>
                <c:pt idx="139">
                  <c:v>45339</c:v>
                </c:pt>
                <c:pt idx="140">
                  <c:v>45338</c:v>
                </c:pt>
                <c:pt idx="141">
                  <c:v>45337</c:v>
                </c:pt>
                <c:pt idx="142">
                  <c:v>45336</c:v>
                </c:pt>
                <c:pt idx="143">
                  <c:v>45335</c:v>
                </c:pt>
                <c:pt idx="144">
                  <c:v>45334</c:v>
                </c:pt>
                <c:pt idx="145">
                  <c:v>45333</c:v>
                </c:pt>
                <c:pt idx="146">
                  <c:v>45332</c:v>
                </c:pt>
                <c:pt idx="147">
                  <c:v>45331</c:v>
                </c:pt>
                <c:pt idx="148">
                  <c:v>45330</c:v>
                </c:pt>
                <c:pt idx="149">
                  <c:v>45329</c:v>
                </c:pt>
                <c:pt idx="150">
                  <c:v>45328</c:v>
                </c:pt>
                <c:pt idx="151">
                  <c:v>45327</c:v>
                </c:pt>
                <c:pt idx="152">
                  <c:v>45326</c:v>
                </c:pt>
                <c:pt idx="153">
                  <c:v>45325</c:v>
                </c:pt>
                <c:pt idx="154">
                  <c:v>45324</c:v>
                </c:pt>
                <c:pt idx="155">
                  <c:v>45323</c:v>
                </c:pt>
                <c:pt idx="156">
                  <c:v>45322</c:v>
                </c:pt>
                <c:pt idx="157">
                  <c:v>45321</c:v>
                </c:pt>
                <c:pt idx="158">
                  <c:v>45320</c:v>
                </c:pt>
                <c:pt idx="159">
                  <c:v>45319</c:v>
                </c:pt>
                <c:pt idx="160">
                  <c:v>45318</c:v>
                </c:pt>
                <c:pt idx="161">
                  <c:v>45317</c:v>
                </c:pt>
                <c:pt idx="162">
                  <c:v>45316</c:v>
                </c:pt>
                <c:pt idx="163">
                  <c:v>45315</c:v>
                </c:pt>
                <c:pt idx="164">
                  <c:v>45314</c:v>
                </c:pt>
                <c:pt idx="165">
                  <c:v>45313</c:v>
                </c:pt>
                <c:pt idx="166">
                  <c:v>45312</c:v>
                </c:pt>
                <c:pt idx="167">
                  <c:v>45311</c:v>
                </c:pt>
                <c:pt idx="168">
                  <c:v>45310</c:v>
                </c:pt>
                <c:pt idx="169">
                  <c:v>45309</c:v>
                </c:pt>
                <c:pt idx="170">
                  <c:v>45308</c:v>
                </c:pt>
                <c:pt idx="171">
                  <c:v>45307</c:v>
                </c:pt>
                <c:pt idx="172">
                  <c:v>45306</c:v>
                </c:pt>
                <c:pt idx="173">
                  <c:v>45305</c:v>
                </c:pt>
                <c:pt idx="174">
                  <c:v>45304</c:v>
                </c:pt>
                <c:pt idx="175">
                  <c:v>45303</c:v>
                </c:pt>
                <c:pt idx="176">
                  <c:v>45302</c:v>
                </c:pt>
                <c:pt idx="177">
                  <c:v>45301</c:v>
                </c:pt>
                <c:pt idx="178">
                  <c:v>45300</c:v>
                </c:pt>
                <c:pt idx="179">
                  <c:v>45299</c:v>
                </c:pt>
                <c:pt idx="180">
                  <c:v>45298</c:v>
                </c:pt>
                <c:pt idx="181">
                  <c:v>45297</c:v>
                </c:pt>
                <c:pt idx="182">
                  <c:v>45296</c:v>
                </c:pt>
                <c:pt idx="183">
                  <c:v>45295</c:v>
                </c:pt>
                <c:pt idx="184">
                  <c:v>45294</c:v>
                </c:pt>
                <c:pt idx="185">
                  <c:v>45293</c:v>
                </c:pt>
                <c:pt idx="186">
                  <c:v>45292</c:v>
                </c:pt>
                <c:pt idx="187">
                  <c:v>45291</c:v>
                </c:pt>
                <c:pt idx="188">
                  <c:v>45290</c:v>
                </c:pt>
                <c:pt idx="189">
                  <c:v>45289</c:v>
                </c:pt>
                <c:pt idx="190">
                  <c:v>45288</c:v>
                </c:pt>
                <c:pt idx="191">
                  <c:v>45287</c:v>
                </c:pt>
                <c:pt idx="192">
                  <c:v>45286</c:v>
                </c:pt>
                <c:pt idx="193">
                  <c:v>45285</c:v>
                </c:pt>
                <c:pt idx="194">
                  <c:v>45284</c:v>
                </c:pt>
                <c:pt idx="195">
                  <c:v>45283</c:v>
                </c:pt>
                <c:pt idx="196">
                  <c:v>45282</c:v>
                </c:pt>
                <c:pt idx="197">
                  <c:v>45281</c:v>
                </c:pt>
                <c:pt idx="198">
                  <c:v>45280</c:v>
                </c:pt>
                <c:pt idx="199">
                  <c:v>45279</c:v>
                </c:pt>
                <c:pt idx="200">
                  <c:v>45278</c:v>
                </c:pt>
                <c:pt idx="201">
                  <c:v>45277</c:v>
                </c:pt>
                <c:pt idx="202">
                  <c:v>45276</c:v>
                </c:pt>
                <c:pt idx="203">
                  <c:v>45275</c:v>
                </c:pt>
                <c:pt idx="204">
                  <c:v>45274</c:v>
                </c:pt>
                <c:pt idx="205">
                  <c:v>45273</c:v>
                </c:pt>
                <c:pt idx="206">
                  <c:v>45272</c:v>
                </c:pt>
                <c:pt idx="207">
                  <c:v>45271</c:v>
                </c:pt>
                <c:pt idx="208">
                  <c:v>45270</c:v>
                </c:pt>
                <c:pt idx="209">
                  <c:v>45269</c:v>
                </c:pt>
                <c:pt idx="210">
                  <c:v>45268</c:v>
                </c:pt>
                <c:pt idx="211">
                  <c:v>45267</c:v>
                </c:pt>
                <c:pt idx="212">
                  <c:v>45266</c:v>
                </c:pt>
                <c:pt idx="213">
                  <c:v>45265</c:v>
                </c:pt>
                <c:pt idx="214">
                  <c:v>45264</c:v>
                </c:pt>
                <c:pt idx="215">
                  <c:v>45263</c:v>
                </c:pt>
                <c:pt idx="216">
                  <c:v>45262</c:v>
                </c:pt>
                <c:pt idx="217">
                  <c:v>45261</c:v>
                </c:pt>
                <c:pt idx="218">
                  <c:v>45260</c:v>
                </c:pt>
                <c:pt idx="219">
                  <c:v>45259</c:v>
                </c:pt>
                <c:pt idx="220">
                  <c:v>45258</c:v>
                </c:pt>
                <c:pt idx="221">
                  <c:v>45257</c:v>
                </c:pt>
                <c:pt idx="222">
                  <c:v>45256</c:v>
                </c:pt>
                <c:pt idx="223">
                  <c:v>45255</c:v>
                </c:pt>
                <c:pt idx="224">
                  <c:v>45254</c:v>
                </c:pt>
                <c:pt idx="225">
                  <c:v>45253</c:v>
                </c:pt>
                <c:pt idx="226">
                  <c:v>45252</c:v>
                </c:pt>
                <c:pt idx="227">
                  <c:v>45251</c:v>
                </c:pt>
                <c:pt idx="228">
                  <c:v>45250</c:v>
                </c:pt>
                <c:pt idx="229">
                  <c:v>45249</c:v>
                </c:pt>
                <c:pt idx="230">
                  <c:v>45248</c:v>
                </c:pt>
                <c:pt idx="231">
                  <c:v>45247</c:v>
                </c:pt>
                <c:pt idx="232">
                  <c:v>45246</c:v>
                </c:pt>
                <c:pt idx="233">
                  <c:v>45245</c:v>
                </c:pt>
                <c:pt idx="234">
                  <c:v>45244</c:v>
                </c:pt>
                <c:pt idx="235">
                  <c:v>45243</c:v>
                </c:pt>
                <c:pt idx="236">
                  <c:v>45242</c:v>
                </c:pt>
                <c:pt idx="237">
                  <c:v>45241</c:v>
                </c:pt>
                <c:pt idx="238">
                  <c:v>45240</c:v>
                </c:pt>
                <c:pt idx="239">
                  <c:v>45239</c:v>
                </c:pt>
                <c:pt idx="240">
                  <c:v>45238</c:v>
                </c:pt>
                <c:pt idx="241">
                  <c:v>45237</c:v>
                </c:pt>
                <c:pt idx="242">
                  <c:v>45236</c:v>
                </c:pt>
                <c:pt idx="243">
                  <c:v>45235</c:v>
                </c:pt>
                <c:pt idx="244">
                  <c:v>45234</c:v>
                </c:pt>
                <c:pt idx="245">
                  <c:v>45233</c:v>
                </c:pt>
                <c:pt idx="246">
                  <c:v>45232</c:v>
                </c:pt>
                <c:pt idx="247">
                  <c:v>45231</c:v>
                </c:pt>
                <c:pt idx="248">
                  <c:v>45230</c:v>
                </c:pt>
                <c:pt idx="249">
                  <c:v>45229</c:v>
                </c:pt>
                <c:pt idx="250">
                  <c:v>45228</c:v>
                </c:pt>
                <c:pt idx="251">
                  <c:v>45227</c:v>
                </c:pt>
                <c:pt idx="252">
                  <c:v>45226</c:v>
                </c:pt>
                <c:pt idx="253">
                  <c:v>45225</c:v>
                </c:pt>
                <c:pt idx="254">
                  <c:v>45224</c:v>
                </c:pt>
                <c:pt idx="255">
                  <c:v>45223</c:v>
                </c:pt>
                <c:pt idx="256">
                  <c:v>45222</c:v>
                </c:pt>
                <c:pt idx="257">
                  <c:v>45221</c:v>
                </c:pt>
                <c:pt idx="258">
                  <c:v>45220</c:v>
                </c:pt>
                <c:pt idx="259">
                  <c:v>45219</c:v>
                </c:pt>
                <c:pt idx="260">
                  <c:v>45218</c:v>
                </c:pt>
                <c:pt idx="261">
                  <c:v>45217</c:v>
                </c:pt>
                <c:pt idx="262">
                  <c:v>45216</c:v>
                </c:pt>
                <c:pt idx="263">
                  <c:v>45215</c:v>
                </c:pt>
                <c:pt idx="264">
                  <c:v>45214</c:v>
                </c:pt>
                <c:pt idx="265">
                  <c:v>45213</c:v>
                </c:pt>
                <c:pt idx="266">
                  <c:v>45212</c:v>
                </c:pt>
                <c:pt idx="267">
                  <c:v>45211</c:v>
                </c:pt>
                <c:pt idx="268">
                  <c:v>45210</c:v>
                </c:pt>
                <c:pt idx="269">
                  <c:v>45209</c:v>
                </c:pt>
                <c:pt idx="270">
                  <c:v>45208</c:v>
                </c:pt>
                <c:pt idx="271">
                  <c:v>45207</c:v>
                </c:pt>
                <c:pt idx="272">
                  <c:v>45206</c:v>
                </c:pt>
                <c:pt idx="273">
                  <c:v>45205</c:v>
                </c:pt>
                <c:pt idx="274">
                  <c:v>45204</c:v>
                </c:pt>
                <c:pt idx="275">
                  <c:v>45203</c:v>
                </c:pt>
                <c:pt idx="276">
                  <c:v>45202</c:v>
                </c:pt>
                <c:pt idx="277">
                  <c:v>45201</c:v>
                </c:pt>
                <c:pt idx="278">
                  <c:v>45200</c:v>
                </c:pt>
                <c:pt idx="279">
                  <c:v>45199</c:v>
                </c:pt>
                <c:pt idx="280">
                  <c:v>45198</c:v>
                </c:pt>
                <c:pt idx="281">
                  <c:v>45197</c:v>
                </c:pt>
                <c:pt idx="282">
                  <c:v>45196</c:v>
                </c:pt>
                <c:pt idx="283">
                  <c:v>45195</c:v>
                </c:pt>
                <c:pt idx="284">
                  <c:v>45194</c:v>
                </c:pt>
                <c:pt idx="285">
                  <c:v>45193</c:v>
                </c:pt>
                <c:pt idx="286">
                  <c:v>45192</c:v>
                </c:pt>
                <c:pt idx="287">
                  <c:v>45191</c:v>
                </c:pt>
                <c:pt idx="288">
                  <c:v>45190</c:v>
                </c:pt>
                <c:pt idx="289">
                  <c:v>45189</c:v>
                </c:pt>
                <c:pt idx="290">
                  <c:v>45188</c:v>
                </c:pt>
                <c:pt idx="291">
                  <c:v>45187</c:v>
                </c:pt>
                <c:pt idx="292">
                  <c:v>45186</c:v>
                </c:pt>
                <c:pt idx="293">
                  <c:v>45185</c:v>
                </c:pt>
                <c:pt idx="294">
                  <c:v>45184</c:v>
                </c:pt>
                <c:pt idx="295">
                  <c:v>45183</c:v>
                </c:pt>
                <c:pt idx="296">
                  <c:v>45182</c:v>
                </c:pt>
                <c:pt idx="297">
                  <c:v>45181</c:v>
                </c:pt>
                <c:pt idx="298">
                  <c:v>45180</c:v>
                </c:pt>
                <c:pt idx="299">
                  <c:v>45179</c:v>
                </c:pt>
                <c:pt idx="300">
                  <c:v>45178</c:v>
                </c:pt>
                <c:pt idx="301">
                  <c:v>45177</c:v>
                </c:pt>
                <c:pt idx="302">
                  <c:v>45176</c:v>
                </c:pt>
                <c:pt idx="303">
                  <c:v>45175</c:v>
                </c:pt>
                <c:pt idx="304">
                  <c:v>45174</c:v>
                </c:pt>
                <c:pt idx="305">
                  <c:v>45173</c:v>
                </c:pt>
                <c:pt idx="306">
                  <c:v>45172</c:v>
                </c:pt>
                <c:pt idx="307">
                  <c:v>45171</c:v>
                </c:pt>
                <c:pt idx="308">
                  <c:v>45170</c:v>
                </c:pt>
                <c:pt idx="309">
                  <c:v>45169</c:v>
                </c:pt>
                <c:pt idx="310">
                  <c:v>45168</c:v>
                </c:pt>
                <c:pt idx="311">
                  <c:v>45167</c:v>
                </c:pt>
                <c:pt idx="312">
                  <c:v>45166</c:v>
                </c:pt>
                <c:pt idx="313">
                  <c:v>45165</c:v>
                </c:pt>
                <c:pt idx="314">
                  <c:v>45164</c:v>
                </c:pt>
                <c:pt idx="315">
                  <c:v>45163</c:v>
                </c:pt>
                <c:pt idx="316">
                  <c:v>45162</c:v>
                </c:pt>
                <c:pt idx="317">
                  <c:v>45161</c:v>
                </c:pt>
                <c:pt idx="318">
                  <c:v>45160</c:v>
                </c:pt>
                <c:pt idx="319">
                  <c:v>45159</c:v>
                </c:pt>
                <c:pt idx="320">
                  <c:v>45158</c:v>
                </c:pt>
                <c:pt idx="321">
                  <c:v>45157</c:v>
                </c:pt>
                <c:pt idx="322">
                  <c:v>45156</c:v>
                </c:pt>
                <c:pt idx="323">
                  <c:v>45155</c:v>
                </c:pt>
                <c:pt idx="324">
                  <c:v>45154</c:v>
                </c:pt>
                <c:pt idx="325">
                  <c:v>45153</c:v>
                </c:pt>
                <c:pt idx="326">
                  <c:v>45152</c:v>
                </c:pt>
                <c:pt idx="327">
                  <c:v>45151</c:v>
                </c:pt>
                <c:pt idx="328">
                  <c:v>45150</c:v>
                </c:pt>
                <c:pt idx="329">
                  <c:v>45149</c:v>
                </c:pt>
                <c:pt idx="330">
                  <c:v>45148</c:v>
                </c:pt>
                <c:pt idx="331">
                  <c:v>45147</c:v>
                </c:pt>
                <c:pt idx="332">
                  <c:v>45146</c:v>
                </c:pt>
                <c:pt idx="333">
                  <c:v>45145</c:v>
                </c:pt>
                <c:pt idx="334">
                  <c:v>45144</c:v>
                </c:pt>
                <c:pt idx="335">
                  <c:v>45143</c:v>
                </c:pt>
                <c:pt idx="336">
                  <c:v>45142</c:v>
                </c:pt>
                <c:pt idx="337">
                  <c:v>45141</c:v>
                </c:pt>
                <c:pt idx="338">
                  <c:v>45140</c:v>
                </c:pt>
                <c:pt idx="339">
                  <c:v>45139</c:v>
                </c:pt>
                <c:pt idx="340">
                  <c:v>45138</c:v>
                </c:pt>
                <c:pt idx="341">
                  <c:v>45137</c:v>
                </c:pt>
                <c:pt idx="342">
                  <c:v>45136</c:v>
                </c:pt>
                <c:pt idx="343">
                  <c:v>45135</c:v>
                </c:pt>
                <c:pt idx="344">
                  <c:v>45134</c:v>
                </c:pt>
                <c:pt idx="345">
                  <c:v>45133</c:v>
                </c:pt>
                <c:pt idx="346">
                  <c:v>45132</c:v>
                </c:pt>
                <c:pt idx="347">
                  <c:v>45131</c:v>
                </c:pt>
                <c:pt idx="348">
                  <c:v>45130</c:v>
                </c:pt>
                <c:pt idx="349">
                  <c:v>45129</c:v>
                </c:pt>
                <c:pt idx="350">
                  <c:v>45128</c:v>
                </c:pt>
                <c:pt idx="351">
                  <c:v>45127</c:v>
                </c:pt>
                <c:pt idx="352">
                  <c:v>45126</c:v>
                </c:pt>
                <c:pt idx="353">
                  <c:v>45125</c:v>
                </c:pt>
                <c:pt idx="354">
                  <c:v>45124</c:v>
                </c:pt>
                <c:pt idx="355">
                  <c:v>45123</c:v>
                </c:pt>
                <c:pt idx="356">
                  <c:v>45122</c:v>
                </c:pt>
                <c:pt idx="357">
                  <c:v>45121</c:v>
                </c:pt>
                <c:pt idx="358">
                  <c:v>45120</c:v>
                </c:pt>
                <c:pt idx="359">
                  <c:v>45119</c:v>
                </c:pt>
                <c:pt idx="360">
                  <c:v>45118</c:v>
                </c:pt>
                <c:pt idx="361">
                  <c:v>45117</c:v>
                </c:pt>
                <c:pt idx="362">
                  <c:v>45116</c:v>
                </c:pt>
                <c:pt idx="363">
                  <c:v>45115</c:v>
                </c:pt>
                <c:pt idx="364">
                  <c:v>45114</c:v>
                </c:pt>
                <c:pt idx="365">
                  <c:v>45113</c:v>
                </c:pt>
                <c:pt idx="366">
                  <c:v>45112</c:v>
                </c:pt>
              </c:numCache>
            </c:numRef>
          </c:cat>
          <c:val>
            <c:numRef>
              <c:f>多晶硅价格图表!$AE$10:$AE$376</c:f>
              <c:numCache>
                <c:formatCode>#,##0_);[Red]\(#,##0\)</c:formatCode>
                <c:ptCount val="367"/>
                <c:pt idx="0">
                  <c:v>34500</c:v>
                </c:pt>
                <c:pt idx="1">
                  <c:v>34500</c:v>
                </c:pt>
                <c:pt idx="2">
                  <c:v>34500</c:v>
                </c:pt>
                <c:pt idx="3">
                  <c:v>34500</c:v>
                </c:pt>
                <c:pt idx="4">
                  <c:v>34500</c:v>
                </c:pt>
                <c:pt idx="5">
                  <c:v>34500</c:v>
                </c:pt>
                <c:pt idx="6">
                  <c:v>34500</c:v>
                </c:pt>
                <c:pt idx="7">
                  <c:v>34500</c:v>
                </c:pt>
                <c:pt idx="8">
                  <c:v>34500</c:v>
                </c:pt>
                <c:pt idx="9">
                  <c:v>36500</c:v>
                </c:pt>
                <c:pt idx="10">
                  <c:v>36500</c:v>
                </c:pt>
                <c:pt idx="11">
                  <c:v>36500</c:v>
                </c:pt>
                <c:pt idx="12">
                  <c:v>36500</c:v>
                </c:pt>
                <c:pt idx="13">
                  <c:v>36500</c:v>
                </c:pt>
                <c:pt idx="14">
                  <c:v>36500</c:v>
                </c:pt>
                <c:pt idx="15">
                  <c:v>36500</c:v>
                </c:pt>
                <c:pt idx="16">
                  <c:v>36500</c:v>
                </c:pt>
                <c:pt idx="17">
                  <c:v>36500</c:v>
                </c:pt>
                <c:pt idx="18">
                  <c:v>36500</c:v>
                </c:pt>
                <c:pt idx="19">
                  <c:v>36500</c:v>
                </c:pt>
                <c:pt idx="20">
                  <c:v>36500</c:v>
                </c:pt>
                <c:pt idx="21">
                  <c:v>36500</c:v>
                </c:pt>
                <c:pt idx="22">
                  <c:v>36500</c:v>
                </c:pt>
                <c:pt idx="23">
                  <c:v>37500</c:v>
                </c:pt>
                <c:pt idx="24">
                  <c:v>37500</c:v>
                </c:pt>
                <c:pt idx="25">
                  <c:v>37500</c:v>
                </c:pt>
                <c:pt idx="26">
                  <c:v>37500</c:v>
                </c:pt>
                <c:pt idx="27">
                  <c:v>37500</c:v>
                </c:pt>
                <c:pt idx="28">
                  <c:v>37500</c:v>
                </c:pt>
                <c:pt idx="29">
                  <c:v>37500</c:v>
                </c:pt>
                <c:pt idx="30">
                  <c:v>37500</c:v>
                </c:pt>
                <c:pt idx="31">
                  <c:v>37500</c:v>
                </c:pt>
                <c:pt idx="32">
                  <c:v>37500</c:v>
                </c:pt>
                <c:pt idx="33">
                  <c:v>37500</c:v>
                </c:pt>
                <c:pt idx="34">
                  <c:v>37500</c:v>
                </c:pt>
                <c:pt idx="35">
                  <c:v>37500</c:v>
                </c:pt>
                <c:pt idx="36">
                  <c:v>37500</c:v>
                </c:pt>
                <c:pt idx="37">
                  <c:v>37500</c:v>
                </c:pt>
                <c:pt idx="38">
                  <c:v>37500</c:v>
                </c:pt>
                <c:pt idx="39">
                  <c:v>37500</c:v>
                </c:pt>
                <c:pt idx="40">
                  <c:v>37500</c:v>
                </c:pt>
                <c:pt idx="41">
                  <c:v>37500</c:v>
                </c:pt>
                <c:pt idx="42">
                  <c:v>37500</c:v>
                </c:pt>
                <c:pt idx="43">
                  <c:v>37500</c:v>
                </c:pt>
                <c:pt idx="44">
                  <c:v>37500</c:v>
                </c:pt>
                <c:pt idx="45">
                  <c:v>37500</c:v>
                </c:pt>
                <c:pt idx="46">
                  <c:v>37500</c:v>
                </c:pt>
                <c:pt idx="47">
                  <c:v>38500</c:v>
                </c:pt>
                <c:pt idx="48">
                  <c:v>38500</c:v>
                </c:pt>
                <c:pt idx="49">
                  <c:v>38500</c:v>
                </c:pt>
                <c:pt idx="50">
                  <c:v>38500</c:v>
                </c:pt>
                <c:pt idx="51">
                  <c:v>38500</c:v>
                </c:pt>
                <c:pt idx="52">
                  <c:v>39500</c:v>
                </c:pt>
                <c:pt idx="53">
                  <c:v>39500</c:v>
                </c:pt>
                <c:pt idx="54">
                  <c:v>39500</c:v>
                </c:pt>
                <c:pt idx="55">
                  <c:v>39500</c:v>
                </c:pt>
                <c:pt idx="56">
                  <c:v>39500</c:v>
                </c:pt>
                <c:pt idx="57">
                  <c:v>39500</c:v>
                </c:pt>
                <c:pt idx="58">
                  <c:v>40500</c:v>
                </c:pt>
                <c:pt idx="59">
                  <c:v>40500</c:v>
                </c:pt>
                <c:pt idx="60">
                  <c:v>42500</c:v>
                </c:pt>
                <c:pt idx="61">
                  <c:v>42500</c:v>
                </c:pt>
                <c:pt idx="62">
                  <c:v>42500</c:v>
                </c:pt>
                <c:pt idx="63">
                  <c:v>42500</c:v>
                </c:pt>
                <c:pt idx="64">
                  <c:v>42500</c:v>
                </c:pt>
                <c:pt idx="65">
                  <c:v>42500</c:v>
                </c:pt>
                <c:pt idx="66">
                  <c:v>42500</c:v>
                </c:pt>
                <c:pt idx="67">
                  <c:v>42500</c:v>
                </c:pt>
                <c:pt idx="68">
                  <c:v>42500</c:v>
                </c:pt>
                <c:pt idx="69">
                  <c:v>42500</c:v>
                </c:pt>
                <c:pt idx="70">
                  <c:v>42500</c:v>
                </c:pt>
                <c:pt idx="71">
                  <c:v>42500</c:v>
                </c:pt>
                <c:pt idx="72">
                  <c:v>44500</c:v>
                </c:pt>
                <c:pt idx="73">
                  <c:v>44500</c:v>
                </c:pt>
                <c:pt idx="74">
                  <c:v>44500</c:v>
                </c:pt>
                <c:pt idx="75">
                  <c:v>46500</c:v>
                </c:pt>
                <c:pt idx="76">
                  <c:v>46500</c:v>
                </c:pt>
                <c:pt idx="77">
                  <c:v>46500</c:v>
                </c:pt>
                <c:pt idx="78">
                  <c:v>46500</c:v>
                </c:pt>
                <c:pt idx="79">
                  <c:v>48500</c:v>
                </c:pt>
                <c:pt idx="80">
                  <c:v>48500</c:v>
                </c:pt>
                <c:pt idx="81">
                  <c:v>48500</c:v>
                </c:pt>
                <c:pt idx="82">
                  <c:v>50500</c:v>
                </c:pt>
                <c:pt idx="83">
                  <c:v>50500</c:v>
                </c:pt>
                <c:pt idx="84">
                  <c:v>50500</c:v>
                </c:pt>
                <c:pt idx="85">
                  <c:v>50500</c:v>
                </c:pt>
                <c:pt idx="86">
                  <c:v>50500</c:v>
                </c:pt>
                <c:pt idx="87">
                  <c:v>50500</c:v>
                </c:pt>
                <c:pt idx="88">
                  <c:v>51500</c:v>
                </c:pt>
                <c:pt idx="89">
                  <c:v>54500</c:v>
                </c:pt>
                <c:pt idx="90">
                  <c:v>54500</c:v>
                </c:pt>
                <c:pt idx="91">
                  <c:v>54500</c:v>
                </c:pt>
                <c:pt idx="92">
                  <c:v>54500</c:v>
                </c:pt>
                <c:pt idx="93">
                  <c:v>54500</c:v>
                </c:pt>
                <c:pt idx="94">
                  <c:v>54500</c:v>
                </c:pt>
                <c:pt idx="95">
                  <c:v>54500</c:v>
                </c:pt>
                <c:pt idx="96">
                  <c:v>59500</c:v>
                </c:pt>
                <c:pt idx="97">
                  <c:v>59500</c:v>
                </c:pt>
                <c:pt idx="98">
                  <c:v>59500</c:v>
                </c:pt>
                <c:pt idx="99">
                  <c:v>59500</c:v>
                </c:pt>
                <c:pt idx="100">
                  <c:v>59500</c:v>
                </c:pt>
                <c:pt idx="101">
                  <c:v>59500</c:v>
                </c:pt>
                <c:pt idx="102">
                  <c:v>59500</c:v>
                </c:pt>
                <c:pt idx="103">
                  <c:v>59500</c:v>
                </c:pt>
                <c:pt idx="104">
                  <c:v>59500</c:v>
                </c:pt>
                <c:pt idx="105">
                  <c:v>59500</c:v>
                </c:pt>
                <c:pt idx="106">
                  <c:v>59500</c:v>
                </c:pt>
                <c:pt idx="107">
                  <c:v>59500</c:v>
                </c:pt>
                <c:pt idx="108">
                  <c:v>59500</c:v>
                </c:pt>
                <c:pt idx="109">
                  <c:v>59500</c:v>
                </c:pt>
                <c:pt idx="110">
                  <c:v>60500</c:v>
                </c:pt>
                <c:pt idx="111">
                  <c:v>60500</c:v>
                </c:pt>
                <c:pt idx="112">
                  <c:v>60500</c:v>
                </c:pt>
                <c:pt idx="113">
                  <c:v>60500</c:v>
                </c:pt>
                <c:pt idx="114">
                  <c:v>60500</c:v>
                </c:pt>
                <c:pt idx="115">
                  <c:v>60500</c:v>
                </c:pt>
                <c:pt idx="116">
                  <c:v>60500</c:v>
                </c:pt>
                <c:pt idx="117">
                  <c:v>60500</c:v>
                </c:pt>
                <c:pt idx="118">
                  <c:v>60500</c:v>
                </c:pt>
                <c:pt idx="119">
                  <c:v>60500</c:v>
                </c:pt>
                <c:pt idx="120">
                  <c:v>60500</c:v>
                </c:pt>
                <c:pt idx="121">
                  <c:v>60500</c:v>
                </c:pt>
                <c:pt idx="122">
                  <c:v>60500</c:v>
                </c:pt>
                <c:pt idx="123">
                  <c:v>60500</c:v>
                </c:pt>
                <c:pt idx="124">
                  <c:v>60500</c:v>
                </c:pt>
                <c:pt idx="125">
                  <c:v>60500</c:v>
                </c:pt>
                <c:pt idx="126">
                  <c:v>60500</c:v>
                </c:pt>
                <c:pt idx="127">
                  <c:v>60500</c:v>
                </c:pt>
                <c:pt idx="128">
                  <c:v>59500</c:v>
                </c:pt>
                <c:pt idx="129">
                  <c:v>59500</c:v>
                </c:pt>
                <c:pt idx="130">
                  <c:v>59500</c:v>
                </c:pt>
                <c:pt idx="131">
                  <c:v>59500</c:v>
                </c:pt>
                <c:pt idx="132">
                  <c:v>59500</c:v>
                </c:pt>
                <c:pt idx="133">
                  <c:v>59500</c:v>
                </c:pt>
                <c:pt idx="134">
                  <c:v>59500</c:v>
                </c:pt>
                <c:pt idx="135">
                  <c:v>59500</c:v>
                </c:pt>
                <c:pt idx="136">
                  <c:v>59500</c:v>
                </c:pt>
                <c:pt idx="137">
                  <c:v>59500</c:v>
                </c:pt>
                <c:pt idx="138">
                  <c:v>59500</c:v>
                </c:pt>
                <c:pt idx="139">
                  <c:v>59500</c:v>
                </c:pt>
                <c:pt idx="140">
                  <c:v>59500</c:v>
                </c:pt>
                <c:pt idx="141">
                  <c:v>59500</c:v>
                </c:pt>
                <c:pt idx="142">
                  <c:v>59500</c:v>
                </c:pt>
                <c:pt idx="143">
                  <c:v>59500</c:v>
                </c:pt>
                <c:pt idx="144">
                  <c:v>59500</c:v>
                </c:pt>
                <c:pt idx="145">
                  <c:v>59500</c:v>
                </c:pt>
                <c:pt idx="146">
                  <c:v>59500</c:v>
                </c:pt>
                <c:pt idx="147">
                  <c:v>59500</c:v>
                </c:pt>
                <c:pt idx="148">
                  <c:v>59500</c:v>
                </c:pt>
                <c:pt idx="149">
                  <c:v>59500</c:v>
                </c:pt>
                <c:pt idx="150">
                  <c:v>59500</c:v>
                </c:pt>
                <c:pt idx="151">
                  <c:v>59500</c:v>
                </c:pt>
                <c:pt idx="152">
                  <c:v>59500</c:v>
                </c:pt>
                <c:pt idx="153">
                  <c:v>59500</c:v>
                </c:pt>
                <c:pt idx="154">
                  <c:v>59500</c:v>
                </c:pt>
                <c:pt idx="155">
                  <c:v>59000</c:v>
                </c:pt>
                <c:pt idx="156">
                  <c:v>59000</c:v>
                </c:pt>
                <c:pt idx="157">
                  <c:v>59000</c:v>
                </c:pt>
                <c:pt idx="158">
                  <c:v>59000</c:v>
                </c:pt>
                <c:pt idx="159">
                  <c:v>59000</c:v>
                </c:pt>
                <c:pt idx="160">
                  <c:v>59000</c:v>
                </c:pt>
                <c:pt idx="161">
                  <c:v>59000</c:v>
                </c:pt>
                <c:pt idx="162">
                  <c:v>59000</c:v>
                </c:pt>
                <c:pt idx="163">
                  <c:v>58700</c:v>
                </c:pt>
                <c:pt idx="164">
                  <c:v>58700</c:v>
                </c:pt>
                <c:pt idx="165">
                  <c:v>58700</c:v>
                </c:pt>
                <c:pt idx="166">
                  <c:v>58700</c:v>
                </c:pt>
                <c:pt idx="167">
                  <c:v>58700</c:v>
                </c:pt>
                <c:pt idx="168">
                  <c:v>58700</c:v>
                </c:pt>
                <c:pt idx="169">
                  <c:v>58700</c:v>
                </c:pt>
                <c:pt idx="170">
                  <c:v>58500</c:v>
                </c:pt>
                <c:pt idx="171">
                  <c:v>58500</c:v>
                </c:pt>
                <c:pt idx="172">
                  <c:v>58500</c:v>
                </c:pt>
                <c:pt idx="173">
                  <c:v>58500</c:v>
                </c:pt>
                <c:pt idx="174">
                  <c:v>58500</c:v>
                </c:pt>
                <c:pt idx="175">
                  <c:v>58500</c:v>
                </c:pt>
                <c:pt idx="176">
                  <c:v>58500</c:v>
                </c:pt>
                <c:pt idx="177">
                  <c:v>58500</c:v>
                </c:pt>
                <c:pt idx="178">
                  <c:v>58500</c:v>
                </c:pt>
                <c:pt idx="179">
                  <c:v>58500</c:v>
                </c:pt>
                <c:pt idx="180">
                  <c:v>58500</c:v>
                </c:pt>
                <c:pt idx="181">
                  <c:v>58500</c:v>
                </c:pt>
                <c:pt idx="182">
                  <c:v>58500</c:v>
                </c:pt>
                <c:pt idx="183">
                  <c:v>58500</c:v>
                </c:pt>
                <c:pt idx="184">
                  <c:v>59500</c:v>
                </c:pt>
                <c:pt idx="185">
                  <c:v>59500</c:v>
                </c:pt>
                <c:pt idx="186">
                  <c:v>59500</c:v>
                </c:pt>
                <c:pt idx="187">
                  <c:v>59500</c:v>
                </c:pt>
                <c:pt idx="188">
                  <c:v>59500</c:v>
                </c:pt>
                <c:pt idx="189">
                  <c:v>59500</c:v>
                </c:pt>
                <c:pt idx="190">
                  <c:v>59500</c:v>
                </c:pt>
                <c:pt idx="191">
                  <c:v>60500</c:v>
                </c:pt>
                <c:pt idx="192">
                  <c:v>60500</c:v>
                </c:pt>
                <c:pt idx="193">
                  <c:v>60500</c:v>
                </c:pt>
                <c:pt idx="194">
                  <c:v>60500</c:v>
                </c:pt>
                <c:pt idx="195">
                  <c:v>60500</c:v>
                </c:pt>
                <c:pt idx="196">
                  <c:v>60500</c:v>
                </c:pt>
                <c:pt idx="197">
                  <c:v>60500</c:v>
                </c:pt>
                <c:pt idx="198">
                  <c:v>61000</c:v>
                </c:pt>
                <c:pt idx="199">
                  <c:v>61000</c:v>
                </c:pt>
                <c:pt idx="200">
                  <c:v>61000</c:v>
                </c:pt>
                <c:pt idx="201">
                  <c:v>61000</c:v>
                </c:pt>
                <c:pt idx="202">
                  <c:v>61000</c:v>
                </c:pt>
                <c:pt idx="203">
                  <c:v>61000</c:v>
                </c:pt>
                <c:pt idx="204">
                  <c:v>61000</c:v>
                </c:pt>
                <c:pt idx="205">
                  <c:v>61500</c:v>
                </c:pt>
                <c:pt idx="206">
                  <c:v>61500</c:v>
                </c:pt>
                <c:pt idx="207">
                  <c:v>61500</c:v>
                </c:pt>
                <c:pt idx="208">
                  <c:v>61500</c:v>
                </c:pt>
                <c:pt idx="209">
                  <c:v>61500</c:v>
                </c:pt>
                <c:pt idx="210">
                  <c:v>61500</c:v>
                </c:pt>
                <c:pt idx="211">
                  <c:v>61500</c:v>
                </c:pt>
                <c:pt idx="212">
                  <c:v>62500</c:v>
                </c:pt>
                <c:pt idx="213">
                  <c:v>62500</c:v>
                </c:pt>
                <c:pt idx="214">
                  <c:v>62500</c:v>
                </c:pt>
                <c:pt idx="215">
                  <c:v>62500</c:v>
                </c:pt>
                <c:pt idx="216">
                  <c:v>62500</c:v>
                </c:pt>
                <c:pt idx="217">
                  <c:v>62500</c:v>
                </c:pt>
                <c:pt idx="218">
                  <c:v>62500</c:v>
                </c:pt>
                <c:pt idx="219">
                  <c:v>63000</c:v>
                </c:pt>
                <c:pt idx="220">
                  <c:v>63000</c:v>
                </c:pt>
                <c:pt idx="221">
                  <c:v>63000</c:v>
                </c:pt>
                <c:pt idx="222">
                  <c:v>63000</c:v>
                </c:pt>
                <c:pt idx="223">
                  <c:v>63000</c:v>
                </c:pt>
                <c:pt idx="224">
                  <c:v>63000</c:v>
                </c:pt>
                <c:pt idx="225">
                  <c:v>63000</c:v>
                </c:pt>
                <c:pt idx="226">
                  <c:v>63000</c:v>
                </c:pt>
                <c:pt idx="227">
                  <c:v>64000</c:v>
                </c:pt>
                <c:pt idx="228">
                  <c:v>64000</c:v>
                </c:pt>
                <c:pt idx="229">
                  <c:v>64000</c:v>
                </c:pt>
                <c:pt idx="230">
                  <c:v>64000</c:v>
                </c:pt>
                <c:pt idx="231">
                  <c:v>64000</c:v>
                </c:pt>
                <c:pt idx="232">
                  <c:v>64000</c:v>
                </c:pt>
                <c:pt idx="233">
                  <c:v>64000</c:v>
                </c:pt>
                <c:pt idx="234">
                  <c:v>65000</c:v>
                </c:pt>
                <c:pt idx="235">
                  <c:v>65000</c:v>
                </c:pt>
                <c:pt idx="236">
                  <c:v>65000</c:v>
                </c:pt>
                <c:pt idx="237">
                  <c:v>65000</c:v>
                </c:pt>
                <c:pt idx="238">
                  <c:v>65000</c:v>
                </c:pt>
                <c:pt idx="239">
                  <c:v>65000</c:v>
                </c:pt>
                <c:pt idx="240">
                  <c:v>66000</c:v>
                </c:pt>
                <c:pt idx="241">
                  <c:v>66000</c:v>
                </c:pt>
                <c:pt idx="242">
                  <c:v>68000</c:v>
                </c:pt>
                <c:pt idx="243">
                  <c:v>68000</c:v>
                </c:pt>
                <c:pt idx="244">
                  <c:v>68000</c:v>
                </c:pt>
                <c:pt idx="245">
                  <c:v>68000</c:v>
                </c:pt>
                <c:pt idx="246">
                  <c:v>68000</c:v>
                </c:pt>
                <c:pt idx="247">
                  <c:v>74000</c:v>
                </c:pt>
                <c:pt idx="248">
                  <c:v>74000</c:v>
                </c:pt>
                <c:pt idx="249">
                  <c:v>74000</c:v>
                </c:pt>
                <c:pt idx="250">
                  <c:v>74000</c:v>
                </c:pt>
                <c:pt idx="251">
                  <c:v>74000</c:v>
                </c:pt>
                <c:pt idx="252">
                  <c:v>74000</c:v>
                </c:pt>
                <c:pt idx="253">
                  <c:v>74000</c:v>
                </c:pt>
                <c:pt idx="254">
                  <c:v>76000</c:v>
                </c:pt>
                <c:pt idx="255">
                  <c:v>76000</c:v>
                </c:pt>
                <c:pt idx="256">
                  <c:v>78000</c:v>
                </c:pt>
                <c:pt idx="257">
                  <c:v>78000</c:v>
                </c:pt>
                <c:pt idx="258">
                  <c:v>78000</c:v>
                </c:pt>
                <c:pt idx="259">
                  <c:v>78000</c:v>
                </c:pt>
                <c:pt idx="260">
                  <c:v>78000</c:v>
                </c:pt>
                <c:pt idx="261">
                  <c:v>78000</c:v>
                </c:pt>
                <c:pt idx="262">
                  <c:v>78000</c:v>
                </c:pt>
                <c:pt idx="263">
                  <c:v>78000</c:v>
                </c:pt>
                <c:pt idx="264">
                  <c:v>78000</c:v>
                </c:pt>
                <c:pt idx="265">
                  <c:v>78000</c:v>
                </c:pt>
                <c:pt idx="266">
                  <c:v>78000</c:v>
                </c:pt>
                <c:pt idx="267">
                  <c:v>78000</c:v>
                </c:pt>
                <c:pt idx="268">
                  <c:v>79000</c:v>
                </c:pt>
                <c:pt idx="269">
                  <c:v>79000</c:v>
                </c:pt>
                <c:pt idx="270">
                  <c:v>79000</c:v>
                </c:pt>
                <c:pt idx="271">
                  <c:v>79000</c:v>
                </c:pt>
                <c:pt idx="272">
                  <c:v>79000</c:v>
                </c:pt>
                <c:pt idx="273">
                  <c:v>79000</c:v>
                </c:pt>
                <c:pt idx="274">
                  <c:v>79000</c:v>
                </c:pt>
                <c:pt idx="275">
                  <c:v>79000</c:v>
                </c:pt>
                <c:pt idx="276">
                  <c:v>79000</c:v>
                </c:pt>
                <c:pt idx="277">
                  <c:v>79000</c:v>
                </c:pt>
                <c:pt idx="278">
                  <c:v>79000</c:v>
                </c:pt>
                <c:pt idx="279">
                  <c:v>79000</c:v>
                </c:pt>
                <c:pt idx="280">
                  <c:v>79000</c:v>
                </c:pt>
                <c:pt idx="281">
                  <c:v>79000</c:v>
                </c:pt>
                <c:pt idx="282">
                  <c:v>79000</c:v>
                </c:pt>
                <c:pt idx="283">
                  <c:v>79000</c:v>
                </c:pt>
                <c:pt idx="284">
                  <c:v>79000</c:v>
                </c:pt>
                <c:pt idx="285">
                  <c:v>79000</c:v>
                </c:pt>
                <c:pt idx="286">
                  <c:v>79000</c:v>
                </c:pt>
                <c:pt idx="287">
                  <c:v>79000</c:v>
                </c:pt>
                <c:pt idx="288">
                  <c:v>79000</c:v>
                </c:pt>
                <c:pt idx="289">
                  <c:v>79000</c:v>
                </c:pt>
                <c:pt idx="290">
                  <c:v>79000</c:v>
                </c:pt>
                <c:pt idx="291">
                  <c:v>79000</c:v>
                </c:pt>
                <c:pt idx="292">
                  <c:v>79000</c:v>
                </c:pt>
                <c:pt idx="293">
                  <c:v>79000</c:v>
                </c:pt>
                <c:pt idx="294">
                  <c:v>79000</c:v>
                </c:pt>
                <c:pt idx="295">
                  <c:v>79000</c:v>
                </c:pt>
                <c:pt idx="296">
                  <c:v>79000</c:v>
                </c:pt>
                <c:pt idx="297">
                  <c:v>79000</c:v>
                </c:pt>
                <c:pt idx="298">
                  <c:v>79000</c:v>
                </c:pt>
                <c:pt idx="299">
                  <c:v>79000</c:v>
                </c:pt>
                <c:pt idx="300">
                  <c:v>79000</c:v>
                </c:pt>
                <c:pt idx="301">
                  <c:v>79000</c:v>
                </c:pt>
                <c:pt idx="302">
                  <c:v>79000</c:v>
                </c:pt>
                <c:pt idx="303">
                  <c:v>78000</c:v>
                </c:pt>
                <c:pt idx="304">
                  <c:v>78000</c:v>
                </c:pt>
                <c:pt idx="305">
                  <c:v>78000</c:v>
                </c:pt>
                <c:pt idx="306">
                  <c:v>78000</c:v>
                </c:pt>
                <c:pt idx="307">
                  <c:v>78000</c:v>
                </c:pt>
                <c:pt idx="308">
                  <c:v>78000</c:v>
                </c:pt>
                <c:pt idx="309">
                  <c:v>78000</c:v>
                </c:pt>
                <c:pt idx="310">
                  <c:v>72000</c:v>
                </c:pt>
                <c:pt idx="311">
                  <c:v>72000</c:v>
                </c:pt>
                <c:pt idx="312">
                  <c:v>72000</c:v>
                </c:pt>
                <c:pt idx="313">
                  <c:v>72000</c:v>
                </c:pt>
                <c:pt idx="314">
                  <c:v>72000</c:v>
                </c:pt>
                <c:pt idx="315">
                  <c:v>72000</c:v>
                </c:pt>
                <c:pt idx="316">
                  <c:v>72000</c:v>
                </c:pt>
                <c:pt idx="317">
                  <c:v>71000</c:v>
                </c:pt>
                <c:pt idx="318">
                  <c:v>71000</c:v>
                </c:pt>
                <c:pt idx="319">
                  <c:v>71000</c:v>
                </c:pt>
                <c:pt idx="320">
                  <c:v>71000</c:v>
                </c:pt>
                <c:pt idx="321">
                  <c:v>71000</c:v>
                </c:pt>
                <c:pt idx="322">
                  <c:v>71000</c:v>
                </c:pt>
                <c:pt idx="323">
                  <c:v>71000</c:v>
                </c:pt>
                <c:pt idx="324">
                  <c:v>71000</c:v>
                </c:pt>
                <c:pt idx="325">
                  <c:v>70000</c:v>
                </c:pt>
                <c:pt idx="326">
                  <c:v>70000</c:v>
                </c:pt>
                <c:pt idx="327">
                  <c:v>70000</c:v>
                </c:pt>
                <c:pt idx="328">
                  <c:v>70000</c:v>
                </c:pt>
                <c:pt idx="329">
                  <c:v>70000</c:v>
                </c:pt>
                <c:pt idx="330">
                  <c:v>70000</c:v>
                </c:pt>
                <c:pt idx="331">
                  <c:v>70000</c:v>
                </c:pt>
                <c:pt idx="332">
                  <c:v>70000</c:v>
                </c:pt>
                <c:pt idx="333">
                  <c:v>69000</c:v>
                </c:pt>
                <c:pt idx="334">
                  <c:v>69000</c:v>
                </c:pt>
                <c:pt idx="335">
                  <c:v>69000</c:v>
                </c:pt>
                <c:pt idx="336">
                  <c:v>69000</c:v>
                </c:pt>
                <c:pt idx="337">
                  <c:v>69000</c:v>
                </c:pt>
                <c:pt idx="338">
                  <c:v>68000</c:v>
                </c:pt>
                <c:pt idx="339">
                  <c:v>68000</c:v>
                </c:pt>
                <c:pt idx="340">
                  <c:v>68000</c:v>
                </c:pt>
                <c:pt idx="341">
                  <c:v>68000</c:v>
                </c:pt>
                <c:pt idx="342">
                  <c:v>68000</c:v>
                </c:pt>
                <c:pt idx="343">
                  <c:v>68000</c:v>
                </c:pt>
                <c:pt idx="344">
                  <c:v>68000</c:v>
                </c:pt>
                <c:pt idx="345">
                  <c:v>67000</c:v>
                </c:pt>
                <c:pt idx="346">
                  <c:v>67000</c:v>
                </c:pt>
                <c:pt idx="347">
                  <c:v>67000</c:v>
                </c:pt>
                <c:pt idx="348">
                  <c:v>67000</c:v>
                </c:pt>
                <c:pt idx="349">
                  <c:v>67000</c:v>
                </c:pt>
                <c:pt idx="350">
                  <c:v>67000</c:v>
                </c:pt>
                <c:pt idx="351">
                  <c:v>67000</c:v>
                </c:pt>
                <c:pt idx="352">
                  <c:v>67000</c:v>
                </c:pt>
                <c:pt idx="353">
                  <c:v>64000</c:v>
                </c:pt>
                <c:pt idx="354">
                  <c:v>64000</c:v>
                </c:pt>
                <c:pt idx="355">
                  <c:v>64000</c:v>
                </c:pt>
                <c:pt idx="356">
                  <c:v>64000</c:v>
                </c:pt>
                <c:pt idx="357">
                  <c:v>64000</c:v>
                </c:pt>
                <c:pt idx="358">
                  <c:v>64000</c:v>
                </c:pt>
                <c:pt idx="359">
                  <c:v>64000</c:v>
                </c:pt>
                <c:pt idx="360">
                  <c:v>64000</c:v>
                </c:pt>
                <c:pt idx="361">
                  <c:v>64000</c:v>
                </c:pt>
                <c:pt idx="362">
                  <c:v>64000</c:v>
                </c:pt>
                <c:pt idx="363">
                  <c:v>64000</c:v>
                </c:pt>
                <c:pt idx="364">
                  <c:v>64000</c:v>
                </c:pt>
                <c:pt idx="365">
                  <c:v>64000</c:v>
                </c:pt>
                <c:pt idx="366">
                  <c:v>64000</c:v>
                </c:pt>
              </c:numCache>
            </c:numRef>
          </c:val>
          <c:smooth val="0"/>
          <c:extLst>
            <c:ext xmlns:c16="http://schemas.microsoft.com/office/drawing/2014/chart" uri="{C3380CC4-5D6E-409C-BE32-E72D297353CC}">
              <c16:uniqueId val="{00000001-14AF-4B78-B36B-546D6B80E89B}"/>
            </c:ext>
          </c:extLst>
        </c:ser>
        <c:ser>
          <c:idx val="2"/>
          <c:order val="2"/>
          <c:tx>
            <c:strRef>
              <c:f>多晶硅价格图表!$AF$9</c:f>
              <c:strCache>
                <c:ptCount val="1"/>
                <c:pt idx="0">
                  <c:v>菜花料</c:v>
                </c:pt>
              </c:strCache>
            </c:strRef>
          </c:tx>
          <c:spPr>
            <a:ln w="28575" cap="rnd">
              <a:solidFill>
                <a:schemeClr val="accent3"/>
              </a:solidFill>
              <a:round/>
            </a:ln>
            <a:effectLst/>
          </c:spPr>
          <c:marker>
            <c:symbol val="none"/>
          </c:marker>
          <c:cat>
            <c:numRef>
              <c:f>多晶硅价格图表!$AC$10:$AC$376</c:f>
              <c:numCache>
                <c:formatCode>m/d/yyyy</c:formatCode>
                <c:ptCount val="367"/>
                <c:pt idx="0">
                  <c:v>45478</c:v>
                </c:pt>
                <c:pt idx="1">
                  <c:v>45477</c:v>
                </c:pt>
                <c:pt idx="2">
                  <c:v>45476</c:v>
                </c:pt>
                <c:pt idx="3">
                  <c:v>45475</c:v>
                </c:pt>
                <c:pt idx="4">
                  <c:v>45474</c:v>
                </c:pt>
                <c:pt idx="5">
                  <c:v>45473</c:v>
                </c:pt>
                <c:pt idx="6">
                  <c:v>45472</c:v>
                </c:pt>
                <c:pt idx="7">
                  <c:v>45471</c:v>
                </c:pt>
                <c:pt idx="8">
                  <c:v>45470</c:v>
                </c:pt>
                <c:pt idx="9">
                  <c:v>45469</c:v>
                </c:pt>
                <c:pt idx="10">
                  <c:v>45468</c:v>
                </c:pt>
                <c:pt idx="11">
                  <c:v>45467</c:v>
                </c:pt>
                <c:pt idx="12">
                  <c:v>45466</c:v>
                </c:pt>
                <c:pt idx="13">
                  <c:v>45465</c:v>
                </c:pt>
                <c:pt idx="14">
                  <c:v>45464</c:v>
                </c:pt>
                <c:pt idx="15">
                  <c:v>45463</c:v>
                </c:pt>
                <c:pt idx="16">
                  <c:v>45462</c:v>
                </c:pt>
                <c:pt idx="17">
                  <c:v>45461</c:v>
                </c:pt>
                <c:pt idx="18">
                  <c:v>45460</c:v>
                </c:pt>
                <c:pt idx="19">
                  <c:v>45459</c:v>
                </c:pt>
                <c:pt idx="20">
                  <c:v>45458</c:v>
                </c:pt>
                <c:pt idx="21">
                  <c:v>45457</c:v>
                </c:pt>
                <c:pt idx="22">
                  <c:v>45456</c:v>
                </c:pt>
                <c:pt idx="23">
                  <c:v>45455</c:v>
                </c:pt>
                <c:pt idx="24">
                  <c:v>45454</c:v>
                </c:pt>
                <c:pt idx="25">
                  <c:v>45453</c:v>
                </c:pt>
                <c:pt idx="26">
                  <c:v>45452</c:v>
                </c:pt>
                <c:pt idx="27">
                  <c:v>45451</c:v>
                </c:pt>
                <c:pt idx="28">
                  <c:v>45450</c:v>
                </c:pt>
                <c:pt idx="29">
                  <c:v>45449</c:v>
                </c:pt>
                <c:pt idx="30">
                  <c:v>45448</c:v>
                </c:pt>
                <c:pt idx="31">
                  <c:v>45447</c:v>
                </c:pt>
                <c:pt idx="32">
                  <c:v>45446</c:v>
                </c:pt>
                <c:pt idx="33">
                  <c:v>45445</c:v>
                </c:pt>
                <c:pt idx="34">
                  <c:v>45444</c:v>
                </c:pt>
                <c:pt idx="35">
                  <c:v>45443</c:v>
                </c:pt>
                <c:pt idx="36">
                  <c:v>45442</c:v>
                </c:pt>
                <c:pt idx="37">
                  <c:v>45441</c:v>
                </c:pt>
                <c:pt idx="38">
                  <c:v>45440</c:v>
                </c:pt>
                <c:pt idx="39">
                  <c:v>45439</c:v>
                </c:pt>
                <c:pt idx="40">
                  <c:v>45438</c:v>
                </c:pt>
                <c:pt idx="41">
                  <c:v>45437</c:v>
                </c:pt>
                <c:pt idx="42">
                  <c:v>45436</c:v>
                </c:pt>
                <c:pt idx="43">
                  <c:v>45435</c:v>
                </c:pt>
                <c:pt idx="44">
                  <c:v>45434</c:v>
                </c:pt>
                <c:pt idx="45">
                  <c:v>45433</c:v>
                </c:pt>
                <c:pt idx="46">
                  <c:v>45432</c:v>
                </c:pt>
                <c:pt idx="47">
                  <c:v>45431</c:v>
                </c:pt>
                <c:pt idx="48">
                  <c:v>45430</c:v>
                </c:pt>
                <c:pt idx="49">
                  <c:v>45429</c:v>
                </c:pt>
                <c:pt idx="50">
                  <c:v>45428</c:v>
                </c:pt>
                <c:pt idx="51">
                  <c:v>45427</c:v>
                </c:pt>
                <c:pt idx="52">
                  <c:v>45426</c:v>
                </c:pt>
                <c:pt idx="53">
                  <c:v>45425</c:v>
                </c:pt>
                <c:pt idx="54">
                  <c:v>45424</c:v>
                </c:pt>
                <c:pt idx="55">
                  <c:v>45423</c:v>
                </c:pt>
                <c:pt idx="56">
                  <c:v>45422</c:v>
                </c:pt>
                <c:pt idx="57">
                  <c:v>45421</c:v>
                </c:pt>
                <c:pt idx="58">
                  <c:v>45420</c:v>
                </c:pt>
                <c:pt idx="59">
                  <c:v>45419</c:v>
                </c:pt>
                <c:pt idx="60">
                  <c:v>45418</c:v>
                </c:pt>
                <c:pt idx="61">
                  <c:v>45417</c:v>
                </c:pt>
                <c:pt idx="62">
                  <c:v>45416</c:v>
                </c:pt>
                <c:pt idx="63">
                  <c:v>45415</c:v>
                </c:pt>
                <c:pt idx="64">
                  <c:v>45414</c:v>
                </c:pt>
                <c:pt idx="65">
                  <c:v>45413</c:v>
                </c:pt>
                <c:pt idx="66">
                  <c:v>45412</c:v>
                </c:pt>
                <c:pt idx="67">
                  <c:v>45411</c:v>
                </c:pt>
                <c:pt idx="68">
                  <c:v>45410</c:v>
                </c:pt>
                <c:pt idx="69">
                  <c:v>45409</c:v>
                </c:pt>
                <c:pt idx="70">
                  <c:v>45408</c:v>
                </c:pt>
                <c:pt idx="71">
                  <c:v>45407</c:v>
                </c:pt>
                <c:pt idx="72">
                  <c:v>45406</c:v>
                </c:pt>
                <c:pt idx="73">
                  <c:v>45405</c:v>
                </c:pt>
                <c:pt idx="74">
                  <c:v>45404</c:v>
                </c:pt>
                <c:pt idx="75">
                  <c:v>45403</c:v>
                </c:pt>
                <c:pt idx="76">
                  <c:v>45402</c:v>
                </c:pt>
                <c:pt idx="77">
                  <c:v>45401</c:v>
                </c:pt>
                <c:pt idx="78">
                  <c:v>45400</c:v>
                </c:pt>
                <c:pt idx="79">
                  <c:v>45399</c:v>
                </c:pt>
                <c:pt idx="80">
                  <c:v>45398</c:v>
                </c:pt>
                <c:pt idx="81">
                  <c:v>45397</c:v>
                </c:pt>
                <c:pt idx="82">
                  <c:v>45396</c:v>
                </c:pt>
                <c:pt idx="83">
                  <c:v>45395</c:v>
                </c:pt>
                <c:pt idx="84">
                  <c:v>45394</c:v>
                </c:pt>
                <c:pt idx="85">
                  <c:v>45393</c:v>
                </c:pt>
                <c:pt idx="86">
                  <c:v>45392</c:v>
                </c:pt>
                <c:pt idx="87">
                  <c:v>45391</c:v>
                </c:pt>
                <c:pt idx="88">
                  <c:v>45390</c:v>
                </c:pt>
                <c:pt idx="89">
                  <c:v>45389</c:v>
                </c:pt>
                <c:pt idx="90">
                  <c:v>45388</c:v>
                </c:pt>
                <c:pt idx="91">
                  <c:v>45387</c:v>
                </c:pt>
                <c:pt idx="92">
                  <c:v>45386</c:v>
                </c:pt>
                <c:pt idx="93">
                  <c:v>45385</c:v>
                </c:pt>
                <c:pt idx="94">
                  <c:v>45384</c:v>
                </c:pt>
                <c:pt idx="95">
                  <c:v>45383</c:v>
                </c:pt>
                <c:pt idx="96">
                  <c:v>45382</c:v>
                </c:pt>
                <c:pt idx="97">
                  <c:v>45381</c:v>
                </c:pt>
                <c:pt idx="98">
                  <c:v>45380</c:v>
                </c:pt>
                <c:pt idx="99">
                  <c:v>45379</c:v>
                </c:pt>
                <c:pt idx="100">
                  <c:v>45378</c:v>
                </c:pt>
                <c:pt idx="101">
                  <c:v>45377</c:v>
                </c:pt>
                <c:pt idx="102">
                  <c:v>45376</c:v>
                </c:pt>
                <c:pt idx="103">
                  <c:v>45375</c:v>
                </c:pt>
                <c:pt idx="104">
                  <c:v>45374</c:v>
                </c:pt>
                <c:pt idx="105">
                  <c:v>45373</c:v>
                </c:pt>
                <c:pt idx="106">
                  <c:v>45372</c:v>
                </c:pt>
                <c:pt idx="107">
                  <c:v>45371</c:v>
                </c:pt>
                <c:pt idx="108">
                  <c:v>45370</c:v>
                </c:pt>
                <c:pt idx="109">
                  <c:v>45369</c:v>
                </c:pt>
                <c:pt idx="110">
                  <c:v>45368</c:v>
                </c:pt>
                <c:pt idx="111">
                  <c:v>45367</c:v>
                </c:pt>
                <c:pt idx="112">
                  <c:v>45366</c:v>
                </c:pt>
                <c:pt idx="113">
                  <c:v>45365</c:v>
                </c:pt>
                <c:pt idx="114">
                  <c:v>45364</c:v>
                </c:pt>
                <c:pt idx="115">
                  <c:v>45363</c:v>
                </c:pt>
                <c:pt idx="116">
                  <c:v>45362</c:v>
                </c:pt>
                <c:pt idx="117">
                  <c:v>45361</c:v>
                </c:pt>
                <c:pt idx="118">
                  <c:v>45360</c:v>
                </c:pt>
                <c:pt idx="119">
                  <c:v>45359</c:v>
                </c:pt>
                <c:pt idx="120">
                  <c:v>45358</c:v>
                </c:pt>
                <c:pt idx="121">
                  <c:v>45357</c:v>
                </c:pt>
                <c:pt idx="122">
                  <c:v>45356</c:v>
                </c:pt>
                <c:pt idx="123">
                  <c:v>45355</c:v>
                </c:pt>
                <c:pt idx="124">
                  <c:v>45354</c:v>
                </c:pt>
                <c:pt idx="125">
                  <c:v>45353</c:v>
                </c:pt>
                <c:pt idx="126">
                  <c:v>45352</c:v>
                </c:pt>
                <c:pt idx="127">
                  <c:v>45351</c:v>
                </c:pt>
                <c:pt idx="128">
                  <c:v>45350</c:v>
                </c:pt>
                <c:pt idx="129">
                  <c:v>45349</c:v>
                </c:pt>
                <c:pt idx="130">
                  <c:v>45348</c:v>
                </c:pt>
                <c:pt idx="131">
                  <c:v>45347</c:v>
                </c:pt>
                <c:pt idx="132">
                  <c:v>45346</c:v>
                </c:pt>
                <c:pt idx="133">
                  <c:v>45345</c:v>
                </c:pt>
                <c:pt idx="134">
                  <c:v>45344</c:v>
                </c:pt>
                <c:pt idx="135">
                  <c:v>45343</c:v>
                </c:pt>
                <c:pt idx="136">
                  <c:v>45342</c:v>
                </c:pt>
                <c:pt idx="137">
                  <c:v>45341</c:v>
                </c:pt>
                <c:pt idx="138">
                  <c:v>45340</c:v>
                </c:pt>
                <c:pt idx="139">
                  <c:v>45339</c:v>
                </c:pt>
                <c:pt idx="140">
                  <c:v>45338</c:v>
                </c:pt>
                <c:pt idx="141">
                  <c:v>45337</c:v>
                </c:pt>
                <c:pt idx="142">
                  <c:v>45336</c:v>
                </c:pt>
                <c:pt idx="143">
                  <c:v>45335</c:v>
                </c:pt>
                <c:pt idx="144">
                  <c:v>45334</c:v>
                </c:pt>
                <c:pt idx="145">
                  <c:v>45333</c:v>
                </c:pt>
                <c:pt idx="146">
                  <c:v>45332</c:v>
                </c:pt>
                <c:pt idx="147">
                  <c:v>45331</c:v>
                </c:pt>
                <c:pt idx="148">
                  <c:v>45330</c:v>
                </c:pt>
                <c:pt idx="149">
                  <c:v>45329</c:v>
                </c:pt>
                <c:pt idx="150">
                  <c:v>45328</c:v>
                </c:pt>
                <c:pt idx="151">
                  <c:v>45327</c:v>
                </c:pt>
                <c:pt idx="152">
                  <c:v>45326</c:v>
                </c:pt>
                <c:pt idx="153">
                  <c:v>45325</c:v>
                </c:pt>
                <c:pt idx="154">
                  <c:v>45324</c:v>
                </c:pt>
                <c:pt idx="155">
                  <c:v>45323</c:v>
                </c:pt>
                <c:pt idx="156">
                  <c:v>45322</c:v>
                </c:pt>
                <c:pt idx="157">
                  <c:v>45321</c:v>
                </c:pt>
                <c:pt idx="158">
                  <c:v>45320</c:v>
                </c:pt>
                <c:pt idx="159">
                  <c:v>45319</c:v>
                </c:pt>
                <c:pt idx="160">
                  <c:v>45318</c:v>
                </c:pt>
                <c:pt idx="161">
                  <c:v>45317</c:v>
                </c:pt>
                <c:pt idx="162">
                  <c:v>45316</c:v>
                </c:pt>
                <c:pt idx="163">
                  <c:v>45315</c:v>
                </c:pt>
                <c:pt idx="164">
                  <c:v>45314</c:v>
                </c:pt>
                <c:pt idx="165">
                  <c:v>45313</c:v>
                </c:pt>
                <c:pt idx="166">
                  <c:v>45312</c:v>
                </c:pt>
                <c:pt idx="167">
                  <c:v>45311</c:v>
                </c:pt>
                <c:pt idx="168">
                  <c:v>45310</c:v>
                </c:pt>
                <c:pt idx="169">
                  <c:v>45309</c:v>
                </c:pt>
                <c:pt idx="170">
                  <c:v>45308</c:v>
                </c:pt>
                <c:pt idx="171">
                  <c:v>45307</c:v>
                </c:pt>
                <c:pt idx="172">
                  <c:v>45306</c:v>
                </c:pt>
                <c:pt idx="173">
                  <c:v>45305</c:v>
                </c:pt>
                <c:pt idx="174">
                  <c:v>45304</c:v>
                </c:pt>
                <c:pt idx="175">
                  <c:v>45303</c:v>
                </c:pt>
                <c:pt idx="176">
                  <c:v>45302</c:v>
                </c:pt>
                <c:pt idx="177">
                  <c:v>45301</c:v>
                </c:pt>
                <c:pt idx="178">
                  <c:v>45300</c:v>
                </c:pt>
                <c:pt idx="179">
                  <c:v>45299</c:v>
                </c:pt>
                <c:pt idx="180">
                  <c:v>45298</c:v>
                </c:pt>
                <c:pt idx="181">
                  <c:v>45297</c:v>
                </c:pt>
                <c:pt idx="182">
                  <c:v>45296</c:v>
                </c:pt>
                <c:pt idx="183">
                  <c:v>45295</c:v>
                </c:pt>
                <c:pt idx="184">
                  <c:v>45294</c:v>
                </c:pt>
                <c:pt idx="185">
                  <c:v>45293</c:v>
                </c:pt>
                <c:pt idx="186">
                  <c:v>45292</c:v>
                </c:pt>
                <c:pt idx="187">
                  <c:v>45291</c:v>
                </c:pt>
                <c:pt idx="188">
                  <c:v>45290</c:v>
                </c:pt>
                <c:pt idx="189">
                  <c:v>45289</c:v>
                </c:pt>
                <c:pt idx="190">
                  <c:v>45288</c:v>
                </c:pt>
                <c:pt idx="191">
                  <c:v>45287</c:v>
                </c:pt>
                <c:pt idx="192">
                  <c:v>45286</c:v>
                </c:pt>
                <c:pt idx="193">
                  <c:v>45285</c:v>
                </c:pt>
                <c:pt idx="194">
                  <c:v>45284</c:v>
                </c:pt>
                <c:pt idx="195">
                  <c:v>45283</c:v>
                </c:pt>
                <c:pt idx="196">
                  <c:v>45282</c:v>
                </c:pt>
                <c:pt idx="197">
                  <c:v>45281</c:v>
                </c:pt>
                <c:pt idx="198">
                  <c:v>45280</c:v>
                </c:pt>
                <c:pt idx="199">
                  <c:v>45279</c:v>
                </c:pt>
                <c:pt idx="200">
                  <c:v>45278</c:v>
                </c:pt>
                <c:pt idx="201">
                  <c:v>45277</c:v>
                </c:pt>
                <c:pt idx="202">
                  <c:v>45276</c:v>
                </c:pt>
                <c:pt idx="203">
                  <c:v>45275</c:v>
                </c:pt>
                <c:pt idx="204">
                  <c:v>45274</c:v>
                </c:pt>
                <c:pt idx="205">
                  <c:v>45273</c:v>
                </c:pt>
                <c:pt idx="206">
                  <c:v>45272</c:v>
                </c:pt>
                <c:pt idx="207">
                  <c:v>45271</c:v>
                </c:pt>
                <c:pt idx="208">
                  <c:v>45270</c:v>
                </c:pt>
                <c:pt idx="209">
                  <c:v>45269</c:v>
                </c:pt>
                <c:pt idx="210">
                  <c:v>45268</c:v>
                </c:pt>
                <c:pt idx="211">
                  <c:v>45267</c:v>
                </c:pt>
                <c:pt idx="212">
                  <c:v>45266</c:v>
                </c:pt>
                <c:pt idx="213">
                  <c:v>45265</c:v>
                </c:pt>
                <c:pt idx="214">
                  <c:v>45264</c:v>
                </c:pt>
                <c:pt idx="215">
                  <c:v>45263</c:v>
                </c:pt>
                <c:pt idx="216">
                  <c:v>45262</c:v>
                </c:pt>
                <c:pt idx="217">
                  <c:v>45261</c:v>
                </c:pt>
                <c:pt idx="218">
                  <c:v>45260</c:v>
                </c:pt>
                <c:pt idx="219">
                  <c:v>45259</c:v>
                </c:pt>
                <c:pt idx="220">
                  <c:v>45258</c:v>
                </c:pt>
                <c:pt idx="221">
                  <c:v>45257</c:v>
                </c:pt>
                <c:pt idx="222">
                  <c:v>45256</c:v>
                </c:pt>
                <c:pt idx="223">
                  <c:v>45255</c:v>
                </c:pt>
                <c:pt idx="224">
                  <c:v>45254</c:v>
                </c:pt>
                <c:pt idx="225">
                  <c:v>45253</c:v>
                </c:pt>
                <c:pt idx="226">
                  <c:v>45252</c:v>
                </c:pt>
                <c:pt idx="227">
                  <c:v>45251</c:v>
                </c:pt>
                <c:pt idx="228">
                  <c:v>45250</c:v>
                </c:pt>
                <c:pt idx="229">
                  <c:v>45249</c:v>
                </c:pt>
                <c:pt idx="230">
                  <c:v>45248</c:v>
                </c:pt>
                <c:pt idx="231">
                  <c:v>45247</c:v>
                </c:pt>
                <c:pt idx="232">
                  <c:v>45246</c:v>
                </c:pt>
                <c:pt idx="233">
                  <c:v>45245</c:v>
                </c:pt>
                <c:pt idx="234">
                  <c:v>45244</c:v>
                </c:pt>
                <c:pt idx="235">
                  <c:v>45243</c:v>
                </c:pt>
                <c:pt idx="236">
                  <c:v>45242</c:v>
                </c:pt>
                <c:pt idx="237">
                  <c:v>45241</c:v>
                </c:pt>
                <c:pt idx="238">
                  <c:v>45240</c:v>
                </c:pt>
                <c:pt idx="239">
                  <c:v>45239</c:v>
                </c:pt>
                <c:pt idx="240">
                  <c:v>45238</c:v>
                </c:pt>
                <c:pt idx="241">
                  <c:v>45237</c:v>
                </c:pt>
                <c:pt idx="242">
                  <c:v>45236</c:v>
                </c:pt>
                <c:pt idx="243">
                  <c:v>45235</c:v>
                </c:pt>
                <c:pt idx="244">
                  <c:v>45234</c:v>
                </c:pt>
                <c:pt idx="245">
                  <c:v>45233</c:v>
                </c:pt>
                <c:pt idx="246">
                  <c:v>45232</c:v>
                </c:pt>
                <c:pt idx="247">
                  <c:v>45231</c:v>
                </c:pt>
                <c:pt idx="248">
                  <c:v>45230</c:v>
                </c:pt>
                <c:pt idx="249">
                  <c:v>45229</c:v>
                </c:pt>
                <c:pt idx="250">
                  <c:v>45228</c:v>
                </c:pt>
                <c:pt idx="251">
                  <c:v>45227</c:v>
                </c:pt>
                <c:pt idx="252">
                  <c:v>45226</c:v>
                </c:pt>
                <c:pt idx="253">
                  <c:v>45225</c:v>
                </c:pt>
                <c:pt idx="254">
                  <c:v>45224</c:v>
                </c:pt>
                <c:pt idx="255">
                  <c:v>45223</c:v>
                </c:pt>
                <c:pt idx="256">
                  <c:v>45222</c:v>
                </c:pt>
                <c:pt idx="257">
                  <c:v>45221</c:v>
                </c:pt>
                <c:pt idx="258">
                  <c:v>45220</c:v>
                </c:pt>
                <c:pt idx="259">
                  <c:v>45219</c:v>
                </c:pt>
                <c:pt idx="260">
                  <c:v>45218</c:v>
                </c:pt>
                <c:pt idx="261">
                  <c:v>45217</c:v>
                </c:pt>
                <c:pt idx="262">
                  <c:v>45216</c:v>
                </c:pt>
                <c:pt idx="263">
                  <c:v>45215</c:v>
                </c:pt>
                <c:pt idx="264">
                  <c:v>45214</c:v>
                </c:pt>
                <c:pt idx="265">
                  <c:v>45213</c:v>
                </c:pt>
                <c:pt idx="266">
                  <c:v>45212</c:v>
                </c:pt>
                <c:pt idx="267">
                  <c:v>45211</c:v>
                </c:pt>
                <c:pt idx="268">
                  <c:v>45210</c:v>
                </c:pt>
                <c:pt idx="269">
                  <c:v>45209</c:v>
                </c:pt>
                <c:pt idx="270">
                  <c:v>45208</c:v>
                </c:pt>
                <c:pt idx="271">
                  <c:v>45207</c:v>
                </c:pt>
                <c:pt idx="272">
                  <c:v>45206</c:v>
                </c:pt>
                <c:pt idx="273">
                  <c:v>45205</c:v>
                </c:pt>
                <c:pt idx="274">
                  <c:v>45204</c:v>
                </c:pt>
                <c:pt idx="275">
                  <c:v>45203</c:v>
                </c:pt>
                <c:pt idx="276">
                  <c:v>45202</c:v>
                </c:pt>
                <c:pt idx="277">
                  <c:v>45201</c:v>
                </c:pt>
                <c:pt idx="278">
                  <c:v>45200</c:v>
                </c:pt>
                <c:pt idx="279">
                  <c:v>45199</c:v>
                </c:pt>
                <c:pt idx="280">
                  <c:v>45198</c:v>
                </c:pt>
                <c:pt idx="281">
                  <c:v>45197</c:v>
                </c:pt>
                <c:pt idx="282">
                  <c:v>45196</c:v>
                </c:pt>
                <c:pt idx="283">
                  <c:v>45195</c:v>
                </c:pt>
                <c:pt idx="284">
                  <c:v>45194</c:v>
                </c:pt>
                <c:pt idx="285">
                  <c:v>45193</c:v>
                </c:pt>
                <c:pt idx="286">
                  <c:v>45192</c:v>
                </c:pt>
                <c:pt idx="287">
                  <c:v>45191</c:v>
                </c:pt>
                <c:pt idx="288">
                  <c:v>45190</c:v>
                </c:pt>
                <c:pt idx="289">
                  <c:v>45189</c:v>
                </c:pt>
                <c:pt idx="290">
                  <c:v>45188</c:v>
                </c:pt>
                <c:pt idx="291">
                  <c:v>45187</c:v>
                </c:pt>
                <c:pt idx="292">
                  <c:v>45186</c:v>
                </c:pt>
                <c:pt idx="293">
                  <c:v>45185</c:v>
                </c:pt>
                <c:pt idx="294">
                  <c:v>45184</c:v>
                </c:pt>
                <c:pt idx="295">
                  <c:v>45183</c:v>
                </c:pt>
                <c:pt idx="296">
                  <c:v>45182</c:v>
                </c:pt>
                <c:pt idx="297">
                  <c:v>45181</c:v>
                </c:pt>
                <c:pt idx="298">
                  <c:v>45180</c:v>
                </c:pt>
                <c:pt idx="299">
                  <c:v>45179</c:v>
                </c:pt>
                <c:pt idx="300">
                  <c:v>45178</c:v>
                </c:pt>
                <c:pt idx="301">
                  <c:v>45177</c:v>
                </c:pt>
                <c:pt idx="302">
                  <c:v>45176</c:v>
                </c:pt>
                <c:pt idx="303">
                  <c:v>45175</c:v>
                </c:pt>
                <c:pt idx="304">
                  <c:v>45174</c:v>
                </c:pt>
                <c:pt idx="305">
                  <c:v>45173</c:v>
                </c:pt>
                <c:pt idx="306">
                  <c:v>45172</c:v>
                </c:pt>
                <c:pt idx="307">
                  <c:v>45171</c:v>
                </c:pt>
                <c:pt idx="308">
                  <c:v>45170</c:v>
                </c:pt>
                <c:pt idx="309">
                  <c:v>45169</c:v>
                </c:pt>
                <c:pt idx="310">
                  <c:v>45168</c:v>
                </c:pt>
                <c:pt idx="311">
                  <c:v>45167</c:v>
                </c:pt>
                <c:pt idx="312">
                  <c:v>45166</c:v>
                </c:pt>
                <c:pt idx="313">
                  <c:v>45165</c:v>
                </c:pt>
                <c:pt idx="314">
                  <c:v>45164</c:v>
                </c:pt>
                <c:pt idx="315">
                  <c:v>45163</c:v>
                </c:pt>
                <c:pt idx="316">
                  <c:v>45162</c:v>
                </c:pt>
                <c:pt idx="317">
                  <c:v>45161</c:v>
                </c:pt>
                <c:pt idx="318">
                  <c:v>45160</c:v>
                </c:pt>
                <c:pt idx="319">
                  <c:v>45159</c:v>
                </c:pt>
                <c:pt idx="320">
                  <c:v>45158</c:v>
                </c:pt>
                <c:pt idx="321">
                  <c:v>45157</c:v>
                </c:pt>
                <c:pt idx="322">
                  <c:v>45156</c:v>
                </c:pt>
                <c:pt idx="323">
                  <c:v>45155</c:v>
                </c:pt>
                <c:pt idx="324">
                  <c:v>45154</c:v>
                </c:pt>
                <c:pt idx="325">
                  <c:v>45153</c:v>
                </c:pt>
                <c:pt idx="326">
                  <c:v>45152</c:v>
                </c:pt>
                <c:pt idx="327">
                  <c:v>45151</c:v>
                </c:pt>
                <c:pt idx="328">
                  <c:v>45150</c:v>
                </c:pt>
                <c:pt idx="329">
                  <c:v>45149</c:v>
                </c:pt>
                <c:pt idx="330">
                  <c:v>45148</c:v>
                </c:pt>
                <c:pt idx="331">
                  <c:v>45147</c:v>
                </c:pt>
                <c:pt idx="332">
                  <c:v>45146</c:v>
                </c:pt>
                <c:pt idx="333">
                  <c:v>45145</c:v>
                </c:pt>
                <c:pt idx="334">
                  <c:v>45144</c:v>
                </c:pt>
                <c:pt idx="335">
                  <c:v>45143</c:v>
                </c:pt>
                <c:pt idx="336">
                  <c:v>45142</c:v>
                </c:pt>
                <c:pt idx="337">
                  <c:v>45141</c:v>
                </c:pt>
                <c:pt idx="338">
                  <c:v>45140</c:v>
                </c:pt>
                <c:pt idx="339">
                  <c:v>45139</c:v>
                </c:pt>
                <c:pt idx="340">
                  <c:v>45138</c:v>
                </c:pt>
                <c:pt idx="341">
                  <c:v>45137</c:v>
                </c:pt>
                <c:pt idx="342">
                  <c:v>45136</c:v>
                </c:pt>
                <c:pt idx="343">
                  <c:v>45135</c:v>
                </c:pt>
                <c:pt idx="344">
                  <c:v>45134</c:v>
                </c:pt>
                <c:pt idx="345">
                  <c:v>45133</c:v>
                </c:pt>
                <c:pt idx="346">
                  <c:v>45132</c:v>
                </c:pt>
                <c:pt idx="347">
                  <c:v>45131</c:v>
                </c:pt>
                <c:pt idx="348">
                  <c:v>45130</c:v>
                </c:pt>
                <c:pt idx="349">
                  <c:v>45129</c:v>
                </c:pt>
                <c:pt idx="350">
                  <c:v>45128</c:v>
                </c:pt>
                <c:pt idx="351">
                  <c:v>45127</c:v>
                </c:pt>
                <c:pt idx="352">
                  <c:v>45126</c:v>
                </c:pt>
                <c:pt idx="353">
                  <c:v>45125</c:v>
                </c:pt>
                <c:pt idx="354">
                  <c:v>45124</c:v>
                </c:pt>
                <c:pt idx="355">
                  <c:v>45123</c:v>
                </c:pt>
                <c:pt idx="356">
                  <c:v>45122</c:v>
                </c:pt>
                <c:pt idx="357">
                  <c:v>45121</c:v>
                </c:pt>
                <c:pt idx="358">
                  <c:v>45120</c:v>
                </c:pt>
                <c:pt idx="359">
                  <c:v>45119</c:v>
                </c:pt>
                <c:pt idx="360">
                  <c:v>45118</c:v>
                </c:pt>
                <c:pt idx="361">
                  <c:v>45117</c:v>
                </c:pt>
                <c:pt idx="362">
                  <c:v>45116</c:v>
                </c:pt>
                <c:pt idx="363">
                  <c:v>45115</c:v>
                </c:pt>
                <c:pt idx="364">
                  <c:v>45114</c:v>
                </c:pt>
                <c:pt idx="365">
                  <c:v>45113</c:v>
                </c:pt>
                <c:pt idx="366">
                  <c:v>45112</c:v>
                </c:pt>
              </c:numCache>
            </c:numRef>
          </c:cat>
          <c:val>
            <c:numRef>
              <c:f>多晶硅价格图表!$AF$10:$AF$376</c:f>
              <c:numCache>
                <c:formatCode>#,##0_);[Red]\(#,##0\)</c:formatCode>
                <c:ptCount val="367"/>
                <c:pt idx="0">
                  <c:v>32000</c:v>
                </c:pt>
                <c:pt idx="1">
                  <c:v>32000</c:v>
                </c:pt>
                <c:pt idx="2">
                  <c:v>32000</c:v>
                </c:pt>
                <c:pt idx="3">
                  <c:v>32000</c:v>
                </c:pt>
                <c:pt idx="4">
                  <c:v>32000</c:v>
                </c:pt>
                <c:pt idx="5">
                  <c:v>32000</c:v>
                </c:pt>
                <c:pt idx="6">
                  <c:v>32000</c:v>
                </c:pt>
                <c:pt idx="7">
                  <c:v>32000</c:v>
                </c:pt>
                <c:pt idx="8">
                  <c:v>32000</c:v>
                </c:pt>
                <c:pt idx="9">
                  <c:v>33000</c:v>
                </c:pt>
                <c:pt idx="10">
                  <c:v>33000</c:v>
                </c:pt>
                <c:pt idx="11">
                  <c:v>33000</c:v>
                </c:pt>
                <c:pt idx="12">
                  <c:v>33000</c:v>
                </c:pt>
                <c:pt idx="13">
                  <c:v>33000</c:v>
                </c:pt>
                <c:pt idx="14">
                  <c:v>33000</c:v>
                </c:pt>
                <c:pt idx="15">
                  <c:v>33000</c:v>
                </c:pt>
                <c:pt idx="16">
                  <c:v>33000</c:v>
                </c:pt>
                <c:pt idx="17">
                  <c:v>33000</c:v>
                </c:pt>
                <c:pt idx="18">
                  <c:v>33000</c:v>
                </c:pt>
                <c:pt idx="19">
                  <c:v>33000</c:v>
                </c:pt>
                <c:pt idx="20">
                  <c:v>33000</c:v>
                </c:pt>
                <c:pt idx="21">
                  <c:v>33000</c:v>
                </c:pt>
                <c:pt idx="22">
                  <c:v>33000</c:v>
                </c:pt>
                <c:pt idx="23">
                  <c:v>34000</c:v>
                </c:pt>
                <c:pt idx="24">
                  <c:v>34000</c:v>
                </c:pt>
                <c:pt idx="25">
                  <c:v>34000</c:v>
                </c:pt>
                <c:pt idx="26">
                  <c:v>34000</c:v>
                </c:pt>
                <c:pt idx="27">
                  <c:v>34000</c:v>
                </c:pt>
                <c:pt idx="28">
                  <c:v>34000</c:v>
                </c:pt>
                <c:pt idx="29">
                  <c:v>34000</c:v>
                </c:pt>
                <c:pt idx="30">
                  <c:v>34000</c:v>
                </c:pt>
                <c:pt idx="31">
                  <c:v>34000</c:v>
                </c:pt>
                <c:pt idx="32">
                  <c:v>34000</c:v>
                </c:pt>
                <c:pt idx="33">
                  <c:v>34000</c:v>
                </c:pt>
                <c:pt idx="34">
                  <c:v>34000</c:v>
                </c:pt>
                <c:pt idx="35">
                  <c:v>34000</c:v>
                </c:pt>
                <c:pt idx="36">
                  <c:v>34000</c:v>
                </c:pt>
                <c:pt idx="37">
                  <c:v>34000</c:v>
                </c:pt>
                <c:pt idx="38">
                  <c:v>34000</c:v>
                </c:pt>
                <c:pt idx="39">
                  <c:v>34000</c:v>
                </c:pt>
                <c:pt idx="40">
                  <c:v>34000</c:v>
                </c:pt>
                <c:pt idx="41">
                  <c:v>34000</c:v>
                </c:pt>
                <c:pt idx="42">
                  <c:v>34000</c:v>
                </c:pt>
                <c:pt idx="43">
                  <c:v>34000</c:v>
                </c:pt>
                <c:pt idx="44">
                  <c:v>34000</c:v>
                </c:pt>
                <c:pt idx="45">
                  <c:v>34000</c:v>
                </c:pt>
                <c:pt idx="46">
                  <c:v>34000</c:v>
                </c:pt>
                <c:pt idx="47">
                  <c:v>34000</c:v>
                </c:pt>
                <c:pt idx="48">
                  <c:v>34000</c:v>
                </c:pt>
                <c:pt idx="49">
                  <c:v>34000</c:v>
                </c:pt>
                <c:pt idx="50">
                  <c:v>34000</c:v>
                </c:pt>
                <c:pt idx="51">
                  <c:v>34000</c:v>
                </c:pt>
                <c:pt idx="52">
                  <c:v>37000</c:v>
                </c:pt>
                <c:pt idx="53">
                  <c:v>37000</c:v>
                </c:pt>
                <c:pt idx="54">
                  <c:v>37000</c:v>
                </c:pt>
                <c:pt idx="55">
                  <c:v>37000</c:v>
                </c:pt>
                <c:pt idx="56">
                  <c:v>37000</c:v>
                </c:pt>
                <c:pt idx="57">
                  <c:v>37000</c:v>
                </c:pt>
                <c:pt idx="58">
                  <c:v>38000</c:v>
                </c:pt>
                <c:pt idx="59">
                  <c:v>38000</c:v>
                </c:pt>
                <c:pt idx="60">
                  <c:v>40000</c:v>
                </c:pt>
                <c:pt idx="61">
                  <c:v>40000</c:v>
                </c:pt>
                <c:pt idx="62">
                  <c:v>40000</c:v>
                </c:pt>
                <c:pt idx="63">
                  <c:v>40000</c:v>
                </c:pt>
                <c:pt idx="64">
                  <c:v>40000</c:v>
                </c:pt>
                <c:pt idx="65">
                  <c:v>40000</c:v>
                </c:pt>
                <c:pt idx="66">
                  <c:v>40000</c:v>
                </c:pt>
                <c:pt idx="67">
                  <c:v>40000</c:v>
                </c:pt>
                <c:pt idx="68">
                  <c:v>40000</c:v>
                </c:pt>
                <c:pt idx="69">
                  <c:v>40000</c:v>
                </c:pt>
                <c:pt idx="70">
                  <c:v>40000</c:v>
                </c:pt>
                <c:pt idx="71">
                  <c:v>40000</c:v>
                </c:pt>
                <c:pt idx="72">
                  <c:v>41500</c:v>
                </c:pt>
                <c:pt idx="73">
                  <c:v>41500</c:v>
                </c:pt>
                <c:pt idx="74">
                  <c:v>41500</c:v>
                </c:pt>
                <c:pt idx="75">
                  <c:v>43500</c:v>
                </c:pt>
                <c:pt idx="76">
                  <c:v>43500</c:v>
                </c:pt>
                <c:pt idx="77">
                  <c:v>43500</c:v>
                </c:pt>
                <c:pt idx="78">
                  <c:v>43500</c:v>
                </c:pt>
                <c:pt idx="79">
                  <c:v>45500</c:v>
                </c:pt>
                <c:pt idx="80">
                  <c:v>45500</c:v>
                </c:pt>
                <c:pt idx="81">
                  <c:v>45500</c:v>
                </c:pt>
                <c:pt idx="82">
                  <c:v>48500</c:v>
                </c:pt>
                <c:pt idx="83">
                  <c:v>48500</c:v>
                </c:pt>
                <c:pt idx="84">
                  <c:v>48500</c:v>
                </c:pt>
                <c:pt idx="85">
                  <c:v>48500</c:v>
                </c:pt>
                <c:pt idx="86">
                  <c:v>48500</c:v>
                </c:pt>
                <c:pt idx="87">
                  <c:v>48500</c:v>
                </c:pt>
                <c:pt idx="88">
                  <c:v>49500</c:v>
                </c:pt>
                <c:pt idx="89">
                  <c:v>51500</c:v>
                </c:pt>
                <c:pt idx="90">
                  <c:v>51500</c:v>
                </c:pt>
                <c:pt idx="91">
                  <c:v>51500</c:v>
                </c:pt>
                <c:pt idx="92">
                  <c:v>51500</c:v>
                </c:pt>
                <c:pt idx="93">
                  <c:v>51500</c:v>
                </c:pt>
                <c:pt idx="94">
                  <c:v>51500</c:v>
                </c:pt>
                <c:pt idx="95">
                  <c:v>51500</c:v>
                </c:pt>
                <c:pt idx="96">
                  <c:v>56500</c:v>
                </c:pt>
                <c:pt idx="97">
                  <c:v>56500</c:v>
                </c:pt>
                <c:pt idx="98">
                  <c:v>56500</c:v>
                </c:pt>
                <c:pt idx="99">
                  <c:v>56500</c:v>
                </c:pt>
                <c:pt idx="100">
                  <c:v>56500</c:v>
                </c:pt>
                <c:pt idx="101">
                  <c:v>56500</c:v>
                </c:pt>
                <c:pt idx="102">
                  <c:v>56500</c:v>
                </c:pt>
                <c:pt idx="103">
                  <c:v>56500</c:v>
                </c:pt>
                <c:pt idx="104">
                  <c:v>56500</c:v>
                </c:pt>
                <c:pt idx="105">
                  <c:v>56500</c:v>
                </c:pt>
                <c:pt idx="106">
                  <c:v>56500</c:v>
                </c:pt>
                <c:pt idx="107">
                  <c:v>56500</c:v>
                </c:pt>
                <c:pt idx="108">
                  <c:v>56500</c:v>
                </c:pt>
                <c:pt idx="109">
                  <c:v>56500</c:v>
                </c:pt>
                <c:pt idx="110">
                  <c:v>56500</c:v>
                </c:pt>
                <c:pt idx="111">
                  <c:v>56500</c:v>
                </c:pt>
                <c:pt idx="112">
                  <c:v>56500</c:v>
                </c:pt>
                <c:pt idx="113">
                  <c:v>56500</c:v>
                </c:pt>
                <c:pt idx="114">
                  <c:v>56500</c:v>
                </c:pt>
                <c:pt idx="115">
                  <c:v>56500</c:v>
                </c:pt>
                <c:pt idx="116">
                  <c:v>56500</c:v>
                </c:pt>
                <c:pt idx="117">
                  <c:v>56500</c:v>
                </c:pt>
                <c:pt idx="118">
                  <c:v>56500</c:v>
                </c:pt>
                <c:pt idx="119">
                  <c:v>56500</c:v>
                </c:pt>
                <c:pt idx="120">
                  <c:v>56500</c:v>
                </c:pt>
                <c:pt idx="121">
                  <c:v>56500</c:v>
                </c:pt>
                <c:pt idx="122">
                  <c:v>56500</c:v>
                </c:pt>
                <c:pt idx="123">
                  <c:v>56500</c:v>
                </c:pt>
                <c:pt idx="124">
                  <c:v>56500</c:v>
                </c:pt>
                <c:pt idx="125">
                  <c:v>56500</c:v>
                </c:pt>
                <c:pt idx="126">
                  <c:v>56500</c:v>
                </c:pt>
                <c:pt idx="127">
                  <c:v>56500</c:v>
                </c:pt>
                <c:pt idx="128">
                  <c:v>55500</c:v>
                </c:pt>
                <c:pt idx="129">
                  <c:v>55500</c:v>
                </c:pt>
                <c:pt idx="130">
                  <c:v>55500</c:v>
                </c:pt>
                <c:pt idx="131">
                  <c:v>55500</c:v>
                </c:pt>
                <c:pt idx="132">
                  <c:v>55500</c:v>
                </c:pt>
                <c:pt idx="133">
                  <c:v>55500</c:v>
                </c:pt>
                <c:pt idx="134">
                  <c:v>55500</c:v>
                </c:pt>
                <c:pt idx="135">
                  <c:v>55500</c:v>
                </c:pt>
                <c:pt idx="136">
                  <c:v>55500</c:v>
                </c:pt>
                <c:pt idx="137">
                  <c:v>55500</c:v>
                </c:pt>
                <c:pt idx="138">
                  <c:v>55500</c:v>
                </c:pt>
                <c:pt idx="139">
                  <c:v>55500</c:v>
                </c:pt>
                <c:pt idx="140">
                  <c:v>55500</c:v>
                </c:pt>
                <c:pt idx="141">
                  <c:v>55500</c:v>
                </c:pt>
                <c:pt idx="142">
                  <c:v>55500</c:v>
                </c:pt>
                <c:pt idx="143">
                  <c:v>55500</c:v>
                </c:pt>
                <c:pt idx="144">
                  <c:v>55500</c:v>
                </c:pt>
                <c:pt idx="145">
                  <c:v>55500</c:v>
                </c:pt>
                <c:pt idx="146">
                  <c:v>55500</c:v>
                </c:pt>
                <c:pt idx="147">
                  <c:v>55500</c:v>
                </c:pt>
                <c:pt idx="148">
                  <c:v>55500</c:v>
                </c:pt>
                <c:pt idx="149">
                  <c:v>55500</c:v>
                </c:pt>
                <c:pt idx="150">
                  <c:v>55500</c:v>
                </c:pt>
                <c:pt idx="151">
                  <c:v>55500</c:v>
                </c:pt>
                <c:pt idx="152">
                  <c:v>55500</c:v>
                </c:pt>
                <c:pt idx="153">
                  <c:v>55500</c:v>
                </c:pt>
                <c:pt idx="154">
                  <c:v>55500</c:v>
                </c:pt>
                <c:pt idx="155">
                  <c:v>55000</c:v>
                </c:pt>
                <c:pt idx="156">
                  <c:v>55000</c:v>
                </c:pt>
                <c:pt idx="157">
                  <c:v>55000</c:v>
                </c:pt>
                <c:pt idx="158">
                  <c:v>55000</c:v>
                </c:pt>
                <c:pt idx="159">
                  <c:v>55000</c:v>
                </c:pt>
                <c:pt idx="160">
                  <c:v>55000</c:v>
                </c:pt>
                <c:pt idx="161">
                  <c:v>55000</c:v>
                </c:pt>
                <c:pt idx="162">
                  <c:v>55000</c:v>
                </c:pt>
                <c:pt idx="163">
                  <c:v>54700</c:v>
                </c:pt>
                <c:pt idx="164">
                  <c:v>54700</c:v>
                </c:pt>
                <c:pt idx="165">
                  <c:v>54700</c:v>
                </c:pt>
                <c:pt idx="166">
                  <c:v>54700</c:v>
                </c:pt>
                <c:pt idx="167">
                  <c:v>54700</c:v>
                </c:pt>
                <c:pt idx="168">
                  <c:v>54700</c:v>
                </c:pt>
                <c:pt idx="169">
                  <c:v>54700</c:v>
                </c:pt>
                <c:pt idx="170">
                  <c:v>54500</c:v>
                </c:pt>
                <c:pt idx="171">
                  <c:v>54500</c:v>
                </c:pt>
                <c:pt idx="172">
                  <c:v>54500</c:v>
                </c:pt>
                <c:pt idx="173">
                  <c:v>54500</c:v>
                </c:pt>
                <c:pt idx="174">
                  <c:v>54500</c:v>
                </c:pt>
                <c:pt idx="175">
                  <c:v>54500</c:v>
                </c:pt>
                <c:pt idx="176">
                  <c:v>54500</c:v>
                </c:pt>
                <c:pt idx="177">
                  <c:v>54500</c:v>
                </c:pt>
                <c:pt idx="178">
                  <c:v>54500</c:v>
                </c:pt>
                <c:pt idx="179">
                  <c:v>54500</c:v>
                </c:pt>
                <c:pt idx="180">
                  <c:v>54500</c:v>
                </c:pt>
                <c:pt idx="181">
                  <c:v>54500</c:v>
                </c:pt>
                <c:pt idx="182">
                  <c:v>54500</c:v>
                </c:pt>
                <c:pt idx="183">
                  <c:v>54500</c:v>
                </c:pt>
                <c:pt idx="184">
                  <c:v>55500</c:v>
                </c:pt>
                <c:pt idx="185">
                  <c:v>55500</c:v>
                </c:pt>
                <c:pt idx="186">
                  <c:v>55500</c:v>
                </c:pt>
                <c:pt idx="187">
                  <c:v>55500</c:v>
                </c:pt>
                <c:pt idx="188">
                  <c:v>55500</c:v>
                </c:pt>
                <c:pt idx="189">
                  <c:v>55500</c:v>
                </c:pt>
                <c:pt idx="190">
                  <c:v>55500</c:v>
                </c:pt>
                <c:pt idx="191">
                  <c:v>56500</c:v>
                </c:pt>
                <c:pt idx="192">
                  <c:v>56500</c:v>
                </c:pt>
                <c:pt idx="193">
                  <c:v>56500</c:v>
                </c:pt>
                <c:pt idx="194">
                  <c:v>56500</c:v>
                </c:pt>
                <c:pt idx="195">
                  <c:v>56500</c:v>
                </c:pt>
                <c:pt idx="196">
                  <c:v>56500</c:v>
                </c:pt>
                <c:pt idx="197">
                  <c:v>56500</c:v>
                </c:pt>
                <c:pt idx="198">
                  <c:v>57000</c:v>
                </c:pt>
                <c:pt idx="199">
                  <c:v>57000</c:v>
                </c:pt>
                <c:pt idx="200">
                  <c:v>57000</c:v>
                </c:pt>
                <c:pt idx="201">
                  <c:v>57000</c:v>
                </c:pt>
                <c:pt idx="202">
                  <c:v>57000</c:v>
                </c:pt>
                <c:pt idx="203">
                  <c:v>57000</c:v>
                </c:pt>
                <c:pt idx="204">
                  <c:v>57000</c:v>
                </c:pt>
                <c:pt idx="205">
                  <c:v>57500</c:v>
                </c:pt>
                <c:pt idx="206">
                  <c:v>57500</c:v>
                </c:pt>
                <c:pt idx="207">
                  <c:v>57500</c:v>
                </c:pt>
                <c:pt idx="208">
                  <c:v>57500</c:v>
                </c:pt>
                <c:pt idx="209">
                  <c:v>57500</c:v>
                </c:pt>
                <c:pt idx="210">
                  <c:v>57500</c:v>
                </c:pt>
                <c:pt idx="211">
                  <c:v>57500</c:v>
                </c:pt>
                <c:pt idx="212">
                  <c:v>58500</c:v>
                </c:pt>
                <c:pt idx="213">
                  <c:v>58500</c:v>
                </c:pt>
                <c:pt idx="214">
                  <c:v>58500</c:v>
                </c:pt>
                <c:pt idx="215">
                  <c:v>58500</c:v>
                </c:pt>
                <c:pt idx="216">
                  <c:v>58500</c:v>
                </c:pt>
                <c:pt idx="217">
                  <c:v>58500</c:v>
                </c:pt>
                <c:pt idx="218">
                  <c:v>58500</c:v>
                </c:pt>
                <c:pt idx="219">
                  <c:v>59000</c:v>
                </c:pt>
                <c:pt idx="220">
                  <c:v>59000</c:v>
                </c:pt>
                <c:pt idx="221">
                  <c:v>59000</c:v>
                </c:pt>
                <c:pt idx="222">
                  <c:v>59000</c:v>
                </c:pt>
                <c:pt idx="223">
                  <c:v>59000</c:v>
                </c:pt>
                <c:pt idx="224">
                  <c:v>59000</c:v>
                </c:pt>
                <c:pt idx="225">
                  <c:v>59000</c:v>
                </c:pt>
                <c:pt idx="226">
                  <c:v>59000</c:v>
                </c:pt>
                <c:pt idx="227">
                  <c:v>60000</c:v>
                </c:pt>
                <c:pt idx="228">
                  <c:v>60000</c:v>
                </c:pt>
                <c:pt idx="229">
                  <c:v>60000</c:v>
                </c:pt>
                <c:pt idx="230">
                  <c:v>60000</c:v>
                </c:pt>
                <c:pt idx="231">
                  <c:v>60000</c:v>
                </c:pt>
                <c:pt idx="232">
                  <c:v>60000</c:v>
                </c:pt>
                <c:pt idx="233">
                  <c:v>60000</c:v>
                </c:pt>
                <c:pt idx="234">
                  <c:v>61000</c:v>
                </c:pt>
                <c:pt idx="235">
                  <c:v>61000</c:v>
                </c:pt>
                <c:pt idx="236">
                  <c:v>61000</c:v>
                </c:pt>
                <c:pt idx="237">
                  <c:v>61000</c:v>
                </c:pt>
                <c:pt idx="238">
                  <c:v>61000</c:v>
                </c:pt>
                <c:pt idx="239">
                  <c:v>61000</c:v>
                </c:pt>
                <c:pt idx="240">
                  <c:v>62000</c:v>
                </c:pt>
                <c:pt idx="241">
                  <c:v>62000</c:v>
                </c:pt>
                <c:pt idx="242">
                  <c:v>64000</c:v>
                </c:pt>
                <c:pt idx="243">
                  <c:v>64000</c:v>
                </c:pt>
                <c:pt idx="244">
                  <c:v>64000</c:v>
                </c:pt>
                <c:pt idx="245">
                  <c:v>64000</c:v>
                </c:pt>
                <c:pt idx="246">
                  <c:v>64000</c:v>
                </c:pt>
                <c:pt idx="247">
                  <c:v>72000</c:v>
                </c:pt>
                <c:pt idx="248">
                  <c:v>72000</c:v>
                </c:pt>
                <c:pt idx="249">
                  <c:v>72000</c:v>
                </c:pt>
                <c:pt idx="250">
                  <c:v>72000</c:v>
                </c:pt>
                <c:pt idx="251">
                  <c:v>72000</c:v>
                </c:pt>
                <c:pt idx="252">
                  <c:v>72000</c:v>
                </c:pt>
                <c:pt idx="253">
                  <c:v>72000</c:v>
                </c:pt>
                <c:pt idx="254">
                  <c:v>74000</c:v>
                </c:pt>
                <c:pt idx="255">
                  <c:v>74000</c:v>
                </c:pt>
                <c:pt idx="256">
                  <c:v>76000</c:v>
                </c:pt>
                <c:pt idx="257">
                  <c:v>76000</c:v>
                </c:pt>
                <c:pt idx="258">
                  <c:v>76000</c:v>
                </c:pt>
                <c:pt idx="259">
                  <c:v>76000</c:v>
                </c:pt>
                <c:pt idx="260">
                  <c:v>76000</c:v>
                </c:pt>
                <c:pt idx="261">
                  <c:v>76000</c:v>
                </c:pt>
                <c:pt idx="262">
                  <c:v>76000</c:v>
                </c:pt>
                <c:pt idx="263">
                  <c:v>76000</c:v>
                </c:pt>
                <c:pt idx="264">
                  <c:v>76000</c:v>
                </c:pt>
                <c:pt idx="265">
                  <c:v>76000</c:v>
                </c:pt>
                <c:pt idx="266">
                  <c:v>76000</c:v>
                </c:pt>
                <c:pt idx="267">
                  <c:v>76000</c:v>
                </c:pt>
                <c:pt idx="268">
                  <c:v>77000</c:v>
                </c:pt>
                <c:pt idx="269">
                  <c:v>77000</c:v>
                </c:pt>
                <c:pt idx="270">
                  <c:v>77000</c:v>
                </c:pt>
                <c:pt idx="271">
                  <c:v>77000</c:v>
                </c:pt>
                <c:pt idx="272">
                  <c:v>77000</c:v>
                </c:pt>
                <c:pt idx="273">
                  <c:v>77000</c:v>
                </c:pt>
                <c:pt idx="274">
                  <c:v>77000</c:v>
                </c:pt>
                <c:pt idx="275">
                  <c:v>77000</c:v>
                </c:pt>
                <c:pt idx="276">
                  <c:v>77000</c:v>
                </c:pt>
                <c:pt idx="277">
                  <c:v>77000</c:v>
                </c:pt>
                <c:pt idx="278">
                  <c:v>77000</c:v>
                </c:pt>
                <c:pt idx="279">
                  <c:v>77000</c:v>
                </c:pt>
                <c:pt idx="280">
                  <c:v>77000</c:v>
                </c:pt>
                <c:pt idx="281">
                  <c:v>77000</c:v>
                </c:pt>
                <c:pt idx="282">
                  <c:v>77000</c:v>
                </c:pt>
                <c:pt idx="283">
                  <c:v>77000</c:v>
                </c:pt>
                <c:pt idx="284">
                  <c:v>77000</c:v>
                </c:pt>
                <c:pt idx="285">
                  <c:v>77000</c:v>
                </c:pt>
                <c:pt idx="286">
                  <c:v>77000</c:v>
                </c:pt>
                <c:pt idx="287">
                  <c:v>77000</c:v>
                </c:pt>
                <c:pt idx="288">
                  <c:v>77000</c:v>
                </c:pt>
                <c:pt idx="289">
                  <c:v>77000</c:v>
                </c:pt>
                <c:pt idx="290">
                  <c:v>77000</c:v>
                </c:pt>
                <c:pt idx="291">
                  <c:v>77000</c:v>
                </c:pt>
                <c:pt idx="292">
                  <c:v>77000</c:v>
                </c:pt>
                <c:pt idx="293">
                  <c:v>77000</c:v>
                </c:pt>
                <c:pt idx="294">
                  <c:v>77000</c:v>
                </c:pt>
                <c:pt idx="295">
                  <c:v>77000</c:v>
                </c:pt>
                <c:pt idx="296">
                  <c:v>77000</c:v>
                </c:pt>
                <c:pt idx="297">
                  <c:v>77000</c:v>
                </c:pt>
                <c:pt idx="298">
                  <c:v>77000</c:v>
                </c:pt>
                <c:pt idx="299">
                  <c:v>77000</c:v>
                </c:pt>
                <c:pt idx="300">
                  <c:v>77000</c:v>
                </c:pt>
                <c:pt idx="301">
                  <c:v>77000</c:v>
                </c:pt>
                <c:pt idx="302">
                  <c:v>77000</c:v>
                </c:pt>
                <c:pt idx="303">
                  <c:v>76000</c:v>
                </c:pt>
                <c:pt idx="304">
                  <c:v>76000</c:v>
                </c:pt>
                <c:pt idx="305">
                  <c:v>76000</c:v>
                </c:pt>
                <c:pt idx="306">
                  <c:v>76000</c:v>
                </c:pt>
                <c:pt idx="307">
                  <c:v>76000</c:v>
                </c:pt>
                <c:pt idx="308">
                  <c:v>76000</c:v>
                </c:pt>
                <c:pt idx="309">
                  <c:v>76000</c:v>
                </c:pt>
                <c:pt idx="310">
                  <c:v>70000</c:v>
                </c:pt>
                <c:pt idx="311">
                  <c:v>70000</c:v>
                </c:pt>
                <c:pt idx="312">
                  <c:v>70000</c:v>
                </c:pt>
                <c:pt idx="313">
                  <c:v>70000</c:v>
                </c:pt>
                <c:pt idx="314">
                  <c:v>70000</c:v>
                </c:pt>
                <c:pt idx="315">
                  <c:v>70000</c:v>
                </c:pt>
                <c:pt idx="316">
                  <c:v>70000</c:v>
                </c:pt>
                <c:pt idx="317">
                  <c:v>69000</c:v>
                </c:pt>
                <c:pt idx="318">
                  <c:v>69000</c:v>
                </c:pt>
                <c:pt idx="319">
                  <c:v>69000</c:v>
                </c:pt>
                <c:pt idx="320">
                  <c:v>69000</c:v>
                </c:pt>
                <c:pt idx="321">
                  <c:v>69000</c:v>
                </c:pt>
                <c:pt idx="322">
                  <c:v>69000</c:v>
                </c:pt>
                <c:pt idx="323">
                  <c:v>69000</c:v>
                </c:pt>
                <c:pt idx="324">
                  <c:v>69000</c:v>
                </c:pt>
                <c:pt idx="325">
                  <c:v>68000</c:v>
                </c:pt>
                <c:pt idx="326">
                  <c:v>68000</c:v>
                </c:pt>
                <c:pt idx="327">
                  <c:v>68000</c:v>
                </c:pt>
                <c:pt idx="328">
                  <c:v>68000</c:v>
                </c:pt>
                <c:pt idx="329">
                  <c:v>68000</c:v>
                </c:pt>
                <c:pt idx="330">
                  <c:v>68000</c:v>
                </c:pt>
                <c:pt idx="331">
                  <c:v>68000</c:v>
                </c:pt>
                <c:pt idx="332">
                  <c:v>68000</c:v>
                </c:pt>
                <c:pt idx="333">
                  <c:v>66000</c:v>
                </c:pt>
                <c:pt idx="334">
                  <c:v>66000</c:v>
                </c:pt>
                <c:pt idx="335">
                  <c:v>66000</c:v>
                </c:pt>
                <c:pt idx="336">
                  <c:v>66000</c:v>
                </c:pt>
                <c:pt idx="337">
                  <c:v>66000</c:v>
                </c:pt>
                <c:pt idx="338">
                  <c:v>65000</c:v>
                </c:pt>
                <c:pt idx="339">
                  <c:v>65000</c:v>
                </c:pt>
                <c:pt idx="340">
                  <c:v>65000</c:v>
                </c:pt>
                <c:pt idx="341">
                  <c:v>65000</c:v>
                </c:pt>
                <c:pt idx="342">
                  <c:v>65000</c:v>
                </c:pt>
                <c:pt idx="343">
                  <c:v>65000</c:v>
                </c:pt>
                <c:pt idx="344">
                  <c:v>65000</c:v>
                </c:pt>
                <c:pt idx="345">
                  <c:v>64000</c:v>
                </c:pt>
                <c:pt idx="346">
                  <c:v>64000</c:v>
                </c:pt>
                <c:pt idx="347">
                  <c:v>64000</c:v>
                </c:pt>
                <c:pt idx="348">
                  <c:v>64000</c:v>
                </c:pt>
                <c:pt idx="349">
                  <c:v>64000</c:v>
                </c:pt>
                <c:pt idx="350">
                  <c:v>64000</c:v>
                </c:pt>
                <c:pt idx="351">
                  <c:v>64000</c:v>
                </c:pt>
                <c:pt idx="352">
                  <c:v>64000</c:v>
                </c:pt>
                <c:pt idx="353">
                  <c:v>61000</c:v>
                </c:pt>
                <c:pt idx="354">
                  <c:v>61000</c:v>
                </c:pt>
                <c:pt idx="355">
                  <c:v>61000</c:v>
                </c:pt>
                <c:pt idx="356">
                  <c:v>61000</c:v>
                </c:pt>
                <c:pt idx="357">
                  <c:v>61000</c:v>
                </c:pt>
                <c:pt idx="358">
                  <c:v>61000</c:v>
                </c:pt>
                <c:pt idx="359">
                  <c:v>61000</c:v>
                </c:pt>
                <c:pt idx="360">
                  <c:v>61000</c:v>
                </c:pt>
                <c:pt idx="361">
                  <c:v>61000</c:v>
                </c:pt>
                <c:pt idx="362">
                  <c:v>61000</c:v>
                </c:pt>
                <c:pt idx="363">
                  <c:v>61000</c:v>
                </c:pt>
                <c:pt idx="364">
                  <c:v>61000</c:v>
                </c:pt>
                <c:pt idx="365">
                  <c:v>61000</c:v>
                </c:pt>
                <c:pt idx="366">
                  <c:v>61000</c:v>
                </c:pt>
              </c:numCache>
            </c:numRef>
          </c:val>
          <c:smooth val="0"/>
          <c:extLst>
            <c:ext xmlns:c16="http://schemas.microsoft.com/office/drawing/2014/chart" uri="{C3380CC4-5D6E-409C-BE32-E72D297353CC}">
              <c16:uniqueId val="{00000002-14AF-4B78-B36B-546D6B80E89B}"/>
            </c:ext>
          </c:extLst>
        </c:ser>
        <c:dLbls>
          <c:showLegendKey val="0"/>
          <c:showVal val="0"/>
          <c:showCatName val="0"/>
          <c:showSerName val="0"/>
          <c:showPercent val="0"/>
          <c:showBubbleSize val="0"/>
        </c:dLbls>
        <c:smooth val="0"/>
        <c:axId val="884015647"/>
        <c:axId val="884017727"/>
      </c:lineChart>
      <c:dateAx>
        <c:axId val="884015647"/>
        <c:scaling>
          <c:orientation val="minMax"/>
          <c:min val="45170"/>
        </c:scaling>
        <c:delete val="0"/>
        <c:axPos val="b"/>
        <c:numFmt formatCode="yy/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crossAx val="884017727"/>
        <c:crosses val="autoZero"/>
        <c:auto val="1"/>
        <c:lblOffset val="100"/>
        <c:baseTimeUnit val="days"/>
      </c:dateAx>
      <c:valAx>
        <c:axId val="884017727"/>
        <c:scaling>
          <c:orientation val="minMax"/>
          <c:max val="85000"/>
          <c:min val="33000"/>
        </c:scaling>
        <c:delete val="0"/>
        <c:axPos val="l"/>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crossAx val="8840156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latin typeface="+mn-lt"/>
          <a:ea typeface="+mn-ea"/>
          <a:cs typeface="+mn-ea"/>
          <a:sym typeface="+mn-lt"/>
        </a:defRPr>
      </a:pPr>
      <a:endParaRPr lang="zh-CN"/>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多晶硅开工（周度）'!$E$3</c:f>
          <c:strCache>
            <c:ptCount val="1"/>
            <c:pt idx="0">
              <c:v>多晶硅周度产量</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ea"/>
              <a:sym typeface="+mn-lt"/>
            </a:defRPr>
          </a:pPr>
          <a:endParaRPr lang="zh-CN"/>
        </a:p>
      </c:txPr>
    </c:title>
    <c:autoTitleDeleted val="0"/>
    <c:plotArea>
      <c:layout/>
      <c:lineChart>
        <c:grouping val="standard"/>
        <c:varyColors val="0"/>
        <c:ser>
          <c:idx val="0"/>
          <c:order val="0"/>
          <c:tx>
            <c:strRef>
              <c:f>'多晶硅开工（周度）'!$F$4</c:f>
              <c:strCache>
                <c:ptCount val="1"/>
                <c:pt idx="0">
                  <c:v>2021</c:v>
                </c:pt>
              </c:strCache>
            </c:strRef>
          </c:tx>
          <c:spPr>
            <a:ln w="19050" cap="rnd">
              <a:solidFill>
                <a:srgbClr val="B57222">
                  <a:alpha val="60000"/>
                </a:srgbClr>
              </a:solidFill>
              <a:round/>
            </a:ln>
            <a:effectLst/>
          </c:spPr>
          <c:marker>
            <c:symbol val="none"/>
          </c:marker>
          <c:cat>
            <c:strRef>
              <c:f>'多晶硅开工（周度）'!$E$5:$E$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开工（周度）'!$F$5:$F$370</c:f>
              <c:numCache>
                <c:formatCode>General</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9295</c:v>
                </c:pt>
                <c:pt idx="15">
                  <c:v>#N/A</c:v>
                </c:pt>
                <c:pt idx="16">
                  <c:v>#N/A</c:v>
                </c:pt>
                <c:pt idx="17">
                  <c:v>#N/A</c:v>
                </c:pt>
                <c:pt idx="18">
                  <c:v>#N/A</c:v>
                </c:pt>
                <c:pt idx="19">
                  <c:v>#N/A</c:v>
                </c:pt>
                <c:pt idx="20">
                  <c:v>#N/A</c:v>
                </c:pt>
                <c:pt idx="21">
                  <c:v>9295</c:v>
                </c:pt>
                <c:pt idx="22">
                  <c:v>#N/A</c:v>
                </c:pt>
                <c:pt idx="23">
                  <c:v>#N/A</c:v>
                </c:pt>
                <c:pt idx="24">
                  <c:v>#N/A</c:v>
                </c:pt>
                <c:pt idx="25">
                  <c:v>#N/A</c:v>
                </c:pt>
                <c:pt idx="26">
                  <c:v>#N/A</c:v>
                </c:pt>
                <c:pt idx="27">
                  <c:v>#N/A</c:v>
                </c:pt>
                <c:pt idx="28">
                  <c:v>9295</c:v>
                </c:pt>
                <c:pt idx="29">
                  <c:v>#N/A</c:v>
                </c:pt>
                <c:pt idx="30">
                  <c:v>#N/A</c:v>
                </c:pt>
                <c:pt idx="31">
                  <c:v>#N/A</c:v>
                </c:pt>
                <c:pt idx="32">
                  <c:v>#N/A</c:v>
                </c:pt>
                <c:pt idx="33">
                  <c:v>#N/A</c:v>
                </c:pt>
                <c:pt idx="34">
                  <c:v>#N/A</c:v>
                </c:pt>
                <c:pt idx="35">
                  <c:v>9295</c:v>
                </c:pt>
                <c:pt idx="36">
                  <c:v>#N/A</c:v>
                </c:pt>
                <c:pt idx="37">
                  <c:v>#N/A</c:v>
                </c:pt>
                <c:pt idx="38">
                  <c:v>#N/A</c:v>
                </c:pt>
                <c:pt idx="39">
                  <c:v>#N/A</c:v>
                </c:pt>
                <c:pt idx="40">
                  <c:v>#N/A</c:v>
                </c:pt>
                <c:pt idx="41">
                  <c:v>#N/A</c:v>
                </c:pt>
                <c:pt idx="42">
                  <c:v>9295</c:v>
                </c:pt>
                <c:pt idx="43">
                  <c:v>#N/A</c:v>
                </c:pt>
                <c:pt idx="44">
                  <c:v>#N/A</c:v>
                </c:pt>
                <c:pt idx="45">
                  <c:v>#N/A</c:v>
                </c:pt>
                <c:pt idx="46">
                  <c:v>#N/A</c:v>
                </c:pt>
                <c:pt idx="47">
                  <c:v>#N/A</c:v>
                </c:pt>
                <c:pt idx="48">
                  <c:v>#N/A</c:v>
                </c:pt>
                <c:pt idx="49">
                  <c:v>9470</c:v>
                </c:pt>
                <c:pt idx="50">
                  <c:v>#N/A</c:v>
                </c:pt>
                <c:pt idx="51">
                  <c:v>#N/A</c:v>
                </c:pt>
                <c:pt idx="52">
                  <c:v>#N/A</c:v>
                </c:pt>
                <c:pt idx="53">
                  <c:v>#N/A</c:v>
                </c:pt>
                <c:pt idx="54">
                  <c:v>#N/A</c:v>
                </c:pt>
                <c:pt idx="55">
                  <c:v>#N/A</c:v>
                </c:pt>
                <c:pt idx="56">
                  <c:v>9420</c:v>
                </c:pt>
                <c:pt idx="57">
                  <c:v>#N/A</c:v>
                </c:pt>
                <c:pt idx="58">
                  <c:v>#N/A</c:v>
                </c:pt>
                <c:pt idx="60">
                  <c:v>#N/A</c:v>
                </c:pt>
                <c:pt idx="61">
                  <c:v>#N/A</c:v>
                </c:pt>
                <c:pt idx="62">
                  <c:v>#N/A</c:v>
                </c:pt>
                <c:pt idx="63">
                  <c:v>#N/A</c:v>
                </c:pt>
                <c:pt idx="64">
                  <c:v>9420</c:v>
                </c:pt>
                <c:pt idx="65">
                  <c:v>#N/A</c:v>
                </c:pt>
                <c:pt idx="66">
                  <c:v>#N/A</c:v>
                </c:pt>
                <c:pt idx="67">
                  <c:v>#N/A</c:v>
                </c:pt>
                <c:pt idx="68">
                  <c:v>#N/A</c:v>
                </c:pt>
                <c:pt idx="69">
                  <c:v>#N/A</c:v>
                </c:pt>
                <c:pt idx="70">
                  <c:v>#N/A</c:v>
                </c:pt>
                <c:pt idx="71">
                  <c:v>9420</c:v>
                </c:pt>
                <c:pt idx="72">
                  <c:v>#N/A</c:v>
                </c:pt>
                <c:pt idx="73">
                  <c:v>#N/A</c:v>
                </c:pt>
                <c:pt idx="74">
                  <c:v>#N/A</c:v>
                </c:pt>
                <c:pt idx="75">
                  <c:v>#N/A</c:v>
                </c:pt>
                <c:pt idx="76">
                  <c:v>#N/A</c:v>
                </c:pt>
                <c:pt idx="77">
                  <c:v>#N/A</c:v>
                </c:pt>
                <c:pt idx="78">
                  <c:v>9545</c:v>
                </c:pt>
                <c:pt idx="79">
                  <c:v>#N/A</c:v>
                </c:pt>
                <c:pt idx="80">
                  <c:v>#N/A</c:v>
                </c:pt>
                <c:pt idx="81">
                  <c:v>#N/A</c:v>
                </c:pt>
                <c:pt idx="82">
                  <c:v>#N/A</c:v>
                </c:pt>
                <c:pt idx="83">
                  <c:v>#N/A</c:v>
                </c:pt>
                <c:pt idx="84">
                  <c:v>#N/A</c:v>
                </c:pt>
                <c:pt idx="85">
                  <c:v>9620</c:v>
                </c:pt>
                <c:pt idx="86">
                  <c:v>#N/A</c:v>
                </c:pt>
                <c:pt idx="87">
                  <c:v>#N/A</c:v>
                </c:pt>
                <c:pt idx="88">
                  <c:v>#N/A</c:v>
                </c:pt>
                <c:pt idx="89">
                  <c:v>#N/A</c:v>
                </c:pt>
                <c:pt idx="90">
                  <c:v>#N/A</c:v>
                </c:pt>
                <c:pt idx="91">
                  <c:v>#N/A</c:v>
                </c:pt>
                <c:pt idx="92">
                  <c:v>9620</c:v>
                </c:pt>
                <c:pt idx="93">
                  <c:v>#N/A</c:v>
                </c:pt>
                <c:pt idx="94">
                  <c:v>#N/A</c:v>
                </c:pt>
                <c:pt idx="95">
                  <c:v>#N/A</c:v>
                </c:pt>
                <c:pt idx="96">
                  <c:v>#N/A</c:v>
                </c:pt>
                <c:pt idx="97">
                  <c:v>#N/A</c:v>
                </c:pt>
                <c:pt idx="98">
                  <c:v>#N/A</c:v>
                </c:pt>
                <c:pt idx="99">
                  <c:v>9620</c:v>
                </c:pt>
                <c:pt idx="100">
                  <c:v>#N/A</c:v>
                </c:pt>
                <c:pt idx="101">
                  <c:v>#N/A</c:v>
                </c:pt>
                <c:pt idx="102">
                  <c:v>#N/A</c:v>
                </c:pt>
                <c:pt idx="103">
                  <c:v>#N/A</c:v>
                </c:pt>
                <c:pt idx="104">
                  <c:v>#N/A</c:v>
                </c:pt>
                <c:pt idx="105">
                  <c:v>#N/A</c:v>
                </c:pt>
                <c:pt idx="106">
                  <c:v>9620</c:v>
                </c:pt>
                <c:pt idx="107">
                  <c:v>#N/A</c:v>
                </c:pt>
                <c:pt idx="108">
                  <c:v>#N/A</c:v>
                </c:pt>
                <c:pt idx="109">
                  <c:v>#N/A</c:v>
                </c:pt>
                <c:pt idx="110">
                  <c:v>#N/A</c:v>
                </c:pt>
                <c:pt idx="111">
                  <c:v>#N/A</c:v>
                </c:pt>
                <c:pt idx="112">
                  <c:v>#N/A</c:v>
                </c:pt>
                <c:pt idx="113">
                  <c:v>10095</c:v>
                </c:pt>
                <c:pt idx="114">
                  <c:v>#N/A</c:v>
                </c:pt>
                <c:pt idx="115">
                  <c:v>#N/A</c:v>
                </c:pt>
                <c:pt idx="116">
                  <c:v>#N/A</c:v>
                </c:pt>
                <c:pt idx="117">
                  <c:v>#N/A</c:v>
                </c:pt>
                <c:pt idx="118">
                  <c:v>#N/A</c:v>
                </c:pt>
                <c:pt idx="119">
                  <c:v>#N/A</c:v>
                </c:pt>
                <c:pt idx="120">
                  <c:v>10120</c:v>
                </c:pt>
                <c:pt idx="121">
                  <c:v>#N/A</c:v>
                </c:pt>
                <c:pt idx="122">
                  <c:v>#N/A</c:v>
                </c:pt>
                <c:pt idx="123">
                  <c:v>#N/A</c:v>
                </c:pt>
                <c:pt idx="124">
                  <c:v>#N/A</c:v>
                </c:pt>
                <c:pt idx="125">
                  <c:v>#N/A</c:v>
                </c:pt>
                <c:pt idx="126">
                  <c:v>#N/A</c:v>
                </c:pt>
                <c:pt idx="127">
                  <c:v>10120</c:v>
                </c:pt>
                <c:pt idx="128">
                  <c:v>#N/A</c:v>
                </c:pt>
                <c:pt idx="129">
                  <c:v>#N/A</c:v>
                </c:pt>
                <c:pt idx="130">
                  <c:v>#N/A</c:v>
                </c:pt>
                <c:pt idx="131">
                  <c:v>#N/A</c:v>
                </c:pt>
                <c:pt idx="132">
                  <c:v>#N/A</c:v>
                </c:pt>
                <c:pt idx="133">
                  <c:v>#N/A</c:v>
                </c:pt>
                <c:pt idx="134">
                  <c:v>10120</c:v>
                </c:pt>
                <c:pt idx="135">
                  <c:v>#N/A</c:v>
                </c:pt>
                <c:pt idx="136">
                  <c:v>#N/A</c:v>
                </c:pt>
                <c:pt idx="137">
                  <c:v>#N/A</c:v>
                </c:pt>
                <c:pt idx="138">
                  <c:v>#N/A</c:v>
                </c:pt>
                <c:pt idx="139">
                  <c:v>#N/A</c:v>
                </c:pt>
                <c:pt idx="140">
                  <c:v>#N/A</c:v>
                </c:pt>
                <c:pt idx="141">
                  <c:v>9845</c:v>
                </c:pt>
                <c:pt idx="142">
                  <c:v>#N/A</c:v>
                </c:pt>
                <c:pt idx="143">
                  <c:v>#N/A</c:v>
                </c:pt>
                <c:pt idx="144">
                  <c:v>#N/A</c:v>
                </c:pt>
                <c:pt idx="145">
                  <c:v>#N/A</c:v>
                </c:pt>
                <c:pt idx="146">
                  <c:v>#N/A</c:v>
                </c:pt>
                <c:pt idx="147">
                  <c:v>#N/A</c:v>
                </c:pt>
                <c:pt idx="148">
                  <c:v>9795</c:v>
                </c:pt>
                <c:pt idx="149">
                  <c:v>#N/A</c:v>
                </c:pt>
                <c:pt idx="150">
                  <c:v>#N/A</c:v>
                </c:pt>
                <c:pt idx="151">
                  <c:v>#N/A</c:v>
                </c:pt>
                <c:pt idx="152">
                  <c:v>#N/A</c:v>
                </c:pt>
                <c:pt idx="153">
                  <c:v>#N/A</c:v>
                </c:pt>
                <c:pt idx="154">
                  <c:v>#N/A</c:v>
                </c:pt>
                <c:pt idx="155">
                  <c:v>9795</c:v>
                </c:pt>
                <c:pt idx="156">
                  <c:v>#N/A</c:v>
                </c:pt>
                <c:pt idx="157">
                  <c:v>#N/A</c:v>
                </c:pt>
                <c:pt idx="158">
                  <c:v>#N/A</c:v>
                </c:pt>
                <c:pt idx="159">
                  <c:v>#N/A</c:v>
                </c:pt>
                <c:pt idx="160">
                  <c:v>#N/A</c:v>
                </c:pt>
                <c:pt idx="161">
                  <c:v>#N/A</c:v>
                </c:pt>
                <c:pt idx="162">
                  <c:v>9795</c:v>
                </c:pt>
                <c:pt idx="163">
                  <c:v>#N/A</c:v>
                </c:pt>
                <c:pt idx="164">
                  <c:v>#N/A</c:v>
                </c:pt>
                <c:pt idx="165">
                  <c:v>#N/A</c:v>
                </c:pt>
                <c:pt idx="166">
                  <c:v>#N/A</c:v>
                </c:pt>
                <c:pt idx="167">
                  <c:v>#N/A</c:v>
                </c:pt>
                <c:pt idx="168">
                  <c:v>#N/A</c:v>
                </c:pt>
                <c:pt idx="169">
                  <c:v>9795</c:v>
                </c:pt>
                <c:pt idx="170">
                  <c:v>#N/A</c:v>
                </c:pt>
                <c:pt idx="171">
                  <c:v>#N/A</c:v>
                </c:pt>
                <c:pt idx="172">
                  <c:v>#N/A</c:v>
                </c:pt>
                <c:pt idx="173">
                  <c:v>#N/A</c:v>
                </c:pt>
                <c:pt idx="174">
                  <c:v>#N/A</c:v>
                </c:pt>
                <c:pt idx="175">
                  <c:v>#N/A</c:v>
                </c:pt>
                <c:pt idx="176">
                  <c:v>9995</c:v>
                </c:pt>
                <c:pt idx="177">
                  <c:v>#N/A</c:v>
                </c:pt>
                <c:pt idx="178">
                  <c:v>#N/A</c:v>
                </c:pt>
                <c:pt idx="179">
                  <c:v>#N/A</c:v>
                </c:pt>
                <c:pt idx="180">
                  <c:v>#N/A</c:v>
                </c:pt>
                <c:pt idx="181">
                  <c:v>#N/A</c:v>
                </c:pt>
                <c:pt idx="182">
                  <c:v>#N/A</c:v>
                </c:pt>
                <c:pt idx="183">
                  <c:v>10045</c:v>
                </c:pt>
                <c:pt idx="184">
                  <c:v>#N/A</c:v>
                </c:pt>
                <c:pt idx="185">
                  <c:v>#N/A</c:v>
                </c:pt>
                <c:pt idx="186">
                  <c:v>#N/A</c:v>
                </c:pt>
                <c:pt idx="187">
                  <c:v>#N/A</c:v>
                </c:pt>
                <c:pt idx="188">
                  <c:v>#N/A</c:v>
                </c:pt>
                <c:pt idx="189">
                  <c:v>#N/A</c:v>
                </c:pt>
                <c:pt idx="190">
                  <c:v>10045</c:v>
                </c:pt>
                <c:pt idx="191">
                  <c:v>#N/A</c:v>
                </c:pt>
                <c:pt idx="192">
                  <c:v>#N/A</c:v>
                </c:pt>
                <c:pt idx="193">
                  <c:v>#N/A</c:v>
                </c:pt>
                <c:pt idx="194">
                  <c:v>#N/A</c:v>
                </c:pt>
                <c:pt idx="195">
                  <c:v>#N/A</c:v>
                </c:pt>
                <c:pt idx="196">
                  <c:v>#N/A</c:v>
                </c:pt>
                <c:pt idx="197">
                  <c:v>10045</c:v>
                </c:pt>
                <c:pt idx="198">
                  <c:v>#N/A</c:v>
                </c:pt>
                <c:pt idx="199">
                  <c:v>#N/A</c:v>
                </c:pt>
                <c:pt idx="200">
                  <c:v>#N/A</c:v>
                </c:pt>
                <c:pt idx="201">
                  <c:v>#N/A</c:v>
                </c:pt>
                <c:pt idx="202">
                  <c:v>#N/A</c:v>
                </c:pt>
                <c:pt idx="203">
                  <c:v>#N/A</c:v>
                </c:pt>
                <c:pt idx="204">
                  <c:v>10570</c:v>
                </c:pt>
                <c:pt idx="205">
                  <c:v>#N/A</c:v>
                </c:pt>
                <c:pt idx="206">
                  <c:v>#N/A</c:v>
                </c:pt>
                <c:pt idx="207">
                  <c:v>#N/A</c:v>
                </c:pt>
                <c:pt idx="208">
                  <c:v>#N/A</c:v>
                </c:pt>
                <c:pt idx="209">
                  <c:v>#N/A</c:v>
                </c:pt>
                <c:pt idx="210">
                  <c:v>#N/A</c:v>
                </c:pt>
                <c:pt idx="211">
                  <c:v>10720</c:v>
                </c:pt>
                <c:pt idx="212">
                  <c:v>#N/A</c:v>
                </c:pt>
                <c:pt idx="213">
                  <c:v>#N/A</c:v>
                </c:pt>
                <c:pt idx="214">
                  <c:v>#N/A</c:v>
                </c:pt>
                <c:pt idx="215">
                  <c:v>#N/A</c:v>
                </c:pt>
                <c:pt idx="216">
                  <c:v>#N/A</c:v>
                </c:pt>
                <c:pt idx="217">
                  <c:v>#N/A</c:v>
                </c:pt>
                <c:pt idx="218">
                  <c:v>10720</c:v>
                </c:pt>
                <c:pt idx="219">
                  <c:v>#N/A</c:v>
                </c:pt>
                <c:pt idx="220">
                  <c:v>#N/A</c:v>
                </c:pt>
                <c:pt idx="221">
                  <c:v>#N/A</c:v>
                </c:pt>
                <c:pt idx="222">
                  <c:v>#N/A</c:v>
                </c:pt>
                <c:pt idx="223">
                  <c:v>#N/A</c:v>
                </c:pt>
                <c:pt idx="224">
                  <c:v>#N/A</c:v>
                </c:pt>
                <c:pt idx="225">
                  <c:v>10720</c:v>
                </c:pt>
                <c:pt idx="226">
                  <c:v>#N/A</c:v>
                </c:pt>
                <c:pt idx="227">
                  <c:v>#N/A</c:v>
                </c:pt>
                <c:pt idx="228">
                  <c:v>#N/A</c:v>
                </c:pt>
                <c:pt idx="229">
                  <c:v>#N/A</c:v>
                </c:pt>
                <c:pt idx="230">
                  <c:v>#N/A</c:v>
                </c:pt>
                <c:pt idx="231">
                  <c:v>#N/A</c:v>
                </c:pt>
                <c:pt idx="232">
                  <c:v>10720</c:v>
                </c:pt>
                <c:pt idx="233">
                  <c:v>#N/A</c:v>
                </c:pt>
                <c:pt idx="234">
                  <c:v>#N/A</c:v>
                </c:pt>
                <c:pt idx="235">
                  <c:v>#N/A</c:v>
                </c:pt>
                <c:pt idx="236">
                  <c:v>#N/A</c:v>
                </c:pt>
                <c:pt idx="237">
                  <c:v>#N/A</c:v>
                </c:pt>
                <c:pt idx="238">
                  <c:v>#N/A</c:v>
                </c:pt>
                <c:pt idx="239">
                  <c:v>11145</c:v>
                </c:pt>
                <c:pt idx="240">
                  <c:v>#N/A</c:v>
                </c:pt>
                <c:pt idx="241">
                  <c:v>#N/A</c:v>
                </c:pt>
                <c:pt idx="242">
                  <c:v>#N/A</c:v>
                </c:pt>
                <c:pt idx="243">
                  <c:v>#N/A</c:v>
                </c:pt>
                <c:pt idx="244">
                  <c:v>#N/A</c:v>
                </c:pt>
                <c:pt idx="245">
                  <c:v>#N/A</c:v>
                </c:pt>
                <c:pt idx="246">
                  <c:v>11220</c:v>
                </c:pt>
                <c:pt idx="247">
                  <c:v>#N/A</c:v>
                </c:pt>
                <c:pt idx="248">
                  <c:v>#N/A</c:v>
                </c:pt>
                <c:pt idx="249">
                  <c:v>#N/A</c:v>
                </c:pt>
                <c:pt idx="250">
                  <c:v>#N/A</c:v>
                </c:pt>
                <c:pt idx="251">
                  <c:v>#N/A</c:v>
                </c:pt>
                <c:pt idx="252">
                  <c:v>#N/A</c:v>
                </c:pt>
                <c:pt idx="253">
                  <c:v>11220</c:v>
                </c:pt>
                <c:pt idx="254">
                  <c:v>#N/A</c:v>
                </c:pt>
                <c:pt idx="255">
                  <c:v>#N/A</c:v>
                </c:pt>
                <c:pt idx="256">
                  <c:v>#N/A</c:v>
                </c:pt>
                <c:pt idx="257">
                  <c:v>#N/A</c:v>
                </c:pt>
                <c:pt idx="258">
                  <c:v>#N/A</c:v>
                </c:pt>
                <c:pt idx="259">
                  <c:v>#N/A</c:v>
                </c:pt>
                <c:pt idx="260">
                  <c:v>11220</c:v>
                </c:pt>
                <c:pt idx="261">
                  <c:v>#N/A</c:v>
                </c:pt>
                <c:pt idx="262">
                  <c:v>#N/A</c:v>
                </c:pt>
                <c:pt idx="263">
                  <c:v>#N/A</c:v>
                </c:pt>
                <c:pt idx="264">
                  <c:v>#N/A</c:v>
                </c:pt>
                <c:pt idx="265">
                  <c:v>#N/A</c:v>
                </c:pt>
                <c:pt idx="266">
                  <c:v>#N/A</c:v>
                </c:pt>
                <c:pt idx="267">
                  <c:v>10970</c:v>
                </c:pt>
                <c:pt idx="268">
                  <c:v>#N/A</c:v>
                </c:pt>
                <c:pt idx="269">
                  <c:v>#N/A</c:v>
                </c:pt>
                <c:pt idx="270">
                  <c:v>#N/A</c:v>
                </c:pt>
                <c:pt idx="271">
                  <c:v>#N/A</c:v>
                </c:pt>
                <c:pt idx="272">
                  <c:v>#N/A</c:v>
                </c:pt>
                <c:pt idx="273">
                  <c:v>#N/A</c:v>
                </c:pt>
                <c:pt idx="274">
                  <c:v>10970</c:v>
                </c:pt>
                <c:pt idx="275">
                  <c:v>#N/A</c:v>
                </c:pt>
                <c:pt idx="276">
                  <c:v>#N/A</c:v>
                </c:pt>
                <c:pt idx="277">
                  <c:v>#N/A</c:v>
                </c:pt>
                <c:pt idx="278">
                  <c:v>#N/A</c:v>
                </c:pt>
                <c:pt idx="279">
                  <c:v>#N/A</c:v>
                </c:pt>
                <c:pt idx="280">
                  <c:v>#N/A</c:v>
                </c:pt>
                <c:pt idx="281">
                  <c:v>10970</c:v>
                </c:pt>
                <c:pt idx="282">
                  <c:v>#N/A</c:v>
                </c:pt>
                <c:pt idx="283">
                  <c:v>#N/A</c:v>
                </c:pt>
                <c:pt idx="284">
                  <c:v>#N/A</c:v>
                </c:pt>
                <c:pt idx="285">
                  <c:v>#N/A</c:v>
                </c:pt>
                <c:pt idx="286">
                  <c:v>#N/A</c:v>
                </c:pt>
                <c:pt idx="287">
                  <c:v>#N/A</c:v>
                </c:pt>
                <c:pt idx="288">
                  <c:v>10970</c:v>
                </c:pt>
                <c:pt idx="289">
                  <c:v>#N/A</c:v>
                </c:pt>
                <c:pt idx="290">
                  <c:v>#N/A</c:v>
                </c:pt>
                <c:pt idx="291">
                  <c:v>#N/A</c:v>
                </c:pt>
                <c:pt idx="292">
                  <c:v>#N/A</c:v>
                </c:pt>
                <c:pt idx="293">
                  <c:v>#N/A</c:v>
                </c:pt>
                <c:pt idx="294">
                  <c:v>#N/A</c:v>
                </c:pt>
                <c:pt idx="295">
                  <c:v>10970</c:v>
                </c:pt>
                <c:pt idx="296">
                  <c:v>#N/A</c:v>
                </c:pt>
                <c:pt idx="297">
                  <c:v>#N/A</c:v>
                </c:pt>
                <c:pt idx="298">
                  <c:v>#N/A</c:v>
                </c:pt>
                <c:pt idx="299">
                  <c:v>#N/A</c:v>
                </c:pt>
                <c:pt idx="300">
                  <c:v>#N/A</c:v>
                </c:pt>
                <c:pt idx="301">
                  <c:v>#N/A</c:v>
                </c:pt>
                <c:pt idx="302">
                  <c:v>10720</c:v>
                </c:pt>
                <c:pt idx="303">
                  <c:v>#N/A</c:v>
                </c:pt>
                <c:pt idx="304">
                  <c:v>#N/A</c:v>
                </c:pt>
                <c:pt idx="305">
                  <c:v>#N/A</c:v>
                </c:pt>
                <c:pt idx="306">
                  <c:v>#N/A</c:v>
                </c:pt>
                <c:pt idx="307">
                  <c:v>#N/A</c:v>
                </c:pt>
                <c:pt idx="308">
                  <c:v>#N/A</c:v>
                </c:pt>
                <c:pt idx="309">
                  <c:v>10720</c:v>
                </c:pt>
                <c:pt idx="310">
                  <c:v>#N/A</c:v>
                </c:pt>
                <c:pt idx="311">
                  <c:v>#N/A</c:v>
                </c:pt>
                <c:pt idx="312">
                  <c:v>#N/A</c:v>
                </c:pt>
                <c:pt idx="313">
                  <c:v>#N/A</c:v>
                </c:pt>
                <c:pt idx="314">
                  <c:v>#N/A</c:v>
                </c:pt>
                <c:pt idx="315">
                  <c:v>#N/A</c:v>
                </c:pt>
                <c:pt idx="316">
                  <c:v>10720</c:v>
                </c:pt>
                <c:pt idx="317">
                  <c:v>#N/A</c:v>
                </c:pt>
                <c:pt idx="318">
                  <c:v>#N/A</c:v>
                </c:pt>
                <c:pt idx="319">
                  <c:v>#N/A</c:v>
                </c:pt>
                <c:pt idx="320">
                  <c:v>#N/A</c:v>
                </c:pt>
                <c:pt idx="321">
                  <c:v>#N/A</c:v>
                </c:pt>
                <c:pt idx="322">
                  <c:v>#N/A</c:v>
                </c:pt>
                <c:pt idx="323">
                  <c:v>10720</c:v>
                </c:pt>
                <c:pt idx="324">
                  <c:v>#N/A</c:v>
                </c:pt>
                <c:pt idx="325">
                  <c:v>#N/A</c:v>
                </c:pt>
                <c:pt idx="326">
                  <c:v>#N/A</c:v>
                </c:pt>
                <c:pt idx="327">
                  <c:v>#N/A</c:v>
                </c:pt>
                <c:pt idx="328">
                  <c:v>#N/A</c:v>
                </c:pt>
                <c:pt idx="329">
                  <c:v>#N/A</c:v>
                </c:pt>
                <c:pt idx="330">
                  <c:v>11045</c:v>
                </c:pt>
                <c:pt idx="331">
                  <c:v>#N/A</c:v>
                </c:pt>
                <c:pt idx="332">
                  <c:v>#N/A</c:v>
                </c:pt>
                <c:pt idx="333">
                  <c:v>#N/A</c:v>
                </c:pt>
                <c:pt idx="334">
                  <c:v>#N/A</c:v>
                </c:pt>
                <c:pt idx="335">
                  <c:v>#N/A</c:v>
                </c:pt>
                <c:pt idx="336">
                  <c:v>#N/A</c:v>
                </c:pt>
                <c:pt idx="337">
                  <c:v>11220</c:v>
                </c:pt>
                <c:pt idx="338">
                  <c:v>#N/A</c:v>
                </c:pt>
                <c:pt idx="339">
                  <c:v>#N/A</c:v>
                </c:pt>
                <c:pt idx="340">
                  <c:v>#N/A</c:v>
                </c:pt>
                <c:pt idx="341">
                  <c:v>#N/A</c:v>
                </c:pt>
                <c:pt idx="342">
                  <c:v>#N/A</c:v>
                </c:pt>
                <c:pt idx="343">
                  <c:v>#N/A</c:v>
                </c:pt>
                <c:pt idx="344">
                  <c:v>11220</c:v>
                </c:pt>
                <c:pt idx="345">
                  <c:v>#N/A</c:v>
                </c:pt>
                <c:pt idx="346">
                  <c:v>#N/A</c:v>
                </c:pt>
                <c:pt idx="347">
                  <c:v>#N/A</c:v>
                </c:pt>
                <c:pt idx="348">
                  <c:v>#N/A</c:v>
                </c:pt>
                <c:pt idx="349">
                  <c:v>#N/A</c:v>
                </c:pt>
                <c:pt idx="350">
                  <c:v>#N/A</c:v>
                </c:pt>
                <c:pt idx="351">
                  <c:v>11220</c:v>
                </c:pt>
                <c:pt idx="352">
                  <c:v>#N/A</c:v>
                </c:pt>
                <c:pt idx="353">
                  <c:v>#N/A</c:v>
                </c:pt>
                <c:pt idx="354">
                  <c:v>#N/A</c:v>
                </c:pt>
                <c:pt idx="355">
                  <c:v>#N/A</c:v>
                </c:pt>
                <c:pt idx="356">
                  <c:v>#N/A</c:v>
                </c:pt>
                <c:pt idx="357">
                  <c:v>#N/A</c:v>
                </c:pt>
                <c:pt idx="358">
                  <c:v>12190</c:v>
                </c:pt>
                <c:pt idx="359">
                  <c:v>#N/A</c:v>
                </c:pt>
                <c:pt idx="360">
                  <c:v>#N/A</c:v>
                </c:pt>
                <c:pt idx="361">
                  <c:v>#N/A</c:v>
                </c:pt>
                <c:pt idx="362">
                  <c:v>#N/A</c:v>
                </c:pt>
                <c:pt idx="363">
                  <c:v>#N/A</c:v>
                </c:pt>
                <c:pt idx="364">
                  <c:v>#N/A</c:v>
                </c:pt>
                <c:pt idx="365">
                  <c:v>12330</c:v>
                </c:pt>
              </c:numCache>
            </c:numRef>
          </c:val>
          <c:smooth val="0"/>
          <c:extLst>
            <c:ext xmlns:c16="http://schemas.microsoft.com/office/drawing/2014/chart" uri="{C3380CC4-5D6E-409C-BE32-E72D297353CC}">
              <c16:uniqueId val="{00000000-9307-4C51-A3C5-58353C9C200B}"/>
            </c:ext>
          </c:extLst>
        </c:ser>
        <c:ser>
          <c:idx val="1"/>
          <c:order val="1"/>
          <c:tx>
            <c:strRef>
              <c:f>'多晶硅开工（周度）'!$G$4</c:f>
              <c:strCache>
                <c:ptCount val="1"/>
                <c:pt idx="0">
                  <c:v>2022</c:v>
                </c:pt>
              </c:strCache>
            </c:strRef>
          </c:tx>
          <c:spPr>
            <a:ln w="19050" cap="rnd">
              <a:solidFill>
                <a:schemeClr val="bg1">
                  <a:lumMod val="65000"/>
                </a:schemeClr>
              </a:solidFill>
              <a:round/>
            </a:ln>
            <a:effectLst/>
          </c:spPr>
          <c:marker>
            <c:symbol val="none"/>
          </c:marker>
          <c:cat>
            <c:strRef>
              <c:f>'多晶硅开工（周度）'!$E$5:$E$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开工（周度）'!$G$5:$G$370</c:f>
              <c:numCache>
                <c:formatCode>General</c:formatCode>
                <c:ptCount val="366"/>
                <c:pt idx="0">
                  <c:v>#N/A</c:v>
                </c:pt>
                <c:pt idx="1">
                  <c:v>#N/A</c:v>
                </c:pt>
                <c:pt idx="2">
                  <c:v>#N/A</c:v>
                </c:pt>
                <c:pt idx="3">
                  <c:v>#N/A</c:v>
                </c:pt>
                <c:pt idx="4">
                  <c:v>#N/A</c:v>
                </c:pt>
                <c:pt idx="5">
                  <c:v>#N/A</c:v>
                </c:pt>
                <c:pt idx="6">
                  <c:v>14200</c:v>
                </c:pt>
                <c:pt idx="7">
                  <c:v>#N/A</c:v>
                </c:pt>
                <c:pt idx="8">
                  <c:v>#N/A</c:v>
                </c:pt>
                <c:pt idx="9">
                  <c:v>#N/A</c:v>
                </c:pt>
                <c:pt idx="10">
                  <c:v>#N/A</c:v>
                </c:pt>
                <c:pt idx="11">
                  <c:v>#N/A</c:v>
                </c:pt>
                <c:pt idx="12">
                  <c:v>#N/A</c:v>
                </c:pt>
                <c:pt idx="13">
                  <c:v>12300</c:v>
                </c:pt>
                <c:pt idx="14">
                  <c:v>#N/A</c:v>
                </c:pt>
                <c:pt idx="15">
                  <c:v>#N/A</c:v>
                </c:pt>
                <c:pt idx="16">
                  <c:v>#N/A</c:v>
                </c:pt>
                <c:pt idx="17">
                  <c:v>#N/A</c:v>
                </c:pt>
                <c:pt idx="18">
                  <c:v>#N/A</c:v>
                </c:pt>
                <c:pt idx="19">
                  <c:v>#N/A</c:v>
                </c:pt>
                <c:pt idx="20">
                  <c:v>11220</c:v>
                </c:pt>
                <c:pt idx="21">
                  <c:v>#N/A</c:v>
                </c:pt>
                <c:pt idx="22">
                  <c:v>#N/A</c:v>
                </c:pt>
                <c:pt idx="23">
                  <c:v>#N/A</c:v>
                </c:pt>
                <c:pt idx="24">
                  <c:v>#N/A</c:v>
                </c:pt>
                <c:pt idx="25">
                  <c:v>#N/A</c:v>
                </c:pt>
                <c:pt idx="26">
                  <c:v>#N/A</c:v>
                </c:pt>
                <c:pt idx="27">
                  <c:v>11220</c:v>
                </c:pt>
                <c:pt idx="28">
                  <c:v>#N/A</c:v>
                </c:pt>
                <c:pt idx="29">
                  <c:v>#N/A</c:v>
                </c:pt>
                <c:pt idx="30">
                  <c:v>#N/A</c:v>
                </c:pt>
                <c:pt idx="31">
                  <c:v>#N/A</c:v>
                </c:pt>
                <c:pt idx="32">
                  <c:v>#N/A</c:v>
                </c:pt>
                <c:pt idx="33">
                  <c:v>#N/A</c:v>
                </c:pt>
                <c:pt idx="34">
                  <c:v>11220</c:v>
                </c:pt>
                <c:pt idx="35">
                  <c:v>#N/A</c:v>
                </c:pt>
                <c:pt idx="36">
                  <c:v>#N/A</c:v>
                </c:pt>
                <c:pt idx="37">
                  <c:v>#N/A</c:v>
                </c:pt>
                <c:pt idx="38">
                  <c:v>#N/A</c:v>
                </c:pt>
                <c:pt idx="39">
                  <c:v>#N/A</c:v>
                </c:pt>
                <c:pt idx="40">
                  <c:v>#N/A</c:v>
                </c:pt>
                <c:pt idx="41">
                  <c:v>11220</c:v>
                </c:pt>
                <c:pt idx="42">
                  <c:v>#N/A</c:v>
                </c:pt>
                <c:pt idx="43">
                  <c:v>#N/A</c:v>
                </c:pt>
                <c:pt idx="44">
                  <c:v>#N/A</c:v>
                </c:pt>
                <c:pt idx="45">
                  <c:v>#N/A</c:v>
                </c:pt>
                <c:pt idx="46">
                  <c:v>#N/A</c:v>
                </c:pt>
                <c:pt idx="47">
                  <c:v>#N/A</c:v>
                </c:pt>
                <c:pt idx="48">
                  <c:v>11220</c:v>
                </c:pt>
                <c:pt idx="49">
                  <c:v>#N/A</c:v>
                </c:pt>
                <c:pt idx="50">
                  <c:v>#N/A</c:v>
                </c:pt>
                <c:pt idx="51">
                  <c:v>#N/A</c:v>
                </c:pt>
                <c:pt idx="52">
                  <c:v>#N/A</c:v>
                </c:pt>
                <c:pt idx="53">
                  <c:v>#N/A</c:v>
                </c:pt>
                <c:pt idx="54">
                  <c:v>#N/A</c:v>
                </c:pt>
                <c:pt idx="55">
                  <c:v>11220</c:v>
                </c:pt>
                <c:pt idx="56">
                  <c:v>#N/A</c:v>
                </c:pt>
                <c:pt idx="57">
                  <c:v>#N/A</c:v>
                </c:pt>
                <c:pt idx="58">
                  <c:v>#N/A</c:v>
                </c:pt>
                <c:pt idx="60">
                  <c:v>#N/A</c:v>
                </c:pt>
                <c:pt idx="61">
                  <c:v>#N/A</c:v>
                </c:pt>
                <c:pt idx="62">
                  <c:v>#N/A</c:v>
                </c:pt>
                <c:pt idx="63">
                  <c:v>11220</c:v>
                </c:pt>
                <c:pt idx="64">
                  <c:v>#N/A</c:v>
                </c:pt>
                <c:pt idx="65">
                  <c:v>#N/A</c:v>
                </c:pt>
                <c:pt idx="66">
                  <c:v>#N/A</c:v>
                </c:pt>
                <c:pt idx="67">
                  <c:v>#N/A</c:v>
                </c:pt>
                <c:pt idx="68">
                  <c:v>#N/A</c:v>
                </c:pt>
                <c:pt idx="69">
                  <c:v>#N/A</c:v>
                </c:pt>
                <c:pt idx="70">
                  <c:v>11220</c:v>
                </c:pt>
                <c:pt idx="71">
                  <c:v>#N/A</c:v>
                </c:pt>
                <c:pt idx="72">
                  <c:v>#N/A</c:v>
                </c:pt>
                <c:pt idx="73">
                  <c:v>#N/A</c:v>
                </c:pt>
                <c:pt idx="74">
                  <c:v>#N/A</c:v>
                </c:pt>
                <c:pt idx="75">
                  <c:v>#N/A</c:v>
                </c:pt>
                <c:pt idx="76">
                  <c:v>#N/A</c:v>
                </c:pt>
                <c:pt idx="77">
                  <c:v>11220</c:v>
                </c:pt>
                <c:pt idx="78">
                  <c:v>#N/A</c:v>
                </c:pt>
                <c:pt idx="79">
                  <c:v>#N/A</c:v>
                </c:pt>
                <c:pt idx="80">
                  <c:v>#N/A</c:v>
                </c:pt>
                <c:pt idx="81">
                  <c:v>#N/A</c:v>
                </c:pt>
                <c:pt idx="82">
                  <c:v>#N/A</c:v>
                </c:pt>
                <c:pt idx="83">
                  <c:v>#N/A</c:v>
                </c:pt>
                <c:pt idx="84">
                  <c:v>11220</c:v>
                </c:pt>
                <c:pt idx="85">
                  <c:v>#N/A</c:v>
                </c:pt>
                <c:pt idx="86">
                  <c:v>#N/A</c:v>
                </c:pt>
                <c:pt idx="87">
                  <c:v>#N/A</c:v>
                </c:pt>
                <c:pt idx="88">
                  <c:v>#N/A</c:v>
                </c:pt>
                <c:pt idx="89">
                  <c:v>#N/A</c:v>
                </c:pt>
                <c:pt idx="90">
                  <c:v>#N/A</c:v>
                </c:pt>
                <c:pt idx="91">
                  <c:v>11270</c:v>
                </c:pt>
                <c:pt idx="92">
                  <c:v>#N/A</c:v>
                </c:pt>
                <c:pt idx="93">
                  <c:v>#N/A</c:v>
                </c:pt>
                <c:pt idx="94">
                  <c:v>#N/A</c:v>
                </c:pt>
                <c:pt idx="95">
                  <c:v>#N/A</c:v>
                </c:pt>
                <c:pt idx="96">
                  <c:v>#N/A</c:v>
                </c:pt>
                <c:pt idx="97">
                  <c:v>#N/A</c:v>
                </c:pt>
                <c:pt idx="98">
                  <c:v>11270</c:v>
                </c:pt>
                <c:pt idx="99">
                  <c:v>#N/A</c:v>
                </c:pt>
                <c:pt idx="100">
                  <c:v>#N/A</c:v>
                </c:pt>
                <c:pt idx="101">
                  <c:v>#N/A</c:v>
                </c:pt>
                <c:pt idx="102">
                  <c:v>#N/A</c:v>
                </c:pt>
                <c:pt idx="103">
                  <c:v>#N/A</c:v>
                </c:pt>
                <c:pt idx="104">
                  <c:v>#N/A</c:v>
                </c:pt>
                <c:pt idx="105">
                  <c:v>11270</c:v>
                </c:pt>
                <c:pt idx="106">
                  <c:v>#N/A</c:v>
                </c:pt>
                <c:pt idx="107">
                  <c:v>#N/A</c:v>
                </c:pt>
                <c:pt idx="108">
                  <c:v>#N/A</c:v>
                </c:pt>
                <c:pt idx="109">
                  <c:v>#N/A</c:v>
                </c:pt>
                <c:pt idx="110">
                  <c:v>#N/A</c:v>
                </c:pt>
                <c:pt idx="111">
                  <c:v>#N/A</c:v>
                </c:pt>
                <c:pt idx="112">
                  <c:v>11300</c:v>
                </c:pt>
                <c:pt idx="113">
                  <c:v>#N/A</c:v>
                </c:pt>
                <c:pt idx="114">
                  <c:v>#N/A</c:v>
                </c:pt>
                <c:pt idx="115">
                  <c:v>#N/A</c:v>
                </c:pt>
                <c:pt idx="116">
                  <c:v>#N/A</c:v>
                </c:pt>
                <c:pt idx="117">
                  <c:v>#N/A</c:v>
                </c:pt>
                <c:pt idx="118">
                  <c:v>#N/A</c:v>
                </c:pt>
                <c:pt idx="119">
                  <c:v>11270</c:v>
                </c:pt>
                <c:pt idx="120">
                  <c:v>#N/A</c:v>
                </c:pt>
                <c:pt idx="121">
                  <c:v>#N/A</c:v>
                </c:pt>
                <c:pt idx="122">
                  <c:v>#N/A</c:v>
                </c:pt>
                <c:pt idx="123">
                  <c:v>#N/A</c:v>
                </c:pt>
                <c:pt idx="124">
                  <c:v>#N/A</c:v>
                </c:pt>
                <c:pt idx="125">
                  <c:v>#N/A</c:v>
                </c:pt>
                <c:pt idx="126">
                  <c:v>12620</c:v>
                </c:pt>
                <c:pt idx="127">
                  <c:v>#N/A</c:v>
                </c:pt>
                <c:pt idx="128">
                  <c:v>#N/A</c:v>
                </c:pt>
                <c:pt idx="129">
                  <c:v>#N/A</c:v>
                </c:pt>
                <c:pt idx="130">
                  <c:v>#N/A</c:v>
                </c:pt>
                <c:pt idx="131">
                  <c:v>#N/A</c:v>
                </c:pt>
                <c:pt idx="132">
                  <c:v>#N/A</c:v>
                </c:pt>
                <c:pt idx="133">
                  <c:v>12620</c:v>
                </c:pt>
                <c:pt idx="134">
                  <c:v>#N/A</c:v>
                </c:pt>
                <c:pt idx="135">
                  <c:v>#N/A</c:v>
                </c:pt>
                <c:pt idx="136">
                  <c:v>#N/A</c:v>
                </c:pt>
                <c:pt idx="137">
                  <c:v>#N/A</c:v>
                </c:pt>
                <c:pt idx="138">
                  <c:v>#N/A</c:v>
                </c:pt>
                <c:pt idx="139">
                  <c:v>#N/A</c:v>
                </c:pt>
                <c:pt idx="140">
                  <c:v>12620</c:v>
                </c:pt>
                <c:pt idx="141">
                  <c:v>#N/A</c:v>
                </c:pt>
                <c:pt idx="142">
                  <c:v>#N/A</c:v>
                </c:pt>
                <c:pt idx="143">
                  <c:v>#N/A</c:v>
                </c:pt>
                <c:pt idx="144">
                  <c:v>#N/A</c:v>
                </c:pt>
                <c:pt idx="145">
                  <c:v>#N/A</c:v>
                </c:pt>
                <c:pt idx="146">
                  <c:v>#N/A</c:v>
                </c:pt>
                <c:pt idx="147">
                  <c:v>12670</c:v>
                </c:pt>
                <c:pt idx="148">
                  <c:v>#N/A</c:v>
                </c:pt>
                <c:pt idx="149">
                  <c:v>#N/A</c:v>
                </c:pt>
                <c:pt idx="150">
                  <c:v>#N/A</c:v>
                </c:pt>
                <c:pt idx="151">
                  <c:v>#N/A</c:v>
                </c:pt>
                <c:pt idx="152">
                  <c:v>#N/A</c:v>
                </c:pt>
                <c:pt idx="153">
                  <c:v>#N/A</c:v>
                </c:pt>
                <c:pt idx="154">
                  <c:v>12670</c:v>
                </c:pt>
                <c:pt idx="155">
                  <c:v>#N/A</c:v>
                </c:pt>
                <c:pt idx="156">
                  <c:v>#N/A</c:v>
                </c:pt>
                <c:pt idx="157">
                  <c:v>#N/A</c:v>
                </c:pt>
                <c:pt idx="158">
                  <c:v>#N/A</c:v>
                </c:pt>
                <c:pt idx="159">
                  <c:v>#N/A</c:v>
                </c:pt>
                <c:pt idx="160">
                  <c:v>#N/A</c:v>
                </c:pt>
                <c:pt idx="161">
                  <c:v>12845</c:v>
                </c:pt>
                <c:pt idx="162">
                  <c:v>#N/A</c:v>
                </c:pt>
                <c:pt idx="163">
                  <c:v>#N/A</c:v>
                </c:pt>
                <c:pt idx="164">
                  <c:v>#N/A</c:v>
                </c:pt>
                <c:pt idx="165">
                  <c:v>#N/A</c:v>
                </c:pt>
                <c:pt idx="166">
                  <c:v>#N/A</c:v>
                </c:pt>
                <c:pt idx="167">
                  <c:v>#N/A</c:v>
                </c:pt>
                <c:pt idx="168">
                  <c:v>12745</c:v>
                </c:pt>
                <c:pt idx="169">
                  <c:v>#N/A</c:v>
                </c:pt>
                <c:pt idx="170">
                  <c:v>#N/A</c:v>
                </c:pt>
                <c:pt idx="171">
                  <c:v>#N/A</c:v>
                </c:pt>
                <c:pt idx="172">
                  <c:v>#N/A</c:v>
                </c:pt>
                <c:pt idx="173">
                  <c:v>#N/A</c:v>
                </c:pt>
                <c:pt idx="174">
                  <c:v>#N/A</c:v>
                </c:pt>
                <c:pt idx="175">
                  <c:v>12145</c:v>
                </c:pt>
                <c:pt idx="176">
                  <c:v>#N/A</c:v>
                </c:pt>
                <c:pt idx="177">
                  <c:v>#N/A</c:v>
                </c:pt>
                <c:pt idx="178">
                  <c:v>#N/A</c:v>
                </c:pt>
                <c:pt idx="179">
                  <c:v>#N/A</c:v>
                </c:pt>
                <c:pt idx="180">
                  <c:v>#N/A</c:v>
                </c:pt>
                <c:pt idx="181">
                  <c:v>#N/A</c:v>
                </c:pt>
                <c:pt idx="182">
                  <c:v>11445</c:v>
                </c:pt>
                <c:pt idx="183">
                  <c:v>#N/A</c:v>
                </c:pt>
                <c:pt idx="184">
                  <c:v>#N/A</c:v>
                </c:pt>
                <c:pt idx="185">
                  <c:v>#N/A</c:v>
                </c:pt>
                <c:pt idx="186">
                  <c:v>#N/A</c:v>
                </c:pt>
                <c:pt idx="187">
                  <c:v>#N/A</c:v>
                </c:pt>
                <c:pt idx="188">
                  <c:v>#N/A</c:v>
                </c:pt>
                <c:pt idx="189">
                  <c:v>11545</c:v>
                </c:pt>
                <c:pt idx="190">
                  <c:v>#N/A</c:v>
                </c:pt>
                <c:pt idx="191">
                  <c:v>#N/A</c:v>
                </c:pt>
                <c:pt idx="192">
                  <c:v>#N/A</c:v>
                </c:pt>
                <c:pt idx="193">
                  <c:v>#N/A</c:v>
                </c:pt>
                <c:pt idx="194">
                  <c:v>#N/A</c:v>
                </c:pt>
                <c:pt idx="195">
                  <c:v>#N/A</c:v>
                </c:pt>
                <c:pt idx="196">
                  <c:v>11295</c:v>
                </c:pt>
                <c:pt idx="197">
                  <c:v>#N/A</c:v>
                </c:pt>
                <c:pt idx="198">
                  <c:v>#N/A</c:v>
                </c:pt>
                <c:pt idx="199">
                  <c:v>#N/A</c:v>
                </c:pt>
                <c:pt idx="200">
                  <c:v>#N/A</c:v>
                </c:pt>
                <c:pt idx="201">
                  <c:v>#N/A</c:v>
                </c:pt>
                <c:pt idx="202">
                  <c:v>#N/A</c:v>
                </c:pt>
                <c:pt idx="203">
                  <c:v>11295</c:v>
                </c:pt>
                <c:pt idx="204">
                  <c:v>#N/A</c:v>
                </c:pt>
                <c:pt idx="205">
                  <c:v>#N/A</c:v>
                </c:pt>
                <c:pt idx="206">
                  <c:v>#N/A</c:v>
                </c:pt>
                <c:pt idx="207">
                  <c:v>#N/A</c:v>
                </c:pt>
                <c:pt idx="208">
                  <c:v>#N/A</c:v>
                </c:pt>
                <c:pt idx="209">
                  <c:v>#N/A</c:v>
                </c:pt>
                <c:pt idx="210">
                  <c:v>11545</c:v>
                </c:pt>
                <c:pt idx="211">
                  <c:v>#N/A</c:v>
                </c:pt>
                <c:pt idx="212">
                  <c:v>#N/A</c:v>
                </c:pt>
                <c:pt idx="213">
                  <c:v>#N/A</c:v>
                </c:pt>
                <c:pt idx="214">
                  <c:v>#N/A</c:v>
                </c:pt>
                <c:pt idx="215">
                  <c:v>#N/A</c:v>
                </c:pt>
                <c:pt idx="216">
                  <c:v>#N/A</c:v>
                </c:pt>
                <c:pt idx="217">
                  <c:v>11545</c:v>
                </c:pt>
                <c:pt idx="218">
                  <c:v>#N/A</c:v>
                </c:pt>
                <c:pt idx="219">
                  <c:v>#N/A</c:v>
                </c:pt>
                <c:pt idx="220">
                  <c:v>#N/A</c:v>
                </c:pt>
                <c:pt idx="221">
                  <c:v>#N/A</c:v>
                </c:pt>
                <c:pt idx="222">
                  <c:v>#N/A</c:v>
                </c:pt>
                <c:pt idx="223">
                  <c:v>#N/A</c:v>
                </c:pt>
                <c:pt idx="224">
                  <c:v>11545</c:v>
                </c:pt>
                <c:pt idx="225">
                  <c:v>#N/A</c:v>
                </c:pt>
                <c:pt idx="226">
                  <c:v>#N/A</c:v>
                </c:pt>
                <c:pt idx="227">
                  <c:v>#N/A</c:v>
                </c:pt>
                <c:pt idx="228">
                  <c:v>#N/A</c:v>
                </c:pt>
                <c:pt idx="229">
                  <c:v>#N/A</c:v>
                </c:pt>
                <c:pt idx="230">
                  <c:v>#N/A</c:v>
                </c:pt>
                <c:pt idx="231">
                  <c:v>10845</c:v>
                </c:pt>
                <c:pt idx="232">
                  <c:v>#N/A</c:v>
                </c:pt>
                <c:pt idx="233">
                  <c:v>#N/A</c:v>
                </c:pt>
                <c:pt idx="234">
                  <c:v>#N/A</c:v>
                </c:pt>
                <c:pt idx="235">
                  <c:v>#N/A</c:v>
                </c:pt>
                <c:pt idx="236">
                  <c:v>#N/A</c:v>
                </c:pt>
                <c:pt idx="237">
                  <c:v>#N/A</c:v>
                </c:pt>
                <c:pt idx="238">
                  <c:v>11045</c:v>
                </c:pt>
                <c:pt idx="239">
                  <c:v>#N/A</c:v>
                </c:pt>
                <c:pt idx="240">
                  <c:v>#N/A</c:v>
                </c:pt>
                <c:pt idx="241">
                  <c:v>#N/A</c:v>
                </c:pt>
                <c:pt idx="242">
                  <c:v>#N/A</c:v>
                </c:pt>
                <c:pt idx="243">
                  <c:v>#N/A</c:v>
                </c:pt>
                <c:pt idx="244">
                  <c:v>#N/A</c:v>
                </c:pt>
                <c:pt idx="245">
                  <c:v>11345</c:v>
                </c:pt>
                <c:pt idx="246">
                  <c:v>#N/A</c:v>
                </c:pt>
                <c:pt idx="247">
                  <c:v>#N/A</c:v>
                </c:pt>
                <c:pt idx="248">
                  <c:v>#N/A</c:v>
                </c:pt>
                <c:pt idx="249">
                  <c:v>#N/A</c:v>
                </c:pt>
                <c:pt idx="250">
                  <c:v>#N/A</c:v>
                </c:pt>
                <c:pt idx="251">
                  <c:v>#N/A</c:v>
                </c:pt>
                <c:pt idx="252">
                  <c:v>11645</c:v>
                </c:pt>
                <c:pt idx="253">
                  <c:v>#N/A</c:v>
                </c:pt>
                <c:pt idx="254">
                  <c:v>#N/A</c:v>
                </c:pt>
                <c:pt idx="255">
                  <c:v>#N/A</c:v>
                </c:pt>
                <c:pt idx="256">
                  <c:v>#N/A</c:v>
                </c:pt>
                <c:pt idx="257">
                  <c:v>#N/A</c:v>
                </c:pt>
                <c:pt idx="258">
                  <c:v>#N/A</c:v>
                </c:pt>
                <c:pt idx="259">
                  <c:v>11695</c:v>
                </c:pt>
                <c:pt idx="260">
                  <c:v>#N/A</c:v>
                </c:pt>
                <c:pt idx="261">
                  <c:v>#N/A</c:v>
                </c:pt>
                <c:pt idx="262">
                  <c:v>#N/A</c:v>
                </c:pt>
                <c:pt idx="263">
                  <c:v>#N/A</c:v>
                </c:pt>
                <c:pt idx="264">
                  <c:v>#N/A</c:v>
                </c:pt>
                <c:pt idx="265">
                  <c:v>#N/A</c:v>
                </c:pt>
                <c:pt idx="266">
                  <c:v>11695</c:v>
                </c:pt>
                <c:pt idx="267">
                  <c:v>#N/A</c:v>
                </c:pt>
                <c:pt idx="268">
                  <c:v>#N/A</c:v>
                </c:pt>
                <c:pt idx="269">
                  <c:v>#N/A</c:v>
                </c:pt>
                <c:pt idx="270">
                  <c:v>#N/A</c:v>
                </c:pt>
                <c:pt idx="271">
                  <c:v>#N/A</c:v>
                </c:pt>
                <c:pt idx="272">
                  <c:v>#N/A</c:v>
                </c:pt>
                <c:pt idx="273">
                  <c:v>12695</c:v>
                </c:pt>
                <c:pt idx="274">
                  <c:v>#N/A</c:v>
                </c:pt>
                <c:pt idx="275">
                  <c:v>#N/A</c:v>
                </c:pt>
                <c:pt idx="276">
                  <c:v>#N/A</c:v>
                </c:pt>
                <c:pt idx="277">
                  <c:v>#N/A</c:v>
                </c:pt>
                <c:pt idx="278">
                  <c:v>#N/A</c:v>
                </c:pt>
                <c:pt idx="279">
                  <c:v>#N/A</c:v>
                </c:pt>
                <c:pt idx="280">
                  <c:v>12695</c:v>
                </c:pt>
                <c:pt idx="281">
                  <c:v>#N/A</c:v>
                </c:pt>
                <c:pt idx="282">
                  <c:v>#N/A</c:v>
                </c:pt>
                <c:pt idx="283">
                  <c:v>#N/A</c:v>
                </c:pt>
                <c:pt idx="284">
                  <c:v>#N/A</c:v>
                </c:pt>
                <c:pt idx="285">
                  <c:v>#N/A</c:v>
                </c:pt>
                <c:pt idx="286">
                  <c:v>#N/A</c:v>
                </c:pt>
                <c:pt idx="287">
                  <c:v>16270</c:v>
                </c:pt>
                <c:pt idx="288">
                  <c:v>#N/A</c:v>
                </c:pt>
                <c:pt idx="289">
                  <c:v>#N/A</c:v>
                </c:pt>
                <c:pt idx="290">
                  <c:v>#N/A</c:v>
                </c:pt>
                <c:pt idx="291">
                  <c:v>#N/A</c:v>
                </c:pt>
                <c:pt idx="292">
                  <c:v>#N/A</c:v>
                </c:pt>
                <c:pt idx="293">
                  <c:v>#N/A</c:v>
                </c:pt>
                <c:pt idx="294">
                  <c:v>17170</c:v>
                </c:pt>
                <c:pt idx="295">
                  <c:v>#N/A</c:v>
                </c:pt>
                <c:pt idx="296">
                  <c:v>#N/A</c:v>
                </c:pt>
                <c:pt idx="297">
                  <c:v>#N/A</c:v>
                </c:pt>
                <c:pt idx="298">
                  <c:v>#N/A</c:v>
                </c:pt>
                <c:pt idx="299">
                  <c:v>#N/A</c:v>
                </c:pt>
                <c:pt idx="300">
                  <c:v>#N/A</c:v>
                </c:pt>
                <c:pt idx="301">
                  <c:v>18700</c:v>
                </c:pt>
                <c:pt idx="302">
                  <c:v>#N/A</c:v>
                </c:pt>
                <c:pt idx="303">
                  <c:v>#N/A</c:v>
                </c:pt>
                <c:pt idx="304">
                  <c:v>#N/A</c:v>
                </c:pt>
                <c:pt idx="305">
                  <c:v>#N/A</c:v>
                </c:pt>
                <c:pt idx="306">
                  <c:v>#N/A</c:v>
                </c:pt>
                <c:pt idx="307">
                  <c:v>#N/A</c:v>
                </c:pt>
                <c:pt idx="308">
                  <c:v>19900</c:v>
                </c:pt>
                <c:pt idx="309">
                  <c:v>#N/A</c:v>
                </c:pt>
                <c:pt idx="310">
                  <c:v>#N/A</c:v>
                </c:pt>
                <c:pt idx="311">
                  <c:v>#N/A</c:v>
                </c:pt>
                <c:pt idx="312">
                  <c:v>#N/A</c:v>
                </c:pt>
                <c:pt idx="313">
                  <c:v>#N/A</c:v>
                </c:pt>
                <c:pt idx="314">
                  <c:v>#N/A</c:v>
                </c:pt>
                <c:pt idx="315">
                  <c:v>19900</c:v>
                </c:pt>
                <c:pt idx="316">
                  <c:v>#N/A</c:v>
                </c:pt>
                <c:pt idx="317">
                  <c:v>#N/A</c:v>
                </c:pt>
                <c:pt idx="318">
                  <c:v>#N/A</c:v>
                </c:pt>
                <c:pt idx="319">
                  <c:v>#N/A</c:v>
                </c:pt>
                <c:pt idx="320">
                  <c:v>#N/A</c:v>
                </c:pt>
                <c:pt idx="321">
                  <c:v>#N/A</c:v>
                </c:pt>
                <c:pt idx="322">
                  <c:v>20000</c:v>
                </c:pt>
                <c:pt idx="323">
                  <c:v>#N/A</c:v>
                </c:pt>
                <c:pt idx="324">
                  <c:v>#N/A</c:v>
                </c:pt>
                <c:pt idx="325">
                  <c:v>#N/A</c:v>
                </c:pt>
                <c:pt idx="326">
                  <c:v>#N/A</c:v>
                </c:pt>
                <c:pt idx="327">
                  <c:v>#N/A</c:v>
                </c:pt>
                <c:pt idx="328">
                  <c:v>#N/A</c:v>
                </c:pt>
                <c:pt idx="329">
                  <c:v>21170</c:v>
                </c:pt>
                <c:pt idx="330">
                  <c:v>#N/A</c:v>
                </c:pt>
                <c:pt idx="331">
                  <c:v>#N/A</c:v>
                </c:pt>
                <c:pt idx="332">
                  <c:v>#N/A</c:v>
                </c:pt>
                <c:pt idx="333">
                  <c:v>#N/A</c:v>
                </c:pt>
                <c:pt idx="334">
                  <c:v>#N/A</c:v>
                </c:pt>
                <c:pt idx="335">
                  <c:v>#N/A</c:v>
                </c:pt>
                <c:pt idx="336">
                  <c:v>20000</c:v>
                </c:pt>
                <c:pt idx="337">
                  <c:v>#N/A</c:v>
                </c:pt>
                <c:pt idx="338">
                  <c:v>#N/A</c:v>
                </c:pt>
                <c:pt idx="339">
                  <c:v>#N/A</c:v>
                </c:pt>
                <c:pt idx="340">
                  <c:v>#N/A</c:v>
                </c:pt>
                <c:pt idx="341">
                  <c:v>#N/A</c:v>
                </c:pt>
                <c:pt idx="342">
                  <c:v>#N/A</c:v>
                </c:pt>
                <c:pt idx="343">
                  <c:v>20300</c:v>
                </c:pt>
                <c:pt idx="344">
                  <c:v>#N/A</c:v>
                </c:pt>
                <c:pt idx="345">
                  <c:v>#N/A</c:v>
                </c:pt>
                <c:pt idx="346">
                  <c:v>#N/A</c:v>
                </c:pt>
                <c:pt idx="347">
                  <c:v>#N/A</c:v>
                </c:pt>
                <c:pt idx="348">
                  <c:v>#N/A</c:v>
                </c:pt>
                <c:pt idx="349">
                  <c:v>#N/A</c:v>
                </c:pt>
                <c:pt idx="350">
                  <c:v>20900</c:v>
                </c:pt>
                <c:pt idx="351">
                  <c:v>#N/A</c:v>
                </c:pt>
                <c:pt idx="352">
                  <c:v>#N/A</c:v>
                </c:pt>
                <c:pt idx="353">
                  <c:v>#N/A</c:v>
                </c:pt>
                <c:pt idx="354">
                  <c:v>#N/A</c:v>
                </c:pt>
                <c:pt idx="355">
                  <c:v>#N/A</c:v>
                </c:pt>
                <c:pt idx="356">
                  <c:v>#N/A</c:v>
                </c:pt>
                <c:pt idx="357">
                  <c:v>21100</c:v>
                </c:pt>
                <c:pt idx="358">
                  <c:v>#N/A</c:v>
                </c:pt>
                <c:pt idx="359">
                  <c:v>#N/A</c:v>
                </c:pt>
                <c:pt idx="360">
                  <c:v>#N/A</c:v>
                </c:pt>
                <c:pt idx="361">
                  <c:v>#N/A</c:v>
                </c:pt>
                <c:pt idx="362">
                  <c:v>#N/A</c:v>
                </c:pt>
                <c:pt idx="363">
                  <c:v>#N/A</c:v>
                </c:pt>
                <c:pt idx="364">
                  <c:v>22100</c:v>
                </c:pt>
                <c:pt idx="365">
                  <c:v>#N/A</c:v>
                </c:pt>
              </c:numCache>
            </c:numRef>
          </c:val>
          <c:smooth val="0"/>
          <c:extLst>
            <c:ext xmlns:c16="http://schemas.microsoft.com/office/drawing/2014/chart" uri="{C3380CC4-5D6E-409C-BE32-E72D297353CC}">
              <c16:uniqueId val="{00000001-9307-4C51-A3C5-58353C9C200B}"/>
            </c:ext>
          </c:extLst>
        </c:ser>
        <c:ser>
          <c:idx val="2"/>
          <c:order val="2"/>
          <c:tx>
            <c:strRef>
              <c:f>'多晶硅开工（周度）'!$H$4</c:f>
              <c:strCache>
                <c:ptCount val="1"/>
                <c:pt idx="0">
                  <c:v>2023</c:v>
                </c:pt>
              </c:strCache>
            </c:strRef>
          </c:tx>
          <c:spPr>
            <a:ln w="19050" cap="rnd">
              <a:solidFill>
                <a:srgbClr val="308D94">
                  <a:alpha val="60000"/>
                </a:srgbClr>
              </a:solidFill>
              <a:round/>
            </a:ln>
            <a:effectLst/>
          </c:spPr>
          <c:marker>
            <c:symbol val="none"/>
          </c:marker>
          <c:cat>
            <c:strRef>
              <c:f>'多晶硅开工（周度）'!$E$5:$E$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开工（周度）'!$H$5:$H$370</c:f>
              <c:numCache>
                <c:formatCode>General</c:formatCode>
                <c:ptCount val="366"/>
                <c:pt idx="0">
                  <c:v>#N/A</c:v>
                </c:pt>
                <c:pt idx="1">
                  <c:v>#N/A</c:v>
                </c:pt>
                <c:pt idx="2">
                  <c:v>#N/A</c:v>
                </c:pt>
                <c:pt idx="3">
                  <c:v>#N/A</c:v>
                </c:pt>
                <c:pt idx="4">
                  <c:v>#N/A</c:v>
                </c:pt>
                <c:pt idx="5">
                  <c:v>22100</c:v>
                </c:pt>
                <c:pt idx="6">
                  <c:v>#N/A</c:v>
                </c:pt>
                <c:pt idx="7">
                  <c:v>#N/A</c:v>
                </c:pt>
                <c:pt idx="8">
                  <c:v>#N/A</c:v>
                </c:pt>
                <c:pt idx="9">
                  <c:v>#N/A</c:v>
                </c:pt>
                <c:pt idx="10">
                  <c:v>#N/A</c:v>
                </c:pt>
                <c:pt idx="11">
                  <c:v>#N/A</c:v>
                </c:pt>
                <c:pt idx="12">
                  <c:v>23100</c:v>
                </c:pt>
                <c:pt idx="13">
                  <c:v>#N/A</c:v>
                </c:pt>
                <c:pt idx="14">
                  <c:v>#N/A</c:v>
                </c:pt>
                <c:pt idx="15">
                  <c:v>#N/A</c:v>
                </c:pt>
                <c:pt idx="16">
                  <c:v>#N/A</c:v>
                </c:pt>
                <c:pt idx="17">
                  <c:v>#N/A</c:v>
                </c:pt>
                <c:pt idx="18">
                  <c:v>#N/A</c:v>
                </c:pt>
                <c:pt idx="19">
                  <c:v>23800</c:v>
                </c:pt>
                <c:pt idx="20">
                  <c:v>#N/A</c:v>
                </c:pt>
                <c:pt idx="21">
                  <c:v>#N/A</c:v>
                </c:pt>
                <c:pt idx="22">
                  <c:v>#N/A</c:v>
                </c:pt>
                <c:pt idx="23">
                  <c:v>#N/A</c:v>
                </c:pt>
                <c:pt idx="24">
                  <c:v>#N/A</c:v>
                </c:pt>
                <c:pt idx="25">
                  <c:v>#N/A</c:v>
                </c:pt>
                <c:pt idx="26">
                  <c:v>23900</c:v>
                </c:pt>
                <c:pt idx="27">
                  <c:v>#N/A</c:v>
                </c:pt>
                <c:pt idx="28">
                  <c:v>#N/A</c:v>
                </c:pt>
                <c:pt idx="29">
                  <c:v>#N/A</c:v>
                </c:pt>
                <c:pt idx="30">
                  <c:v>#N/A</c:v>
                </c:pt>
                <c:pt idx="31">
                  <c:v>#N/A</c:v>
                </c:pt>
                <c:pt idx="32">
                  <c:v>#N/A</c:v>
                </c:pt>
                <c:pt idx="33">
                  <c:v>24300</c:v>
                </c:pt>
                <c:pt idx="34">
                  <c:v>#N/A</c:v>
                </c:pt>
                <c:pt idx="35">
                  <c:v>#N/A</c:v>
                </c:pt>
                <c:pt idx="36">
                  <c:v>#N/A</c:v>
                </c:pt>
                <c:pt idx="37">
                  <c:v>#N/A</c:v>
                </c:pt>
                <c:pt idx="38">
                  <c:v>#N/A</c:v>
                </c:pt>
                <c:pt idx="39">
                  <c:v>#N/A</c:v>
                </c:pt>
                <c:pt idx="40">
                  <c:v>24300</c:v>
                </c:pt>
                <c:pt idx="41">
                  <c:v>#N/A</c:v>
                </c:pt>
                <c:pt idx="42">
                  <c:v>#N/A</c:v>
                </c:pt>
                <c:pt idx="43">
                  <c:v>#N/A</c:v>
                </c:pt>
                <c:pt idx="44">
                  <c:v>#N/A</c:v>
                </c:pt>
                <c:pt idx="45">
                  <c:v>#N/A</c:v>
                </c:pt>
                <c:pt idx="46">
                  <c:v>#N/A</c:v>
                </c:pt>
                <c:pt idx="47">
                  <c:v>24400</c:v>
                </c:pt>
                <c:pt idx="48">
                  <c:v>#N/A</c:v>
                </c:pt>
                <c:pt idx="49">
                  <c:v>#N/A</c:v>
                </c:pt>
                <c:pt idx="50">
                  <c:v>#N/A</c:v>
                </c:pt>
                <c:pt idx="51">
                  <c:v>#N/A</c:v>
                </c:pt>
                <c:pt idx="52">
                  <c:v>#N/A</c:v>
                </c:pt>
                <c:pt idx="53">
                  <c:v>#N/A</c:v>
                </c:pt>
                <c:pt idx="54">
                  <c:v>24400</c:v>
                </c:pt>
                <c:pt idx="55">
                  <c:v>#N/A</c:v>
                </c:pt>
                <c:pt idx="56">
                  <c:v>#N/A</c:v>
                </c:pt>
                <c:pt idx="57">
                  <c:v>#N/A</c:v>
                </c:pt>
                <c:pt idx="58">
                  <c:v>#N/A</c:v>
                </c:pt>
                <c:pt idx="60">
                  <c:v>#N/A</c:v>
                </c:pt>
                <c:pt idx="61">
                  <c:v>#N/A</c:v>
                </c:pt>
                <c:pt idx="62">
                  <c:v>24450</c:v>
                </c:pt>
                <c:pt idx="63">
                  <c:v>#N/A</c:v>
                </c:pt>
                <c:pt idx="64">
                  <c:v>#N/A</c:v>
                </c:pt>
                <c:pt idx="65">
                  <c:v>#N/A</c:v>
                </c:pt>
                <c:pt idx="66">
                  <c:v>#N/A</c:v>
                </c:pt>
                <c:pt idx="67">
                  <c:v>#N/A</c:v>
                </c:pt>
                <c:pt idx="68">
                  <c:v>#N/A</c:v>
                </c:pt>
                <c:pt idx="69">
                  <c:v>24450</c:v>
                </c:pt>
                <c:pt idx="70">
                  <c:v>#N/A</c:v>
                </c:pt>
                <c:pt idx="71">
                  <c:v>#N/A</c:v>
                </c:pt>
                <c:pt idx="72">
                  <c:v>#N/A</c:v>
                </c:pt>
                <c:pt idx="73">
                  <c:v>#N/A</c:v>
                </c:pt>
                <c:pt idx="74">
                  <c:v>#N/A</c:v>
                </c:pt>
                <c:pt idx="75">
                  <c:v>#N/A</c:v>
                </c:pt>
                <c:pt idx="76">
                  <c:v>24450</c:v>
                </c:pt>
                <c:pt idx="77">
                  <c:v>#N/A</c:v>
                </c:pt>
                <c:pt idx="78">
                  <c:v>#N/A</c:v>
                </c:pt>
                <c:pt idx="79">
                  <c:v>#N/A</c:v>
                </c:pt>
                <c:pt idx="80">
                  <c:v>#N/A</c:v>
                </c:pt>
                <c:pt idx="81">
                  <c:v>#N/A</c:v>
                </c:pt>
                <c:pt idx="82">
                  <c:v>#N/A</c:v>
                </c:pt>
                <c:pt idx="83">
                  <c:v>24650</c:v>
                </c:pt>
                <c:pt idx="84">
                  <c:v>#N/A</c:v>
                </c:pt>
                <c:pt idx="85">
                  <c:v>#N/A</c:v>
                </c:pt>
                <c:pt idx="86">
                  <c:v>#N/A</c:v>
                </c:pt>
                <c:pt idx="87">
                  <c:v>#N/A</c:v>
                </c:pt>
                <c:pt idx="88">
                  <c:v>#N/A</c:v>
                </c:pt>
                <c:pt idx="89">
                  <c:v>#N/A</c:v>
                </c:pt>
                <c:pt idx="90">
                  <c:v>23950</c:v>
                </c:pt>
                <c:pt idx="91">
                  <c:v>#N/A</c:v>
                </c:pt>
                <c:pt idx="92">
                  <c:v>#N/A</c:v>
                </c:pt>
                <c:pt idx="93">
                  <c:v>#N/A</c:v>
                </c:pt>
                <c:pt idx="94">
                  <c:v>#N/A</c:v>
                </c:pt>
                <c:pt idx="95">
                  <c:v>#N/A</c:v>
                </c:pt>
                <c:pt idx="96">
                  <c:v>#N/A</c:v>
                </c:pt>
                <c:pt idx="97">
                  <c:v>24550</c:v>
                </c:pt>
                <c:pt idx="98">
                  <c:v>#N/A</c:v>
                </c:pt>
                <c:pt idx="99">
                  <c:v>#N/A</c:v>
                </c:pt>
                <c:pt idx="100">
                  <c:v>#N/A</c:v>
                </c:pt>
                <c:pt idx="101">
                  <c:v>#N/A</c:v>
                </c:pt>
                <c:pt idx="102">
                  <c:v>#N/A</c:v>
                </c:pt>
                <c:pt idx="103">
                  <c:v>#N/A</c:v>
                </c:pt>
                <c:pt idx="104">
                  <c:v>24450</c:v>
                </c:pt>
                <c:pt idx="105">
                  <c:v>#N/A</c:v>
                </c:pt>
                <c:pt idx="106">
                  <c:v>#N/A</c:v>
                </c:pt>
                <c:pt idx="107">
                  <c:v>#N/A</c:v>
                </c:pt>
                <c:pt idx="108">
                  <c:v>#N/A</c:v>
                </c:pt>
                <c:pt idx="109">
                  <c:v>#N/A</c:v>
                </c:pt>
                <c:pt idx="110">
                  <c:v>#N/A</c:v>
                </c:pt>
                <c:pt idx="111">
                  <c:v>24650</c:v>
                </c:pt>
                <c:pt idx="112">
                  <c:v>#N/A</c:v>
                </c:pt>
                <c:pt idx="113">
                  <c:v>#N/A</c:v>
                </c:pt>
                <c:pt idx="114">
                  <c:v>#N/A</c:v>
                </c:pt>
                <c:pt idx="115">
                  <c:v>#N/A</c:v>
                </c:pt>
                <c:pt idx="116">
                  <c:v>#N/A</c:v>
                </c:pt>
                <c:pt idx="117">
                  <c:v>#N/A</c:v>
                </c:pt>
                <c:pt idx="118">
                  <c:v>24950</c:v>
                </c:pt>
                <c:pt idx="119">
                  <c:v>#N/A</c:v>
                </c:pt>
                <c:pt idx="120">
                  <c:v>#N/A</c:v>
                </c:pt>
                <c:pt idx="121">
                  <c:v>#N/A</c:v>
                </c:pt>
                <c:pt idx="122">
                  <c:v>#N/A</c:v>
                </c:pt>
                <c:pt idx="123">
                  <c:v>#N/A</c:v>
                </c:pt>
                <c:pt idx="124">
                  <c:v>#N/A</c:v>
                </c:pt>
                <c:pt idx="125">
                  <c:v>25150</c:v>
                </c:pt>
                <c:pt idx="126">
                  <c:v>#N/A</c:v>
                </c:pt>
                <c:pt idx="127">
                  <c:v>#N/A</c:v>
                </c:pt>
                <c:pt idx="128">
                  <c:v>#N/A</c:v>
                </c:pt>
                <c:pt idx="129">
                  <c:v>#N/A</c:v>
                </c:pt>
                <c:pt idx="130">
                  <c:v>#N/A</c:v>
                </c:pt>
                <c:pt idx="131">
                  <c:v>#N/A</c:v>
                </c:pt>
                <c:pt idx="132">
                  <c:v>25450</c:v>
                </c:pt>
                <c:pt idx="133">
                  <c:v>#N/A</c:v>
                </c:pt>
                <c:pt idx="134">
                  <c:v>#N/A</c:v>
                </c:pt>
                <c:pt idx="135">
                  <c:v>#N/A</c:v>
                </c:pt>
                <c:pt idx="136">
                  <c:v>#N/A</c:v>
                </c:pt>
                <c:pt idx="137">
                  <c:v>#N/A</c:v>
                </c:pt>
                <c:pt idx="138">
                  <c:v>#N/A</c:v>
                </c:pt>
                <c:pt idx="139">
                  <c:v>25450</c:v>
                </c:pt>
                <c:pt idx="140">
                  <c:v>#N/A</c:v>
                </c:pt>
                <c:pt idx="141">
                  <c:v>#N/A</c:v>
                </c:pt>
                <c:pt idx="142">
                  <c:v>#N/A</c:v>
                </c:pt>
                <c:pt idx="143">
                  <c:v>#N/A</c:v>
                </c:pt>
                <c:pt idx="144">
                  <c:v>#N/A</c:v>
                </c:pt>
                <c:pt idx="145">
                  <c:v>#N/A</c:v>
                </c:pt>
                <c:pt idx="146">
                  <c:v>25450</c:v>
                </c:pt>
                <c:pt idx="147">
                  <c:v>#N/A</c:v>
                </c:pt>
                <c:pt idx="148">
                  <c:v>#N/A</c:v>
                </c:pt>
                <c:pt idx="149">
                  <c:v>#N/A</c:v>
                </c:pt>
                <c:pt idx="150">
                  <c:v>#N/A</c:v>
                </c:pt>
                <c:pt idx="151">
                  <c:v>#N/A</c:v>
                </c:pt>
                <c:pt idx="152">
                  <c:v>#N/A</c:v>
                </c:pt>
                <c:pt idx="153">
                  <c:v>25250</c:v>
                </c:pt>
                <c:pt idx="154">
                  <c:v>#N/A</c:v>
                </c:pt>
                <c:pt idx="155">
                  <c:v>#N/A</c:v>
                </c:pt>
                <c:pt idx="156">
                  <c:v>#N/A</c:v>
                </c:pt>
                <c:pt idx="157">
                  <c:v>#N/A</c:v>
                </c:pt>
                <c:pt idx="158">
                  <c:v>#N/A</c:v>
                </c:pt>
                <c:pt idx="159">
                  <c:v>#N/A</c:v>
                </c:pt>
                <c:pt idx="160">
                  <c:v>25250</c:v>
                </c:pt>
                <c:pt idx="161">
                  <c:v>#N/A</c:v>
                </c:pt>
                <c:pt idx="162">
                  <c:v>#N/A</c:v>
                </c:pt>
                <c:pt idx="163">
                  <c:v>#N/A</c:v>
                </c:pt>
                <c:pt idx="164">
                  <c:v>#N/A</c:v>
                </c:pt>
                <c:pt idx="165">
                  <c:v>#N/A</c:v>
                </c:pt>
                <c:pt idx="166">
                  <c:v>#N/A</c:v>
                </c:pt>
                <c:pt idx="167">
                  <c:v>24750</c:v>
                </c:pt>
                <c:pt idx="168">
                  <c:v>#N/A</c:v>
                </c:pt>
                <c:pt idx="169">
                  <c:v>#N/A</c:v>
                </c:pt>
                <c:pt idx="170">
                  <c:v>#N/A</c:v>
                </c:pt>
                <c:pt idx="171">
                  <c:v>#N/A</c:v>
                </c:pt>
                <c:pt idx="172">
                  <c:v>#N/A</c:v>
                </c:pt>
                <c:pt idx="173">
                  <c:v>#N/A</c:v>
                </c:pt>
                <c:pt idx="174">
                  <c:v>24350</c:v>
                </c:pt>
                <c:pt idx="175">
                  <c:v>#N/A</c:v>
                </c:pt>
                <c:pt idx="176">
                  <c:v>#N/A</c:v>
                </c:pt>
                <c:pt idx="177">
                  <c:v>#N/A</c:v>
                </c:pt>
                <c:pt idx="178">
                  <c:v>#N/A</c:v>
                </c:pt>
                <c:pt idx="179">
                  <c:v>#N/A</c:v>
                </c:pt>
                <c:pt idx="180">
                  <c:v>#N/A</c:v>
                </c:pt>
                <c:pt idx="181">
                  <c:v>24050</c:v>
                </c:pt>
                <c:pt idx="182">
                  <c:v>#N/A</c:v>
                </c:pt>
                <c:pt idx="183">
                  <c:v>#N/A</c:v>
                </c:pt>
                <c:pt idx="184">
                  <c:v>#N/A</c:v>
                </c:pt>
                <c:pt idx="185">
                  <c:v>#N/A</c:v>
                </c:pt>
                <c:pt idx="186">
                  <c:v>#N/A</c:v>
                </c:pt>
                <c:pt idx="187">
                  <c:v>#N/A</c:v>
                </c:pt>
                <c:pt idx="188">
                  <c:v>24100</c:v>
                </c:pt>
                <c:pt idx="189">
                  <c:v>#N/A</c:v>
                </c:pt>
                <c:pt idx="190">
                  <c:v>#N/A</c:v>
                </c:pt>
                <c:pt idx="191">
                  <c:v>#N/A</c:v>
                </c:pt>
                <c:pt idx="192">
                  <c:v>#N/A</c:v>
                </c:pt>
                <c:pt idx="193">
                  <c:v>#N/A</c:v>
                </c:pt>
                <c:pt idx="194">
                  <c:v>#N/A</c:v>
                </c:pt>
                <c:pt idx="195">
                  <c:v>23200</c:v>
                </c:pt>
                <c:pt idx="196">
                  <c:v>#N/A</c:v>
                </c:pt>
                <c:pt idx="197">
                  <c:v>#N/A</c:v>
                </c:pt>
                <c:pt idx="198">
                  <c:v>#N/A</c:v>
                </c:pt>
                <c:pt idx="199">
                  <c:v>#N/A</c:v>
                </c:pt>
                <c:pt idx="200">
                  <c:v>#N/A</c:v>
                </c:pt>
                <c:pt idx="201">
                  <c:v>#N/A</c:v>
                </c:pt>
                <c:pt idx="202">
                  <c:v>23550</c:v>
                </c:pt>
                <c:pt idx="203">
                  <c:v>#N/A</c:v>
                </c:pt>
                <c:pt idx="204">
                  <c:v>#N/A</c:v>
                </c:pt>
                <c:pt idx="205">
                  <c:v>#N/A</c:v>
                </c:pt>
                <c:pt idx="206">
                  <c:v>#N/A</c:v>
                </c:pt>
                <c:pt idx="207">
                  <c:v>#N/A</c:v>
                </c:pt>
                <c:pt idx="208">
                  <c:v>#N/A</c:v>
                </c:pt>
                <c:pt idx="209">
                  <c:v>23650</c:v>
                </c:pt>
                <c:pt idx="210">
                  <c:v>#N/A</c:v>
                </c:pt>
                <c:pt idx="211">
                  <c:v>#N/A</c:v>
                </c:pt>
                <c:pt idx="212">
                  <c:v>#N/A</c:v>
                </c:pt>
                <c:pt idx="213">
                  <c:v>#N/A</c:v>
                </c:pt>
                <c:pt idx="214">
                  <c:v>#N/A</c:v>
                </c:pt>
                <c:pt idx="215">
                  <c:v>#N/A</c:v>
                </c:pt>
                <c:pt idx="216">
                  <c:v>23550</c:v>
                </c:pt>
                <c:pt idx="217">
                  <c:v>#N/A</c:v>
                </c:pt>
                <c:pt idx="218">
                  <c:v>#N/A</c:v>
                </c:pt>
                <c:pt idx="219">
                  <c:v>#N/A</c:v>
                </c:pt>
                <c:pt idx="220">
                  <c:v>#N/A</c:v>
                </c:pt>
                <c:pt idx="221">
                  <c:v>#N/A</c:v>
                </c:pt>
                <c:pt idx="222">
                  <c:v>#N/A</c:v>
                </c:pt>
                <c:pt idx="223">
                  <c:v>23050</c:v>
                </c:pt>
                <c:pt idx="224">
                  <c:v>#N/A</c:v>
                </c:pt>
                <c:pt idx="225">
                  <c:v>#N/A</c:v>
                </c:pt>
                <c:pt idx="226">
                  <c:v>#N/A</c:v>
                </c:pt>
                <c:pt idx="227">
                  <c:v>#N/A</c:v>
                </c:pt>
                <c:pt idx="228">
                  <c:v>#N/A</c:v>
                </c:pt>
                <c:pt idx="229">
                  <c:v>#N/A</c:v>
                </c:pt>
                <c:pt idx="230">
                  <c:v>22450</c:v>
                </c:pt>
                <c:pt idx="231">
                  <c:v>#N/A</c:v>
                </c:pt>
                <c:pt idx="232">
                  <c:v>#N/A</c:v>
                </c:pt>
                <c:pt idx="233">
                  <c:v>#N/A</c:v>
                </c:pt>
                <c:pt idx="234">
                  <c:v>#N/A</c:v>
                </c:pt>
                <c:pt idx="235">
                  <c:v>#N/A</c:v>
                </c:pt>
                <c:pt idx="236">
                  <c:v>#N/A</c:v>
                </c:pt>
                <c:pt idx="237">
                  <c:v>26250</c:v>
                </c:pt>
                <c:pt idx="238">
                  <c:v>#N/A</c:v>
                </c:pt>
                <c:pt idx="239">
                  <c:v>#N/A</c:v>
                </c:pt>
                <c:pt idx="240">
                  <c:v>#N/A</c:v>
                </c:pt>
                <c:pt idx="241">
                  <c:v>#N/A</c:v>
                </c:pt>
                <c:pt idx="242">
                  <c:v>#N/A</c:v>
                </c:pt>
                <c:pt idx="243">
                  <c:v>#N/A</c:v>
                </c:pt>
                <c:pt idx="244">
                  <c:v>26150</c:v>
                </c:pt>
                <c:pt idx="245">
                  <c:v>#N/A</c:v>
                </c:pt>
                <c:pt idx="246">
                  <c:v>#N/A</c:v>
                </c:pt>
                <c:pt idx="247">
                  <c:v>#N/A</c:v>
                </c:pt>
                <c:pt idx="248">
                  <c:v>#N/A</c:v>
                </c:pt>
                <c:pt idx="249">
                  <c:v>#N/A</c:v>
                </c:pt>
                <c:pt idx="250">
                  <c:v>#N/A</c:v>
                </c:pt>
                <c:pt idx="251">
                  <c:v>27350</c:v>
                </c:pt>
                <c:pt idx="252">
                  <c:v>#N/A</c:v>
                </c:pt>
                <c:pt idx="253">
                  <c:v>#N/A</c:v>
                </c:pt>
                <c:pt idx="254">
                  <c:v>#N/A</c:v>
                </c:pt>
                <c:pt idx="255">
                  <c:v>#N/A</c:v>
                </c:pt>
                <c:pt idx="256">
                  <c:v>#N/A</c:v>
                </c:pt>
                <c:pt idx="257">
                  <c:v>#N/A</c:v>
                </c:pt>
                <c:pt idx="258">
                  <c:v>28250</c:v>
                </c:pt>
                <c:pt idx="259">
                  <c:v>#N/A</c:v>
                </c:pt>
                <c:pt idx="260">
                  <c:v>#N/A</c:v>
                </c:pt>
                <c:pt idx="261">
                  <c:v>#N/A</c:v>
                </c:pt>
                <c:pt idx="262">
                  <c:v>#N/A</c:v>
                </c:pt>
                <c:pt idx="263">
                  <c:v>#N/A</c:v>
                </c:pt>
                <c:pt idx="264">
                  <c:v>#N/A</c:v>
                </c:pt>
                <c:pt idx="265">
                  <c:v>28400</c:v>
                </c:pt>
                <c:pt idx="266">
                  <c:v>#N/A</c:v>
                </c:pt>
                <c:pt idx="267">
                  <c:v>#N/A</c:v>
                </c:pt>
                <c:pt idx="268">
                  <c:v>#N/A</c:v>
                </c:pt>
                <c:pt idx="269">
                  <c:v>#N/A</c:v>
                </c:pt>
                <c:pt idx="270">
                  <c:v>#N/A</c:v>
                </c:pt>
                <c:pt idx="271">
                  <c:v>#N/A</c:v>
                </c:pt>
                <c:pt idx="272">
                  <c:v>27900</c:v>
                </c:pt>
                <c:pt idx="273">
                  <c:v>#N/A</c:v>
                </c:pt>
                <c:pt idx="274">
                  <c:v>#N/A</c:v>
                </c:pt>
                <c:pt idx="275">
                  <c:v>#N/A</c:v>
                </c:pt>
                <c:pt idx="276">
                  <c:v>#N/A</c:v>
                </c:pt>
                <c:pt idx="277">
                  <c:v>#N/A</c:v>
                </c:pt>
                <c:pt idx="278">
                  <c:v>#N/A</c:v>
                </c:pt>
                <c:pt idx="279">
                  <c:v>27900</c:v>
                </c:pt>
                <c:pt idx="280">
                  <c:v>#N/A</c:v>
                </c:pt>
                <c:pt idx="281">
                  <c:v>#N/A</c:v>
                </c:pt>
                <c:pt idx="282">
                  <c:v>#N/A</c:v>
                </c:pt>
                <c:pt idx="283">
                  <c:v>#N/A</c:v>
                </c:pt>
                <c:pt idx="284">
                  <c:v>#N/A</c:v>
                </c:pt>
                <c:pt idx="285">
                  <c:v>#N/A</c:v>
                </c:pt>
                <c:pt idx="286">
                  <c:v>31400</c:v>
                </c:pt>
                <c:pt idx="287">
                  <c:v>#N/A</c:v>
                </c:pt>
                <c:pt idx="288">
                  <c:v>#N/A</c:v>
                </c:pt>
                <c:pt idx="289">
                  <c:v>#N/A</c:v>
                </c:pt>
                <c:pt idx="290">
                  <c:v>#N/A</c:v>
                </c:pt>
                <c:pt idx="291">
                  <c:v>#N/A</c:v>
                </c:pt>
                <c:pt idx="292">
                  <c:v>#N/A</c:v>
                </c:pt>
                <c:pt idx="293">
                  <c:v>32200</c:v>
                </c:pt>
                <c:pt idx="294">
                  <c:v>#N/A</c:v>
                </c:pt>
                <c:pt idx="295">
                  <c:v>#N/A</c:v>
                </c:pt>
                <c:pt idx="296">
                  <c:v>#N/A</c:v>
                </c:pt>
                <c:pt idx="297">
                  <c:v>#N/A</c:v>
                </c:pt>
                <c:pt idx="298">
                  <c:v>#N/A</c:v>
                </c:pt>
                <c:pt idx="299">
                  <c:v>#N/A</c:v>
                </c:pt>
                <c:pt idx="300">
                  <c:v>32600</c:v>
                </c:pt>
                <c:pt idx="301">
                  <c:v>#N/A</c:v>
                </c:pt>
                <c:pt idx="302">
                  <c:v>#N/A</c:v>
                </c:pt>
                <c:pt idx="303">
                  <c:v>#N/A</c:v>
                </c:pt>
                <c:pt idx="304">
                  <c:v>#N/A</c:v>
                </c:pt>
                <c:pt idx="305">
                  <c:v>#N/A</c:v>
                </c:pt>
                <c:pt idx="306">
                  <c:v>#N/A</c:v>
                </c:pt>
                <c:pt idx="307">
                  <c:v>32600</c:v>
                </c:pt>
                <c:pt idx="308">
                  <c:v>#N/A</c:v>
                </c:pt>
                <c:pt idx="309">
                  <c:v>#N/A</c:v>
                </c:pt>
                <c:pt idx="310">
                  <c:v>#N/A</c:v>
                </c:pt>
                <c:pt idx="311">
                  <c:v>#N/A</c:v>
                </c:pt>
                <c:pt idx="312">
                  <c:v>#N/A</c:v>
                </c:pt>
                <c:pt idx="313">
                  <c:v>#N/A</c:v>
                </c:pt>
                <c:pt idx="314">
                  <c:v>31900</c:v>
                </c:pt>
                <c:pt idx="315">
                  <c:v>#N/A</c:v>
                </c:pt>
                <c:pt idx="316">
                  <c:v>#N/A</c:v>
                </c:pt>
                <c:pt idx="317">
                  <c:v>#N/A</c:v>
                </c:pt>
                <c:pt idx="318">
                  <c:v>#N/A</c:v>
                </c:pt>
                <c:pt idx="319">
                  <c:v>#N/A</c:v>
                </c:pt>
                <c:pt idx="320">
                  <c:v>#N/A</c:v>
                </c:pt>
                <c:pt idx="321">
                  <c:v>31950</c:v>
                </c:pt>
                <c:pt idx="322">
                  <c:v>#N/A</c:v>
                </c:pt>
                <c:pt idx="323">
                  <c:v>#N/A</c:v>
                </c:pt>
                <c:pt idx="324">
                  <c:v>#N/A</c:v>
                </c:pt>
                <c:pt idx="325">
                  <c:v>#N/A</c:v>
                </c:pt>
                <c:pt idx="326">
                  <c:v>#N/A</c:v>
                </c:pt>
                <c:pt idx="327">
                  <c:v>#N/A</c:v>
                </c:pt>
                <c:pt idx="328">
                  <c:v>34200</c:v>
                </c:pt>
                <c:pt idx="329">
                  <c:v>#N/A</c:v>
                </c:pt>
                <c:pt idx="330">
                  <c:v>#N/A</c:v>
                </c:pt>
                <c:pt idx="331">
                  <c:v>#N/A</c:v>
                </c:pt>
                <c:pt idx="332">
                  <c:v>#N/A</c:v>
                </c:pt>
                <c:pt idx="333">
                  <c:v>#N/A</c:v>
                </c:pt>
                <c:pt idx="334">
                  <c:v>#N/A</c:v>
                </c:pt>
                <c:pt idx="335">
                  <c:v>36150</c:v>
                </c:pt>
                <c:pt idx="336">
                  <c:v>#N/A</c:v>
                </c:pt>
                <c:pt idx="337">
                  <c:v>#N/A</c:v>
                </c:pt>
                <c:pt idx="338">
                  <c:v>#N/A</c:v>
                </c:pt>
                <c:pt idx="339">
                  <c:v>#N/A</c:v>
                </c:pt>
                <c:pt idx="340">
                  <c:v>#N/A</c:v>
                </c:pt>
                <c:pt idx="341">
                  <c:v>#N/A</c:v>
                </c:pt>
                <c:pt idx="342">
                  <c:v>40550</c:v>
                </c:pt>
                <c:pt idx="343">
                  <c:v>#N/A</c:v>
                </c:pt>
                <c:pt idx="344">
                  <c:v>#N/A</c:v>
                </c:pt>
                <c:pt idx="345">
                  <c:v>#N/A</c:v>
                </c:pt>
                <c:pt idx="346">
                  <c:v>#N/A</c:v>
                </c:pt>
                <c:pt idx="347">
                  <c:v>#N/A</c:v>
                </c:pt>
                <c:pt idx="348">
                  <c:v>#N/A</c:v>
                </c:pt>
                <c:pt idx="349">
                  <c:v>41550</c:v>
                </c:pt>
                <c:pt idx="350">
                  <c:v>#N/A</c:v>
                </c:pt>
                <c:pt idx="351">
                  <c:v>#N/A</c:v>
                </c:pt>
                <c:pt idx="352">
                  <c:v>#N/A</c:v>
                </c:pt>
                <c:pt idx="353">
                  <c:v>#N/A</c:v>
                </c:pt>
                <c:pt idx="354">
                  <c:v>#N/A</c:v>
                </c:pt>
                <c:pt idx="355">
                  <c:v>#N/A</c:v>
                </c:pt>
                <c:pt idx="356">
                  <c:v>41600</c:v>
                </c:pt>
                <c:pt idx="357">
                  <c:v>#N/A</c:v>
                </c:pt>
                <c:pt idx="358">
                  <c:v>#N/A</c:v>
                </c:pt>
                <c:pt idx="359">
                  <c:v>#N/A</c:v>
                </c:pt>
                <c:pt idx="360">
                  <c:v>#N/A</c:v>
                </c:pt>
                <c:pt idx="361">
                  <c:v>#N/A</c:v>
                </c:pt>
                <c:pt idx="362">
                  <c:v>#N/A</c:v>
                </c:pt>
                <c:pt idx="363">
                  <c:v>42400</c:v>
                </c:pt>
                <c:pt idx="364">
                  <c:v>#N/A</c:v>
                </c:pt>
                <c:pt idx="365">
                  <c:v>#N/A</c:v>
                </c:pt>
              </c:numCache>
            </c:numRef>
          </c:val>
          <c:smooth val="0"/>
          <c:extLst>
            <c:ext xmlns:c16="http://schemas.microsoft.com/office/drawing/2014/chart" uri="{C3380CC4-5D6E-409C-BE32-E72D297353CC}">
              <c16:uniqueId val="{00000002-9307-4C51-A3C5-58353C9C200B}"/>
            </c:ext>
          </c:extLst>
        </c:ser>
        <c:ser>
          <c:idx val="3"/>
          <c:order val="3"/>
          <c:tx>
            <c:strRef>
              <c:f>'多晶硅开工（周度）'!$I$4</c:f>
              <c:strCache>
                <c:ptCount val="1"/>
                <c:pt idx="0">
                  <c:v>2024</c:v>
                </c:pt>
              </c:strCache>
            </c:strRef>
          </c:tx>
          <c:spPr>
            <a:ln w="28575" cap="rnd">
              <a:solidFill>
                <a:schemeClr val="tx1"/>
              </a:solidFill>
              <a:round/>
            </a:ln>
            <a:effectLst/>
          </c:spPr>
          <c:marker>
            <c:symbol val="none"/>
          </c:marker>
          <c:cat>
            <c:strRef>
              <c:f>'多晶硅开工（周度）'!$E$5:$E$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开工（周度）'!$I$5:$I$370</c:f>
              <c:numCache>
                <c:formatCode>General</c:formatCode>
                <c:ptCount val="366"/>
                <c:pt idx="0">
                  <c:v>42900</c:v>
                </c:pt>
                <c:pt idx="1">
                  <c:v>42900</c:v>
                </c:pt>
                <c:pt idx="2">
                  <c:v>42900</c:v>
                </c:pt>
                <c:pt idx="3">
                  <c:v>42900</c:v>
                </c:pt>
                <c:pt idx="4">
                  <c:v>42900</c:v>
                </c:pt>
                <c:pt idx="5">
                  <c:v>43100</c:v>
                </c:pt>
                <c:pt idx="6">
                  <c:v>43100</c:v>
                </c:pt>
                <c:pt idx="7">
                  <c:v>43100</c:v>
                </c:pt>
                <c:pt idx="8">
                  <c:v>43100</c:v>
                </c:pt>
                <c:pt idx="9">
                  <c:v>43100</c:v>
                </c:pt>
                <c:pt idx="10">
                  <c:v>43100</c:v>
                </c:pt>
                <c:pt idx="11">
                  <c:v>43100</c:v>
                </c:pt>
                <c:pt idx="12">
                  <c:v>43600</c:v>
                </c:pt>
                <c:pt idx="13">
                  <c:v>43600</c:v>
                </c:pt>
                <c:pt idx="14">
                  <c:v>43600</c:v>
                </c:pt>
                <c:pt idx="15">
                  <c:v>43600</c:v>
                </c:pt>
                <c:pt idx="16">
                  <c:v>43600</c:v>
                </c:pt>
                <c:pt idx="17">
                  <c:v>43600</c:v>
                </c:pt>
                <c:pt idx="18">
                  <c:v>43600</c:v>
                </c:pt>
                <c:pt idx="19">
                  <c:v>43900</c:v>
                </c:pt>
                <c:pt idx="20">
                  <c:v>43900</c:v>
                </c:pt>
                <c:pt idx="21">
                  <c:v>43900</c:v>
                </c:pt>
                <c:pt idx="22">
                  <c:v>43900</c:v>
                </c:pt>
                <c:pt idx="23">
                  <c:v>43900</c:v>
                </c:pt>
                <c:pt idx="24">
                  <c:v>43900</c:v>
                </c:pt>
                <c:pt idx="25">
                  <c:v>43900</c:v>
                </c:pt>
                <c:pt idx="26">
                  <c:v>45100</c:v>
                </c:pt>
                <c:pt idx="27">
                  <c:v>45100</c:v>
                </c:pt>
                <c:pt idx="28">
                  <c:v>45100</c:v>
                </c:pt>
                <c:pt idx="29">
                  <c:v>45100</c:v>
                </c:pt>
                <c:pt idx="30">
                  <c:v>45100</c:v>
                </c:pt>
                <c:pt idx="31">
                  <c:v>45100</c:v>
                </c:pt>
                <c:pt idx="32">
                  <c:v>45100</c:v>
                </c:pt>
                <c:pt idx="33">
                  <c:v>45100</c:v>
                </c:pt>
                <c:pt idx="34">
                  <c:v>45100</c:v>
                </c:pt>
                <c:pt idx="35">
                  <c:v>45100</c:v>
                </c:pt>
                <c:pt idx="36">
                  <c:v>45100</c:v>
                </c:pt>
                <c:pt idx="37">
                  <c:v>45100</c:v>
                </c:pt>
                <c:pt idx="38">
                  <c:v>45100</c:v>
                </c:pt>
                <c:pt idx="39">
                  <c:v>45100</c:v>
                </c:pt>
                <c:pt idx="40">
                  <c:v>45100</c:v>
                </c:pt>
                <c:pt idx="41">
                  <c:v>45100</c:v>
                </c:pt>
                <c:pt idx="42">
                  <c:v>45100</c:v>
                </c:pt>
                <c:pt idx="43">
                  <c:v>45100</c:v>
                </c:pt>
                <c:pt idx="44">
                  <c:v>45100</c:v>
                </c:pt>
                <c:pt idx="45">
                  <c:v>45100</c:v>
                </c:pt>
                <c:pt idx="46">
                  <c:v>45100</c:v>
                </c:pt>
                <c:pt idx="47">
                  <c:v>45800</c:v>
                </c:pt>
                <c:pt idx="48">
                  <c:v>45800</c:v>
                </c:pt>
                <c:pt idx="49">
                  <c:v>45800</c:v>
                </c:pt>
                <c:pt idx="50">
                  <c:v>45800</c:v>
                </c:pt>
                <c:pt idx="51">
                  <c:v>45800</c:v>
                </c:pt>
                <c:pt idx="52">
                  <c:v>45800</c:v>
                </c:pt>
                <c:pt idx="53">
                  <c:v>45800</c:v>
                </c:pt>
                <c:pt idx="54">
                  <c:v>46000</c:v>
                </c:pt>
                <c:pt idx="55">
                  <c:v>46000</c:v>
                </c:pt>
                <c:pt idx="56">
                  <c:v>46000</c:v>
                </c:pt>
                <c:pt idx="57">
                  <c:v>46000</c:v>
                </c:pt>
                <c:pt idx="58">
                  <c:v>46000</c:v>
                </c:pt>
                <c:pt idx="59">
                  <c:v>46000</c:v>
                </c:pt>
                <c:pt idx="60">
                  <c:v>46000</c:v>
                </c:pt>
                <c:pt idx="61">
                  <c:v>47300</c:v>
                </c:pt>
                <c:pt idx="62">
                  <c:v>47300</c:v>
                </c:pt>
                <c:pt idx="63">
                  <c:v>47300</c:v>
                </c:pt>
                <c:pt idx="64">
                  <c:v>47300</c:v>
                </c:pt>
                <c:pt idx="65">
                  <c:v>47300</c:v>
                </c:pt>
                <c:pt idx="66">
                  <c:v>47300</c:v>
                </c:pt>
                <c:pt idx="67">
                  <c:v>47300</c:v>
                </c:pt>
                <c:pt idx="68">
                  <c:v>47800</c:v>
                </c:pt>
                <c:pt idx="69">
                  <c:v>47800</c:v>
                </c:pt>
                <c:pt idx="70">
                  <c:v>47800</c:v>
                </c:pt>
                <c:pt idx="71">
                  <c:v>47800</c:v>
                </c:pt>
                <c:pt idx="72">
                  <c:v>47800</c:v>
                </c:pt>
                <c:pt idx="73">
                  <c:v>47800</c:v>
                </c:pt>
                <c:pt idx="74">
                  <c:v>47800</c:v>
                </c:pt>
                <c:pt idx="75">
                  <c:v>48000</c:v>
                </c:pt>
                <c:pt idx="76">
                  <c:v>48000</c:v>
                </c:pt>
                <c:pt idx="77">
                  <c:v>48000</c:v>
                </c:pt>
                <c:pt idx="78">
                  <c:v>48000</c:v>
                </c:pt>
                <c:pt idx="79">
                  <c:v>48000</c:v>
                </c:pt>
                <c:pt idx="80">
                  <c:v>48000</c:v>
                </c:pt>
                <c:pt idx="81">
                  <c:v>48000</c:v>
                </c:pt>
                <c:pt idx="82">
                  <c:v>47500</c:v>
                </c:pt>
                <c:pt idx="83">
                  <c:v>47500</c:v>
                </c:pt>
                <c:pt idx="84">
                  <c:v>47500</c:v>
                </c:pt>
                <c:pt idx="85">
                  <c:v>47500</c:v>
                </c:pt>
                <c:pt idx="86">
                  <c:v>47500</c:v>
                </c:pt>
                <c:pt idx="87">
                  <c:v>47500</c:v>
                </c:pt>
                <c:pt idx="88">
                  <c:v>47500</c:v>
                </c:pt>
                <c:pt idx="89">
                  <c:v>47500</c:v>
                </c:pt>
                <c:pt idx="90">
                  <c:v>47500</c:v>
                </c:pt>
                <c:pt idx="91">
                  <c:v>47500</c:v>
                </c:pt>
                <c:pt idx="92">
                  <c:v>47500</c:v>
                </c:pt>
                <c:pt idx="93">
                  <c:v>47500</c:v>
                </c:pt>
                <c:pt idx="94">
                  <c:v>47500</c:v>
                </c:pt>
                <c:pt idx="95">
                  <c:v>47500</c:v>
                </c:pt>
                <c:pt idx="96">
                  <c:v>47750</c:v>
                </c:pt>
                <c:pt idx="97">
                  <c:v>47750</c:v>
                </c:pt>
                <c:pt idx="98">
                  <c:v>47750</c:v>
                </c:pt>
                <c:pt idx="99">
                  <c:v>47750</c:v>
                </c:pt>
                <c:pt idx="100">
                  <c:v>47750</c:v>
                </c:pt>
                <c:pt idx="101">
                  <c:v>47750</c:v>
                </c:pt>
                <c:pt idx="102">
                  <c:v>47750</c:v>
                </c:pt>
                <c:pt idx="103">
                  <c:v>47850</c:v>
                </c:pt>
                <c:pt idx="104">
                  <c:v>47850</c:v>
                </c:pt>
                <c:pt idx="105">
                  <c:v>47850</c:v>
                </c:pt>
                <c:pt idx="106">
                  <c:v>47850</c:v>
                </c:pt>
                <c:pt idx="107">
                  <c:v>47850</c:v>
                </c:pt>
                <c:pt idx="108">
                  <c:v>47850</c:v>
                </c:pt>
                <c:pt idx="109">
                  <c:v>47850</c:v>
                </c:pt>
                <c:pt idx="110">
                  <c:v>47850</c:v>
                </c:pt>
                <c:pt idx="111">
                  <c:v>47850</c:v>
                </c:pt>
                <c:pt idx="112">
                  <c:v>47850</c:v>
                </c:pt>
                <c:pt idx="113">
                  <c:v>47850</c:v>
                </c:pt>
                <c:pt idx="114">
                  <c:v>47850</c:v>
                </c:pt>
                <c:pt idx="115">
                  <c:v>47850</c:v>
                </c:pt>
                <c:pt idx="116">
                  <c:v>47850</c:v>
                </c:pt>
                <c:pt idx="117">
                  <c:v>47800</c:v>
                </c:pt>
                <c:pt idx="118">
                  <c:v>47800</c:v>
                </c:pt>
                <c:pt idx="119">
                  <c:v>47800</c:v>
                </c:pt>
                <c:pt idx="120">
                  <c:v>47800</c:v>
                </c:pt>
                <c:pt idx="121">
                  <c:v>47800</c:v>
                </c:pt>
                <c:pt idx="122">
                  <c:v>47800</c:v>
                </c:pt>
                <c:pt idx="123">
                  <c:v>47800</c:v>
                </c:pt>
                <c:pt idx="124">
                  <c:v>45700</c:v>
                </c:pt>
                <c:pt idx="125">
                  <c:v>45700</c:v>
                </c:pt>
                <c:pt idx="126">
                  <c:v>45700</c:v>
                </c:pt>
                <c:pt idx="127">
                  <c:v>45700</c:v>
                </c:pt>
                <c:pt idx="128">
                  <c:v>45700</c:v>
                </c:pt>
                <c:pt idx="129">
                  <c:v>45700</c:v>
                </c:pt>
                <c:pt idx="130">
                  <c:v>45700</c:v>
                </c:pt>
                <c:pt idx="131">
                  <c:v>44150</c:v>
                </c:pt>
                <c:pt idx="132">
                  <c:v>44150</c:v>
                </c:pt>
                <c:pt idx="133">
                  <c:v>44150</c:v>
                </c:pt>
                <c:pt idx="134">
                  <c:v>44150</c:v>
                </c:pt>
                <c:pt idx="135">
                  <c:v>44150</c:v>
                </c:pt>
                <c:pt idx="136">
                  <c:v>44150</c:v>
                </c:pt>
                <c:pt idx="137">
                  <c:v>44150</c:v>
                </c:pt>
                <c:pt idx="138">
                  <c:v>44250</c:v>
                </c:pt>
                <c:pt idx="139">
                  <c:v>44250</c:v>
                </c:pt>
                <c:pt idx="140">
                  <c:v>44250</c:v>
                </c:pt>
                <c:pt idx="141">
                  <c:v>44250</c:v>
                </c:pt>
                <c:pt idx="142">
                  <c:v>44250</c:v>
                </c:pt>
                <c:pt idx="143">
                  <c:v>44250</c:v>
                </c:pt>
                <c:pt idx="144">
                  <c:v>44250</c:v>
                </c:pt>
                <c:pt idx="145">
                  <c:v>43350</c:v>
                </c:pt>
                <c:pt idx="146">
                  <c:v>43350</c:v>
                </c:pt>
                <c:pt idx="147">
                  <c:v>43350</c:v>
                </c:pt>
                <c:pt idx="148">
                  <c:v>43350</c:v>
                </c:pt>
                <c:pt idx="149">
                  <c:v>43350</c:v>
                </c:pt>
                <c:pt idx="150">
                  <c:v>43350</c:v>
                </c:pt>
                <c:pt idx="151">
                  <c:v>43350</c:v>
                </c:pt>
                <c:pt idx="152">
                  <c:v>41450</c:v>
                </c:pt>
                <c:pt idx="153">
                  <c:v>41450</c:v>
                </c:pt>
                <c:pt idx="154">
                  <c:v>41450</c:v>
                </c:pt>
                <c:pt idx="155">
                  <c:v>41450</c:v>
                </c:pt>
                <c:pt idx="156">
                  <c:v>41450</c:v>
                </c:pt>
                <c:pt idx="157">
                  <c:v>41450</c:v>
                </c:pt>
                <c:pt idx="158">
                  <c:v>41450</c:v>
                </c:pt>
                <c:pt idx="159">
                  <c:v>40500</c:v>
                </c:pt>
                <c:pt idx="160">
                  <c:v>40500</c:v>
                </c:pt>
                <c:pt idx="161">
                  <c:v>40500</c:v>
                </c:pt>
                <c:pt idx="162">
                  <c:v>40500</c:v>
                </c:pt>
                <c:pt idx="163">
                  <c:v>40500</c:v>
                </c:pt>
                <c:pt idx="164">
                  <c:v>40500</c:v>
                </c:pt>
                <c:pt idx="165">
                  <c:v>40500</c:v>
                </c:pt>
                <c:pt idx="166">
                  <c:v>38450</c:v>
                </c:pt>
                <c:pt idx="167">
                  <c:v>38450</c:v>
                </c:pt>
                <c:pt idx="168">
                  <c:v>38450</c:v>
                </c:pt>
                <c:pt idx="169">
                  <c:v>38450</c:v>
                </c:pt>
                <c:pt idx="170">
                  <c:v>38450</c:v>
                </c:pt>
                <c:pt idx="171">
                  <c:v>38450</c:v>
                </c:pt>
                <c:pt idx="172">
                  <c:v>38450</c:v>
                </c:pt>
                <c:pt idx="173">
                  <c:v>38800</c:v>
                </c:pt>
                <c:pt idx="174">
                  <c:v>38800</c:v>
                </c:pt>
                <c:pt idx="175">
                  <c:v>38800</c:v>
                </c:pt>
                <c:pt idx="176">
                  <c:v>38800</c:v>
                </c:pt>
                <c:pt idx="177">
                  <c:v>38800</c:v>
                </c:pt>
                <c:pt idx="178">
                  <c:v>38800</c:v>
                </c:pt>
                <c:pt idx="179">
                  <c:v>38800</c:v>
                </c:pt>
                <c:pt idx="180">
                  <c:v>37550</c:v>
                </c:pt>
                <c:pt idx="181">
                  <c:v>37550</c:v>
                </c:pt>
                <c:pt idx="182">
                  <c:v>37550</c:v>
                </c:pt>
                <c:pt idx="183">
                  <c:v>37550</c:v>
                </c:pt>
                <c:pt idx="184">
                  <c:v>37550</c:v>
                </c:pt>
                <c:pt idx="185">
                  <c:v>37550</c:v>
                </c:pt>
                <c:pt idx="186">
                  <c:v>3755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3-9307-4C51-A3C5-58353C9C200B}"/>
            </c:ext>
          </c:extLst>
        </c:ser>
        <c:dLbls>
          <c:showLegendKey val="0"/>
          <c:showVal val="0"/>
          <c:showCatName val="0"/>
          <c:showSerName val="0"/>
          <c:showPercent val="0"/>
          <c:showBubbleSize val="0"/>
        </c:dLbls>
        <c:smooth val="0"/>
        <c:axId val="1543028655"/>
        <c:axId val="1676230943"/>
      </c:lineChart>
      <c:catAx>
        <c:axId val="15430286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crossAx val="1676230943"/>
        <c:crosses val="autoZero"/>
        <c:auto val="1"/>
        <c:lblAlgn val="ctr"/>
        <c:lblOffset val="100"/>
        <c:noMultiLvlLbl val="0"/>
      </c:catAx>
      <c:valAx>
        <c:axId val="1676230943"/>
        <c:scaling>
          <c:orientation val="minMax"/>
          <c:min val="5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crossAx val="15430286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latin typeface="+mn-lt"/>
          <a:ea typeface="+mn-ea"/>
          <a:cs typeface="+mn-ea"/>
          <a:sym typeface="+mn-lt"/>
        </a:defRPr>
      </a:pPr>
      <a:endParaRPr lang="zh-CN"/>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多晶硅成本利润!$H$3</c:f>
          <c:strCache>
            <c:ptCount val="1"/>
            <c:pt idx="0">
              <c:v>多晶硅成本</c:v>
            </c:pt>
          </c:strCache>
        </c:strRef>
      </c:tx>
      <c:layout>
        <c:manualLayout>
          <c:xMode val="edge"/>
          <c:yMode val="edge"/>
          <c:x val="0.40973393092348759"/>
          <c:y val="3.305202552404562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多晶硅成本利润!$I$4</c:f>
              <c:strCache>
                <c:ptCount val="1"/>
                <c:pt idx="0">
                  <c:v>2021</c:v>
                </c:pt>
              </c:strCache>
            </c:strRef>
          </c:tx>
          <c:spPr>
            <a:ln w="19050" cap="rnd">
              <a:solidFill>
                <a:srgbClr val="B57222">
                  <a:alpha val="60000"/>
                </a:srgbClr>
              </a:solidFill>
              <a:round/>
            </a:ln>
            <a:effectLst/>
          </c:spPr>
          <c:marker>
            <c:symbol val="none"/>
          </c:marker>
          <c:cat>
            <c:strRef>
              <c:f>多晶硅成本利润!$H$5:$H$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成本利润!$I$5:$I$370</c:f>
              <c:numCache>
                <c:formatCode>General</c:formatCode>
                <c:ptCount val="366"/>
                <c:pt idx="0">
                  <c:v>53368.95</c:v>
                </c:pt>
                <c:pt idx="1">
                  <c:v>#N/A</c:v>
                </c:pt>
                <c:pt idx="2">
                  <c:v>#N/A</c:v>
                </c:pt>
                <c:pt idx="3">
                  <c:v>#N/A</c:v>
                </c:pt>
                <c:pt idx="4">
                  <c:v>#N/A</c:v>
                </c:pt>
                <c:pt idx="5">
                  <c:v>#N/A</c:v>
                </c:pt>
                <c:pt idx="6">
                  <c:v>#N/A</c:v>
                </c:pt>
                <c:pt idx="7">
                  <c:v>55117.4</c:v>
                </c:pt>
                <c:pt idx="8">
                  <c:v>#N/A</c:v>
                </c:pt>
                <c:pt idx="9">
                  <c:v>#N/A</c:v>
                </c:pt>
                <c:pt idx="10">
                  <c:v>#N/A</c:v>
                </c:pt>
                <c:pt idx="11">
                  <c:v>#N/A</c:v>
                </c:pt>
                <c:pt idx="12">
                  <c:v>#N/A</c:v>
                </c:pt>
                <c:pt idx="13">
                  <c:v>#N/A</c:v>
                </c:pt>
                <c:pt idx="14">
                  <c:v>55069.95</c:v>
                </c:pt>
                <c:pt idx="15">
                  <c:v>#N/A</c:v>
                </c:pt>
                <c:pt idx="16">
                  <c:v>#N/A</c:v>
                </c:pt>
                <c:pt idx="17">
                  <c:v>#N/A</c:v>
                </c:pt>
                <c:pt idx="18">
                  <c:v>#N/A</c:v>
                </c:pt>
                <c:pt idx="19">
                  <c:v>#N/A</c:v>
                </c:pt>
                <c:pt idx="20">
                  <c:v>#N/A</c:v>
                </c:pt>
                <c:pt idx="21">
                  <c:v>54919.8</c:v>
                </c:pt>
                <c:pt idx="22">
                  <c:v>#N/A</c:v>
                </c:pt>
                <c:pt idx="23">
                  <c:v>#N/A</c:v>
                </c:pt>
                <c:pt idx="24">
                  <c:v>#N/A</c:v>
                </c:pt>
                <c:pt idx="25">
                  <c:v>#N/A</c:v>
                </c:pt>
                <c:pt idx="26">
                  <c:v>#N/A</c:v>
                </c:pt>
                <c:pt idx="27">
                  <c:v>#N/A</c:v>
                </c:pt>
                <c:pt idx="28">
                  <c:v>54900.3</c:v>
                </c:pt>
                <c:pt idx="29">
                  <c:v>#N/A</c:v>
                </c:pt>
                <c:pt idx="30">
                  <c:v>#N/A</c:v>
                </c:pt>
                <c:pt idx="31">
                  <c:v>#N/A</c:v>
                </c:pt>
                <c:pt idx="32">
                  <c:v>#N/A</c:v>
                </c:pt>
                <c:pt idx="33">
                  <c:v>#N/A</c:v>
                </c:pt>
                <c:pt idx="34">
                  <c:v>#N/A</c:v>
                </c:pt>
                <c:pt idx="35">
                  <c:v>55030.3</c:v>
                </c:pt>
                <c:pt idx="36">
                  <c:v>#N/A</c:v>
                </c:pt>
                <c:pt idx="37">
                  <c:v>#N/A</c:v>
                </c:pt>
                <c:pt idx="38">
                  <c:v>#N/A</c:v>
                </c:pt>
                <c:pt idx="39">
                  <c:v>#N/A</c:v>
                </c:pt>
                <c:pt idx="40">
                  <c:v>#N/A</c:v>
                </c:pt>
                <c:pt idx="41">
                  <c:v>#N/A</c:v>
                </c:pt>
                <c:pt idx="42">
                  <c:v>55086.2</c:v>
                </c:pt>
                <c:pt idx="43">
                  <c:v>#N/A</c:v>
                </c:pt>
                <c:pt idx="44">
                  <c:v>#N/A</c:v>
                </c:pt>
                <c:pt idx="45">
                  <c:v>#N/A</c:v>
                </c:pt>
                <c:pt idx="46">
                  <c:v>#N/A</c:v>
                </c:pt>
                <c:pt idx="47">
                  <c:v>#N/A</c:v>
                </c:pt>
                <c:pt idx="48">
                  <c:v>#N/A</c:v>
                </c:pt>
                <c:pt idx="49">
                  <c:v>55086.2</c:v>
                </c:pt>
                <c:pt idx="50">
                  <c:v>#N/A</c:v>
                </c:pt>
                <c:pt idx="51">
                  <c:v>#N/A</c:v>
                </c:pt>
                <c:pt idx="52">
                  <c:v>#N/A</c:v>
                </c:pt>
                <c:pt idx="53">
                  <c:v>#N/A</c:v>
                </c:pt>
                <c:pt idx="54">
                  <c:v>#N/A</c:v>
                </c:pt>
                <c:pt idx="55">
                  <c:v>#N/A</c:v>
                </c:pt>
                <c:pt idx="56">
                  <c:v>55643.25</c:v>
                </c:pt>
                <c:pt idx="57">
                  <c:v>#N/A</c:v>
                </c:pt>
                <c:pt idx="58">
                  <c:v>#N/A</c:v>
                </c:pt>
                <c:pt idx="60">
                  <c:v>#N/A</c:v>
                </c:pt>
                <c:pt idx="61">
                  <c:v>#N/A</c:v>
                </c:pt>
                <c:pt idx="62">
                  <c:v>#N/A</c:v>
                </c:pt>
                <c:pt idx="63">
                  <c:v>#N/A</c:v>
                </c:pt>
                <c:pt idx="64">
                  <c:v>56052.75</c:v>
                </c:pt>
                <c:pt idx="65">
                  <c:v>#N/A</c:v>
                </c:pt>
                <c:pt idx="66">
                  <c:v>#N/A</c:v>
                </c:pt>
                <c:pt idx="67">
                  <c:v>#N/A</c:v>
                </c:pt>
                <c:pt idx="68">
                  <c:v>#N/A</c:v>
                </c:pt>
                <c:pt idx="69">
                  <c:v>#N/A</c:v>
                </c:pt>
                <c:pt idx="70">
                  <c:v>#N/A</c:v>
                </c:pt>
                <c:pt idx="71">
                  <c:v>56722.9</c:v>
                </c:pt>
                <c:pt idx="72">
                  <c:v>#N/A</c:v>
                </c:pt>
                <c:pt idx="73">
                  <c:v>#N/A</c:v>
                </c:pt>
                <c:pt idx="74">
                  <c:v>#N/A</c:v>
                </c:pt>
                <c:pt idx="75">
                  <c:v>#N/A</c:v>
                </c:pt>
                <c:pt idx="76">
                  <c:v>#N/A</c:v>
                </c:pt>
                <c:pt idx="77">
                  <c:v>#N/A</c:v>
                </c:pt>
                <c:pt idx="78">
                  <c:v>57067.4</c:v>
                </c:pt>
                <c:pt idx="79">
                  <c:v>#N/A</c:v>
                </c:pt>
                <c:pt idx="80">
                  <c:v>#N/A</c:v>
                </c:pt>
                <c:pt idx="81">
                  <c:v>#N/A</c:v>
                </c:pt>
                <c:pt idx="82">
                  <c:v>#N/A</c:v>
                </c:pt>
                <c:pt idx="83">
                  <c:v>#N/A</c:v>
                </c:pt>
                <c:pt idx="84">
                  <c:v>#N/A</c:v>
                </c:pt>
                <c:pt idx="85">
                  <c:v>57457.4</c:v>
                </c:pt>
                <c:pt idx="86">
                  <c:v>#N/A</c:v>
                </c:pt>
                <c:pt idx="87">
                  <c:v>#N/A</c:v>
                </c:pt>
                <c:pt idx="88">
                  <c:v>#N/A</c:v>
                </c:pt>
                <c:pt idx="89">
                  <c:v>#N/A</c:v>
                </c:pt>
                <c:pt idx="90">
                  <c:v>#N/A</c:v>
                </c:pt>
                <c:pt idx="91">
                  <c:v>#N/A</c:v>
                </c:pt>
                <c:pt idx="92">
                  <c:v>57689.45</c:v>
                </c:pt>
                <c:pt idx="93">
                  <c:v>#N/A</c:v>
                </c:pt>
                <c:pt idx="94">
                  <c:v>#N/A</c:v>
                </c:pt>
                <c:pt idx="95">
                  <c:v>#N/A</c:v>
                </c:pt>
                <c:pt idx="96">
                  <c:v>#N/A</c:v>
                </c:pt>
                <c:pt idx="97">
                  <c:v>#N/A</c:v>
                </c:pt>
                <c:pt idx="98">
                  <c:v>#N/A</c:v>
                </c:pt>
                <c:pt idx="99">
                  <c:v>57818.8</c:v>
                </c:pt>
                <c:pt idx="100">
                  <c:v>#N/A</c:v>
                </c:pt>
                <c:pt idx="101">
                  <c:v>#N/A</c:v>
                </c:pt>
                <c:pt idx="102">
                  <c:v>#N/A</c:v>
                </c:pt>
                <c:pt idx="103">
                  <c:v>#N/A</c:v>
                </c:pt>
                <c:pt idx="104">
                  <c:v>#N/A</c:v>
                </c:pt>
                <c:pt idx="105">
                  <c:v>#N/A</c:v>
                </c:pt>
                <c:pt idx="106">
                  <c:v>57918.9</c:v>
                </c:pt>
                <c:pt idx="107">
                  <c:v>#N/A</c:v>
                </c:pt>
                <c:pt idx="108">
                  <c:v>#N/A</c:v>
                </c:pt>
                <c:pt idx="109">
                  <c:v>#N/A</c:v>
                </c:pt>
                <c:pt idx="110">
                  <c:v>#N/A</c:v>
                </c:pt>
                <c:pt idx="111">
                  <c:v>#N/A</c:v>
                </c:pt>
                <c:pt idx="112">
                  <c:v>#N/A</c:v>
                </c:pt>
                <c:pt idx="113">
                  <c:v>57870.8</c:v>
                </c:pt>
                <c:pt idx="114">
                  <c:v>#N/A</c:v>
                </c:pt>
                <c:pt idx="115">
                  <c:v>#N/A</c:v>
                </c:pt>
                <c:pt idx="116">
                  <c:v>#N/A</c:v>
                </c:pt>
                <c:pt idx="117">
                  <c:v>#N/A</c:v>
                </c:pt>
                <c:pt idx="118">
                  <c:v>#N/A</c:v>
                </c:pt>
                <c:pt idx="119">
                  <c:v>#N/A</c:v>
                </c:pt>
                <c:pt idx="120">
                  <c:v>58101.55</c:v>
                </c:pt>
                <c:pt idx="121">
                  <c:v>#N/A</c:v>
                </c:pt>
                <c:pt idx="122">
                  <c:v>#N/A</c:v>
                </c:pt>
                <c:pt idx="123">
                  <c:v>#N/A</c:v>
                </c:pt>
                <c:pt idx="124">
                  <c:v>#N/A</c:v>
                </c:pt>
                <c:pt idx="125">
                  <c:v>#N/A</c:v>
                </c:pt>
                <c:pt idx="126">
                  <c:v>#N/A</c:v>
                </c:pt>
                <c:pt idx="127">
                  <c:v>58370</c:v>
                </c:pt>
                <c:pt idx="128">
                  <c:v>#N/A</c:v>
                </c:pt>
                <c:pt idx="129">
                  <c:v>#N/A</c:v>
                </c:pt>
                <c:pt idx="130">
                  <c:v>#N/A</c:v>
                </c:pt>
                <c:pt idx="131">
                  <c:v>#N/A</c:v>
                </c:pt>
                <c:pt idx="132">
                  <c:v>#N/A</c:v>
                </c:pt>
                <c:pt idx="133">
                  <c:v>#N/A</c:v>
                </c:pt>
                <c:pt idx="134">
                  <c:v>58695</c:v>
                </c:pt>
                <c:pt idx="135">
                  <c:v>#N/A</c:v>
                </c:pt>
                <c:pt idx="136">
                  <c:v>#N/A</c:v>
                </c:pt>
                <c:pt idx="137">
                  <c:v>#N/A</c:v>
                </c:pt>
                <c:pt idx="138">
                  <c:v>#N/A</c:v>
                </c:pt>
                <c:pt idx="139">
                  <c:v>#N/A</c:v>
                </c:pt>
                <c:pt idx="140">
                  <c:v>#N/A</c:v>
                </c:pt>
                <c:pt idx="141">
                  <c:v>59068.1</c:v>
                </c:pt>
                <c:pt idx="142">
                  <c:v>#N/A</c:v>
                </c:pt>
                <c:pt idx="143">
                  <c:v>#N/A</c:v>
                </c:pt>
                <c:pt idx="144">
                  <c:v>#N/A</c:v>
                </c:pt>
                <c:pt idx="145">
                  <c:v>#N/A</c:v>
                </c:pt>
                <c:pt idx="146">
                  <c:v>#N/A</c:v>
                </c:pt>
                <c:pt idx="147">
                  <c:v>#N/A</c:v>
                </c:pt>
                <c:pt idx="148">
                  <c:v>60770.45</c:v>
                </c:pt>
                <c:pt idx="149">
                  <c:v>#N/A</c:v>
                </c:pt>
                <c:pt idx="150">
                  <c:v>#N/A</c:v>
                </c:pt>
                <c:pt idx="151">
                  <c:v>#N/A</c:v>
                </c:pt>
                <c:pt idx="152">
                  <c:v>#N/A</c:v>
                </c:pt>
                <c:pt idx="153">
                  <c:v>#N/A</c:v>
                </c:pt>
                <c:pt idx="154">
                  <c:v>#N/A</c:v>
                </c:pt>
                <c:pt idx="155">
                  <c:v>62398.05</c:v>
                </c:pt>
                <c:pt idx="156">
                  <c:v>#N/A</c:v>
                </c:pt>
                <c:pt idx="157">
                  <c:v>#N/A</c:v>
                </c:pt>
                <c:pt idx="158">
                  <c:v>#N/A</c:v>
                </c:pt>
                <c:pt idx="159">
                  <c:v>#N/A</c:v>
                </c:pt>
                <c:pt idx="160">
                  <c:v>#N/A</c:v>
                </c:pt>
                <c:pt idx="161">
                  <c:v>#N/A</c:v>
                </c:pt>
                <c:pt idx="162">
                  <c:v>63179.35</c:v>
                </c:pt>
                <c:pt idx="163">
                  <c:v>#N/A</c:v>
                </c:pt>
                <c:pt idx="164">
                  <c:v>#N/A</c:v>
                </c:pt>
                <c:pt idx="165">
                  <c:v>#N/A</c:v>
                </c:pt>
                <c:pt idx="166">
                  <c:v>#N/A</c:v>
                </c:pt>
                <c:pt idx="167">
                  <c:v>#N/A</c:v>
                </c:pt>
                <c:pt idx="168">
                  <c:v>#N/A</c:v>
                </c:pt>
                <c:pt idx="169">
                  <c:v>63448.45</c:v>
                </c:pt>
                <c:pt idx="170">
                  <c:v>#N/A</c:v>
                </c:pt>
                <c:pt idx="171">
                  <c:v>#N/A</c:v>
                </c:pt>
                <c:pt idx="172">
                  <c:v>#N/A</c:v>
                </c:pt>
                <c:pt idx="173">
                  <c:v>#N/A</c:v>
                </c:pt>
                <c:pt idx="174">
                  <c:v>#N/A</c:v>
                </c:pt>
                <c:pt idx="175">
                  <c:v>#N/A</c:v>
                </c:pt>
                <c:pt idx="176">
                  <c:v>63607.05</c:v>
                </c:pt>
                <c:pt idx="177">
                  <c:v>#N/A</c:v>
                </c:pt>
                <c:pt idx="178">
                  <c:v>#N/A</c:v>
                </c:pt>
                <c:pt idx="179">
                  <c:v>#N/A</c:v>
                </c:pt>
                <c:pt idx="180">
                  <c:v>#N/A</c:v>
                </c:pt>
                <c:pt idx="181">
                  <c:v>#N/A</c:v>
                </c:pt>
                <c:pt idx="182">
                  <c:v>#N/A</c:v>
                </c:pt>
                <c:pt idx="183">
                  <c:v>63850.15</c:v>
                </c:pt>
                <c:pt idx="184">
                  <c:v>#N/A</c:v>
                </c:pt>
                <c:pt idx="185">
                  <c:v>#N/A</c:v>
                </c:pt>
                <c:pt idx="186">
                  <c:v>#N/A</c:v>
                </c:pt>
                <c:pt idx="187">
                  <c:v>#N/A</c:v>
                </c:pt>
                <c:pt idx="188">
                  <c:v>#N/A</c:v>
                </c:pt>
                <c:pt idx="189">
                  <c:v>#N/A</c:v>
                </c:pt>
                <c:pt idx="190">
                  <c:v>63925.55</c:v>
                </c:pt>
                <c:pt idx="191">
                  <c:v>#N/A</c:v>
                </c:pt>
                <c:pt idx="192">
                  <c:v>#N/A</c:v>
                </c:pt>
                <c:pt idx="193">
                  <c:v>#N/A</c:v>
                </c:pt>
                <c:pt idx="194">
                  <c:v>#N/A</c:v>
                </c:pt>
                <c:pt idx="195">
                  <c:v>#N/A</c:v>
                </c:pt>
                <c:pt idx="196">
                  <c:v>#N/A</c:v>
                </c:pt>
                <c:pt idx="197">
                  <c:v>63832.6</c:v>
                </c:pt>
                <c:pt idx="198">
                  <c:v>#N/A</c:v>
                </c:pt>
                <c:pt idx="199">
                  <c:v>#N/A</c:v>
                </c:pt>
                <c:pt idx="200">
                  <c:v>#N/A</c:v>
                </c:pt>
                <c:pt idx="201">
                  <c:v>#N/A</c:v>
                </c:pt>
                <c:pt idx="202">
                  <c:v>#N/A</c:v>
                </c:pt>
                <c:pt idx="203">
                  <c:v>#N/A</c:v>
                </c:pt>
                <c:pt idx="204">
                  <c:v>63488.1</c:v>
                </c:pt>
                <c:pt idx="205">
                  <c:v>#N/A</c:v>
                </c:pt>
                <c:pt idx="206">
                  <c:v>#N/A</c:v>
                </c:pt>
                <c:pt idx="207">
                  <c:v>#N/A</c:v>
                </c:pt>
                <c:pt idx="208">
                  <c:v>#N/A</c:v>
                </c:pt>
                <c:pt idx="209">
                  <c:v>#N/A</c:v>
                </c:pt>
                <c:pt idx="210">
                  <c:v>#N/A</c:v>
                </c:pt>
                <c:pt idx="211">
                  <c:v>63395.8</c:v>
                </c:pt>
                <c:pt idx="212">
                  <c:v>#N/A</c:v>
                </c:pt>
                <c:pt idx="213">
                  <c:v>#N/A</c:v>
                </c:pt>
                <c:pt idx="214">
                  <c:v>#N/A</c:v>
                </c:pt>
                <c:pt idx="215">
                  <c:v>#N/A</c:v>
                </c:pt>
                <c:pt idx="216">
                  <c:v>#N/A</c:v>
                </c:pt>
                <c:pt idx="217">
                  <c:v>#N/A</c:v>
                </c:pt>
                <c:pt idx="218">
                  <c:v>64004.85</c:v>
                </c:pt>
                <c:pt idx="219">
                  <c:v>#N/A</c:v>
                </c:pt>
                <c:pt idx="220">
                  <c:v>#N/A</c:v>
                </c:pt>
                <c:pt idx="221">
                  <c:v>#N/A</c:v>
                </c:pt>
                <c:pt idx="222">
                  <c:v>#N/A</c:v>
                </c:pt>
                <c:pt idx="223">
                  <c:v>#N/A</c:v>
                </c:pt>
                <c:pt idx="224">
                  <c:v>#N/A</c:v>
                </c:pt>
                <c:pt idx="225">
                  <c:v>65136.5</c:v>
                </c:pt>
                <c:pt idx="226">
                  <c:v>#N/A</c:v>
                </c:pt>
                <c:pt idx="227">
                  <c:v>#N/A</c:v>
                </c:pt>
                <c:pt idx="228">
                  <c:v>#N/A</c:v>
                </c:pt>
                <c:pt idx="229">
                  <c:v>#N/A</c:v>
                </c:pt>
                <c:pt idx="230">
                  <c:v>#N/A</c:v>
                </c:pt>
                <c:pt idx="231">
                  <c:v>#N/A</c:v>
                </c:pt>
                <c:pt idx="232">
                  <c:v>66499.55</c:v>
                </c:pt>
                <c:pt idx="233">
                  <c:v>#N/A</c:v>
                </c:pt>
                <c:pt idx="234">
                  <c:v>#N/A</c:v>
                </c:pt>
                <c:pt idx="235">
                  <c:v>#N/A</c:v>
                </c:pt>
                <c:pt idx="236">
                  <c:v>#N/A</c:v>
                </c:pt>
                <c:pt idx="237">
                  <c:v>#N/A</c:v>
                </c:pt>
                <c:pt idx="238">
                  <c:v>#N/A</c:v>
                </c:pt>
                <c:pt idx="239">
                  <c:v>68926</c:v>
                </c:pt>
                <c:pt idx="240">
                  <c:v>#N/A</c:v>
                </c:pt>
                <c:pt idx="241">
                  <c:v>#N/A</c:v>
                </c:pt>
                <c:pt idx="242">
                  <c:v>#N/A</c:v>
                </c:pt>
                <c:pt idx="243">
                  <c:v>#N/A</c:v>
                </c:pt>
                <c:pt idx="244">
                  <c:v>#N/A</c:v>
                </c:pt>
                <c:pt idx="245">
                  <c:v>#N/A</c:v>
                </c:pt>
                <c:pt idx="246">
                  <c:v>73218.600000000006</c:v>
                </c:pt>
                <c:pt idx="247">
                  <c:v>#N/A</c:v>
                </c:pt>
                <c:pt idx="248">
                  <c:v>#N/A</c:v>
                </c:pt>
                <c:pt idx="249">
                  <c:v>#N/A</c:v>
                </c:pt>
                <c:pt idx="250">
                  <c:v>#N/A</c:v>
                </c:pt>
                <c:pt idx="251">
                  <c:v>#N/A</c:v>
                </c:pt>
                <c:pt idx="252">
                  <c:v>#N/A</c:v>
                </c:pt>
                <c:pt idx="253">
                  <c:v>77090</c:v>
                </c:pt>
                <c:pt idx="254">
                  <c:v>#N/A</c:v>
                </c:pt>
                <c:pt idx="255">
                  <c:v>#N/A</c:v>
                </c:pt>
                <c:pt idx="256">
                  <c:v>#N/A</c:v>
                </c:pt>
                <c:pt idx="257">
                  <c:v>#N/A</c:v>
                </c:pt>
                <c:pt idx="258">
                  <c:v>#N/A</c:v>
                </c:pt>
                <c:pt idx="259">
                  <c:v>#N/A</c:v>
                </c:pt>
                <c:pt idx="260">
                  <c:v>80202.850000000006</c:v>
                </c:pt>
                <c:pt idx="261">
                  <c:v>#N/A</c:v>
                </c:pt>
                <c:pt idx="262">
                  <c:v>#N/A</c:v>
                </c:pt>
                <c:pt idx="263">
                  <c:v>#N/A</c:v>
                </c:pt>
                <c:pt idx="264">
                  <c:v>#N/A</c:v>
                </c:pt>
                <c:pt idx="265">
                  <c:v>#N/A</c:v>
                </c:pt>
                <c:pt idx="266">
                  <c:v>#N/A</c:v>
                </c:pt>
                <c:pt idx="267">
                  <c:v>89683.75</c:v>
                </c:pt>
                <c:pt idx="268">
                  <c:v>#N/A</c:v>
                </c:pt>
                <c:pt idx="269">
                  <c:v>#N/A</c:v>
                </c:pt>
                <c:pt idx="270">
                  <c:v>#N/A</c:v>
                </c:pt>
                <c:pt idx="271">
                  <c:v>#N/A</c:v>
                </c:pt>
                <c:pt idx="272">
                  <c:v>#N/A</c:v>
                </c:pt>
                <c:pt idx="273">
                  <c:v>#N/A</c:v>
                </c:pt>
                <c:pt idx="274">
                  <c:v>114748.4</c:v>
                </c:pt>
                <c:pt idx="275">
                  <c:v>#N/A</c:v>
                </c:pt>
                <c:pt idx="276">
                  <c:v>#N/A</c:v>
                </c:pt>
                <c:pt idx="277">
                  <c:v>#N/A</c:v>
                </c:pt>
                <c:pt idx="278">
                  <c:v>#N/A</c:v>
                </c:pt>
                <c:pt idx="279">
                  <c:v>#N/A</c:v>
                </c:pt>
                <c:pt idx="280">
                  <c:v>#N/A</c:v>
                </c:pt>
                <c:pt idx="281">
                  <c:v>120197.35</c:v>
                </c:pt>
                <c:pt idx="282">
                  <c:v>#N/A</c:v>
                </c:pt>
                <c:pt idx="283">
                  <c:v>#N/A</c:v>
                </c:pt>
                <c:pt idx="284">
                  <c:v>#N/A</c:v>
                </c:pt>
                <c:pt idx="285">
                  <c:v>#N/A</c:v>
                </c:pt>
                <c:pt idx="286">
                  <c:v>#N/A</c:v>
                </c:pt>
                <c:pt idx="287">
                  <c:v>#N/A</c:v>
                </c:pt>
                <c:pt idx="288">
                  <c:v>118937.65</c:v>
                </c:pt>
                <c:pt idx="289">
                  <c:v>#N/A</c:v>
                </c:pt>
                <c:pt idx="290">
                  <c:v>#N/A</c:v>
                </c:pt>
                <c:pt idx="291">
                  <c:v>#N/A</c:v>
                </c:pt>
                <c:pt idx="292">
                  <c:v>#N/A</c:v>
                </c:pt>
                <c:pt idx="293">
                  <c:v>#N/A</c:v>
                </c:pt>
                <c:pt idx="294">
                  <c:v>#N/A</c:v>
                </c:pt>
                <c:pt idx="295">
                  <c:v>115441.3</c:v>
                </c:pt>
                <c:pt idx="296">
                  <c:v>#N/A</c:v>
                </c:pt>
                <c:pt idx="297">
                  <c:v>#N/A</c:v>
                </c:pt>
                <c:pt idx="298">
                  <c:v>#N/A</c:v>
                </c:pt>
                <c:pt idx="299">
                  <c:v>#N/A</c:v>
                </c:pt>
                <c:pt idx="300">
                  <c:v>#N/A</c:v>
                </c:pt>
                <c:pt idx="301">
                  <c:v>#N/A</c:v>
                </c:pt>
                <c:pt idx="302">
                  <c:v>108261.4</c:v>
                </c:pt>
                <c:pt idx="303">
                  <c:v>#N/A</c:v>
                </c:pt>
                <c:pt idx="304">
                  <c:v>#N/A</c:v>
                </c:pt>
                <c:pt idx="305">
                  <c:v>#N/A</c:v>
                </c:pt>
                <c:pt idx="306">
                  <c:v>#N/A</c:v>
                </c:pt>
                <c:pt idx="307">
                  <c:v>#N/A</c:v>
                </c:pt>
                <c:pt idx="308">
                  <c:v>#N/A</c:v>
                </c:pt>
                <c:pt idx="309">
                  <c:v>100976.2</c:v>
                </c:pt>
                <c:pt idx="310">
                  <c:v>#N/A</c:v>
                </c:pt>
                <c:pt idx="311">
                  <c:v>#N/A</c:v>
                </c:pt>
                <c:pt idx="312">
                  <c:v>#N/A</c:v>
                </c:pt>
                <c:pt idx="313">
                  <c:v>#N/A</c:v>
                </c:pt>
                <c:pt idx="314">
                  <c:v>#N/A</c:v>
                </c:pt>
                <c:pt idx="315">
                  <c:v>#N/A</c:v>
                </c:pt>
                <c:pt idx="316">
                  <c:v>92747.199999999997</c:v>
                </c:pt>
                <c:pt idx="317">
                  <c:v>#N/A</c:v>
                </c:pt>
                <c:pt idx="318">
                  <c:v>#N/A</c:v>
                </c:pt>
                <c:pt idx="319">
                  <c:v>#N/A</c:v>
                </c:pt>
                <c:pt idx="320">
                  <c:v>#N/A</c:v>
                </c:pt>
                <c:pt idx="321">
                  <c:v>#N/A</c:v>
                </c:pt>
                <c:pt idx="322">
                  <c:v>#N/A</c:v>
                </c:pt>
                <c:pt idx="323">
                  <c:v>83630.95</c:v>
                </c:pt>
                <c:pt idx="324">
                  <c:v>#N/A</c:v>
                </c:pt>
                <c:pt idx="325">
                  <c:v>#N/A</c:v>
                </c:pt>
                <c:pt idx="326">
                  <c:v>#N/A</c:v>
                </c:pt>
                <c:pt idx="327">
                  <c:v>#N/A</c:v>
                </c:pt>
                <c:pt idx="328">
                  <c:v>#N/A</c:v>
                </c:pt>
                <c:pt idx="329">
                  <c:v>#N/A</c:v>
                </c:pt>
                <c:pt idx="330">
                  <c:v>84968</c:v>
                </c:pt>
                <c:pt idx="331">
                  <c:v>#N/A</c:v>
                </c:pt>
                <c:pt idx="332">
                  <c:v>#N/A</c:v>
                </c:pt>
                <c:pt idx="333">
                  <c:v>#N/A</c:v>
                </c:pt>
                <c:pt idx="334">
                  <c:v>#N/A</c:v>
                </c:pt>
                <c:pt idx="335">
                  <c:v>#N/A</c:v>
                </c:pt>
                <c:pt idx="336">
                  <c:v>#N/A</c:v>
                </c:pt>
                <c:pt idx="337">
                  <c:v>85118.15</c:v>
                </c:pt>
                <c:pt idx="338">
                  <c:v>#N/A</c:v>
                </c:pt>
                <c:pt idx="339">
                  <c:v>#N/A</c:v>
                </c:pt>
                <c:pt idx="340">
                  <c:v>#N/A</c:v>
                </c:pt>
                <c:pt idx="341">
                  <c:v>#N/A</c:v>
                </c:pt>
                <c:pt idx="342">
                  <c:v>#N/A</c:v>
                </c:pt>
                <c:pt idx="343">
                  <c:v>#N/A</c:v>
                </c:pt>
                <c:pt idx="344">
                  <c:v>81556.149999999994</c:v>
                </c:pt>
                <c:pt idx="345">
                  <c:v>#N/A</c:v>
                </c:pt>
                <c:pt idx="346">
                  <c:v>#N/A</c:v>
                </c:pt>
                <c:pt idx="347">
                  <c:v>#N/A</c:v>
                </c:pt>
                <c:pt idx="348">
                  <c:v>#N/A</c:v>
                </c:pt>
                <c:pt idx="349">
                  <c:v>#N/A</c:v>
                </c:pt>
                <c:pt idx="350">
                  <c:v>#N/A</c:v>
                </c:pt>
                <c:pt idx="351">
                  <c:v>76863.8</c:v>
                </c:pt>
                <c:pt idx="352">
                  <c:v>#N/A</c:v>
                </c:pt>
                <c:pt idx="353">
                  <c:v>#N/A</c:v>
                </c:pt>
                <c:pt idx="354">
                  <c:v>#N/A</c:v>
                </c:pt>
                <c:pt idx="355">
                  <c:v>#N/A</c:v>
                </c:pt>
                <c:pt idx="356">
                  <c:v>#N/A</c:v>
                </c:pt>
                <c:pt idx="357">
                  <c:v>#N/A</c:v>
                </c:pt>
                <c:pt idx="358">
                  <c:v>72000</c:v>
                </c:pt>
                <c:pt idx="359">
                  <c:v>#N/A</c:v>
                </c:pt>
                <c:pt idx="360">
                  <c:v>#N/A</c:v>
                </c:pt>
                <c:pt idx="361">
                  <c:v>#N/A</c:v>
                </c:pt>
                <c:pt idx="362">
                  <c:v>#N/A</c:v>
                </c:pt>
                <c:pt idx="363">
                  <c:v>#N/A</c:v>
                </c:pt>
                <c:pt idx="364">
                  <c:v>#N/A</c:v>
                </c:pt>
                <c:pt idx="365">
                  <c:v>72000</c:v>
                </c:pt>
              </c:numCache>
            </c:numRef>
          </c:val>
          <c:smooth val="0"/>
          <c:extLst>
            <c:ext xmlns:c16="http://schemas.microsoft.com/office/drawing/2014/chart" uri="{C3380CC4-5D6E-409C-BE32-E72D297353CC}">
              <c16:uniqueId val="{00000000-8C8B-4564-AA76-FEB5043747E7}"/>
            </c:ext>
          </c:extLst>
        </c:ser>
        <c:ser>
          <c:idx val="1"/>
          <c:order val="1"/>
          <c:tx>
            <c:strRef>
              <c:f>多晶硅成本利润!$J$4</c:f>
              <c:strCache>
                <c:ptCount val="1"/>
                <c:pt idx="0">
                  <c:v>2022</c:v>
                </c:pt>
              </c:strCache>
            </c:strRef>
          </c:tx>
          <c:spPr>
            <a:ln w="19050" cap="rnd">
              <a:solidFill>
                <a:schemeClr val="bg1">
                  <a:lumMod val="65000"/>
                </a:schemeClr>
              </a:solidFill>
              <a:round/>
            </a:ln>
            <a:effectLst/>
          </c:spPr>
          <c:marker>
            <c:symbol val="none"/>
          </c:marker>
          <c:cat>
            <c:strRef>
              <c:f>多晶硅成本利润!$H$5:$H$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成本利润!$J$5:$J$370</c:f>
              <c:numCache>
                <c:formatCode>General</c:formatCode>
                <c:ptCount val="366"/>
                <c:pt idx="0">
                  <c:v>#N/A</c:v>
                </c:pt>
                <c:pt idx="1">
                  <c:v>#N/A</c:v>
                </c:pt>
                <c:pt idx="2">
                  <c:v>#N/A</c:v>
                </c:pt>
                <c:pt idx="3">
                  <c:v>#N/A</c:v>
                </c:pt>
                <c:pt idx="4">
                  <c:v>#N/A</c:v>
                </c:pt>
                <c:pt idx="5">
                  <c:v>#N/A</c:v>
                </c:pt>
                <c:pt idx="6">
                  <c:v>68882.352939999997</c:v>
                </c:pt>
                <c:pt idx="7">
                  <c:v>#N/A</c:v>
                </c:pt>
                <c:pt idx="8">
                  <c:v>#N/A</c:v>
                </c:pt>
                <c:pt idx="9">
                  <c:v>#N/A</c:v>
                </c:pt>
                <c:pt idx="10">
                  <c:v>#N/A</c:v>
                </c:pt>
                <c:pt idx="11">
                  <c:v>#N/A</c:v>
                </c:pt>
                <c:pt idx="12">
                  <c:v>#N/A</c:v>
                </c:pt>
                <c:pt idx="13">
                  <c:v>73000</c:v>
                </c:pt>
                <c:pt idx="14">
                  <c:v>#N/A</c:v>
                </c:pt>
                <c:pt idx="15">
                  <c:v>#N/A</c:v>
                </c:pt>
                <c:pt idx="16">
                  <c:v>#N/A</c:v>
                </c:pt>
                <c:pt idx="17">
                  <c:v>#N/A</c:v>
                </c:pt>
                <c:pt idx="18">
                  <c:v>#N/A</c:v>
                </c:pt>
                <c:pt idx="19">
                  <c:v>#N/A</c:v>
                </c:pt>
                <c:pt idx="20">
                  <c:v>74391.304350000006</c:v>
                </c:pt>
                <c:pt idx="21">
                  <c:v>#N/A</c:v>
                </c:pt>
                <c:pt idx="22">
                  <c:v>#N/A</c:v>
                </c:pt>
                <c:pt idx="23">
                  <c:v>#N/A</c:v>
                </c:pt>
                <c:pt idx="24">
                  <c:v>#N/A</c:v>
                </c:pt>
                <c:pt idx="25">
                  <c:v>#N/A</c:v>
                </c:pt>
                <c:pt idx="26">
                  <c:v>#N/A</c:v>
                </c:pt>
                <c:pt idx="27">
                  <c:v>74391.304350000006</c:v>
                </c:pt>
                <c:pt idx="28">
                  <c:v>#N/A</c:v>
                </c:pt>
                <c:pt idx="29">
                  <c:v>#N/A</c:v>
                </c:pt>
                <c:pt idx="30">
                  <c:v>#N/A</c:v>
                </c:pt>
                <c:pt idx="31">
                  <c:v>#N/A</c:v>
                </c:pt>
                <c:pt idx="32">
                  <c:v>#N/A</c:v>
                </c:pt>
                <c:pt idx="33">
                  <c:v>#N/A</c:v>
                </c:pt>
                <c:pt idx="34">
                  <c:v>74391.304350000006</c:v>
                </c:pt>
                <c:pt idx="35">
                  <c:v>#N/A</c:v>
                </c:pt>
                <c:pt idx="36">
                  <c:v>#N/A</c:v>
                </c:pt>
                <c:pt idx="37">
                  <c:v>#N/A</c:v>
                </c:pt>
                <c:pt idx="38">
                  <c:v>#N/A</c:v>
                </c:pt>
                <c:pt idx="39">
                  <c:v>#N/A</c:v>
                </c:pt>
                <c:pt idx="40">
                  <c:v>#N/A</c:v>
                </c:pt>
                <c:pt idx="41">
                  <c:v>74391.304350000006</c:v>
                </c:pt>
                <c:pt idx="42">
                  <c:v>#N/A</c:v>
                </c:pt>
                <c:pt idx="43">
                  <c:v>#N/A</c:v>
                </c:pt>
                <c:pt idx="44">
                  <c:v>#N/A</c:v>
                </c:pt>
                <c:pt idx="45">
                  <c:v>#N/A</c:v>
                </c:pt>
                <c:pt idx="46">
                  <c:v>#N/A</c:v>
                </c:pt>
                <c:pt idx="47">
                  <c:v>#N/A</c:v>
                </c:pt>
                <c:pt idx="48">
                  <c:v>74434.782609999995</c:v>
                </c:pt>
                <c:pt idx="49">
                  <c:v>#N/A</c:v>
                </c:pt>
                <c:pt idx="50">
                  <c:v>#N/A</c:v>
                </c:pt>
                <c:pt idx="51">
                  <c:v>#N/A</c:v>
                </c:pt>
                <c:pt idx="52">
                  <c:v>#N/A</c:v>
                </c:pt>
                <c:pt idx="53">
                  <c:v>#N/A</c:v>
                </c:pt>
                <c:pt idx="54">
                  <c:v>#N/A</c:v>
                </c:pt>
                <c:pt idx="55">
                  <c:v>74695.652170000001</c:v>
                </c:pt>
                <c:pt idx="56">
                  <c:v>#N/A</c:v>
                </c:pt>
                <c:pt idx="57">
                  <c:v>#N/A</c:v>
                </c:pt>
                <c:pt idx="58">
                  <c:v>#N/A</c:v>
                </c:pt>
                <c:pt idx="60">
                  <c:v>#N/A</c:v>
                </c:pt>
                <c:pt idx="61">
                  <c:v>#N/A</c:v>
                </c:pt>
                <c:pt idx="62">
                  <c:v>#N/A</c:v>
                </c:pt>
                <c:pt idx="63">
                  <c:v>74695.652170000001</c:v>
                </c:pt>
                <c:pt idx="64">
                  <c:v>#N/A</c:v>
                </c:pt>
                <c:pt idx="65">
                  <c:v>#N/A</c:v>
                </c:pt>
                <c:pt idx="66">
                  <c:v>#N/A</c:v>
                </c:pt>
                <c:pt idx="67">
                  <c:v>#N/A</c:v>
                </c:pt>
                <c:pt idx="68">
                  <c:v>#N/A</c:v>
                </c:pt>
                <c:pt idx="69">
                  <c:v>#N/A</c:v>
                </c:pt>
                <c:pt idx="70">
                  <c:v>74869.565220000004</c:v>
                </c:pt>
                <c:pt idx="71">
                  <c:v>#N/A</c:v>
                </c:pt>
                <c:pt idx="72">
                  <c:v>#N/A</c:v>
                </c:pt>
                <c:pt idx="73">
                  <c:v>#N/A</c:v>
                </c:pt>
                <c:pt idx="74">
                  <c:v>#N/A</c:v>
                </c:pt>
                <c:pt idx="75">
                  <c:v>#N/A</c:v>
                </c:pt>
                <c:pt idx="76">
                  <c:v>#N/A</c:v>
                </c:pt>
                <c:pt idx="77">
                  <c:v>74869.565220000004</c:v>
                </c:pt>
                <c:pt idx="78">
                  <c:v>#N/A</c:v>
                </c:pt>
                <c:pt idx="79">
                  <c:v>#N/A</c:v>
                </c:pt>
                <c:pt idx="80">
                  <c:v>#N/A</c:v>
                </c:pt>
                <c:pt idx="81">
                  <c:v>#N/A</c:v>
                </c:pt>
                <c:pt idx="82">
                  <c:v>#N/A</c:v>
                </c:pt>
                <c:pt idx="83">
                  <c:v>#N/A</c:v>
                </c:pt>
                <c:pt idx="84">
                  <c:v>74869.565220000004</c:v>
                </c:pt>
                <c:pt idx="85">
                  <c:v>#N/A</c:v>
                </c:pt>
                <c:pt idx="86">
                  <c:v>#N/A</c:v>
                </c:pt>
                <c:pt idx="87">
                  <c:v>#N/A</c:v>
                </c:pt>
                <c:pt idx="88">
                  <c:v>#N/A</c:v>
                </c:pt>
                <c:pt idx="89">
                  <c:v>#N/A</c:v>
                </c:pt>
                <c:pt idx="90">
                  <c:v>#N/A</c:v>
                </c:pt>
                <c:pt idx="91">
                  <c:v>74869.565220000004</c:v>
                </c:pt>
                <c:pt idx="92">
                  <c:v>#N/A</c:v>
                </c:pt>
                <c:pt idx="93">
                  <c:v>#N/A</c:v>
                </c:pt>
                <c:pt idx="94">
                  <c:v>#N/A</c:v>
                </c:pt>
                <c:pt idx="95">
                  <c:v>#N/A</c:v>
                </c:pt>
                <c:pt idx="96">
                  <c:v>#N/A</c:v>
                </c:pt>
                <c:pt idx="97">
                  <c:v>#N/A</c:v>
                </c:pt>
                <c:pt idx="98">
                  <c:v>74869.565220000004</c:v>
                </c:pt>
                <c:pt idx="99">
                  <c:v>#N/A</c:v>
                </c:pt>
                <c:pt idx="100">
                  <c:v>#N/A</c:v>
                </c:pt>
                <c:pt idx="101">
                  <c:v>#N/A</c:v>
                </c:pt>
                <c:pt idx="102">
                  <c:v>#N/A</c:v>
                </c:pt>
                <c:pt idx="103">
                  <c:v>#N/A</c:v>
                </c:pt>
                <c:pt idx="104">
                  <c:v>#N/A</c:v>
                </c:pt>
                <c:pt idx="105">
                  <c:v>74869.565220000004</c:v>
                </c:pt>
                <c:pt idx="106">
                  <c:v>#N/A</c:v>
                </c:pt>
                <c:pt idx="107">
                  <c:v>#N/A</c:v>
                </c:pt>
                <c:pt idx="108">
                  <c:v>#N/A</c:v>
                </c:pt>
                <c:pt idx="109">
                  <c:v>#N/A</c:v>
                </c:pt>
                <c:pt idx="110">
                  <c:v>#N/A</c:v>
                </c:pt>
                <c:pt idx="111">
                  <c:v>#N/A</c:v>
                </c:pt>
                <c:pt idx="112">
                  <c:v>70608.695649999994</c:v>
                </c:pt>
                <c:pt idx="113">
                  <c:v>#N/A</c:v>
                </c:pt>
                <c:pt idx="114">
                  <c:v>#N/A</c:v>
                </c:pt>
                <c:pt idx="115">
                  <c:v>#N/A</c:v>
                </c:pt>
                <c:pt idx="116">
                  <c:v>#N/A</c:v>
                </c:pt>
                <c:pt idx="117">
                  <c:v>#N/A</c:v>
                </c:pt>
                <c:pt idx="118">
                  <c:v>#N/A</c:v>
                </c:pt>
                <c:pt idx="119">
                  <c:v>68400</c:v>
                </c:pt>
                <c:pt idx="120">
                  <c:v>#N/A</c:v>
                </c:pt>
                <c:pt idx="121">
                  <c:v>#N/A</c:v>
                </c:pt>
                <c:pt idx="122">
                  <c:v>#N/A</c:v>
                </c:pt>
                <c:pt idx="123">
                  <c:v>#N/A</c:v>
                </c:pt>
                <c:pt idx="124">
                  <c:v>#N/A</c:v>
                </c:pt>
                <c:pt idx="125">
                  <c:v>#N/A</c:v>
                </c:pt>
                <c:pt idx="126">
                  <c:v>67533.333329999994</c:v>
                </c:pt>
                <c:pt idx="127">
                  <c:v>#N/A</c:v>
                </c:pt>
                <c:pt idx="128">
                  <c:v>#N/A</c:v>
                </c:pt>
                <c:pt idx="129">
                  <c:v>#N/A</c:v>
                </c:pt>
                <c:pt idx="130">
                  <c:v>#N/A</c:v>
                </c:pt>
                <c:pt idx="131">
                  <c:v>#N/A</c:v>
                </c:pt>
                <c:pt idx="132">
                  <c:v>#N/A</c:v>
                </c:pt>
                <c:pt idx="133">
                  <c:v>67266.666670000006</c:v>
                </c:pt>
                <c:pt idx="134">
                  <c:v>#N/A</c:v>
                </c:pt>
                <c:pt idx="135">
                  <c:v>#N/A</c:v>
                </c:pt>
                <c:pt idx="136">
                  <c:v>#N/A</c:v>
                </c:pt>
                <c:pt idx="137">
                  <c:v>#N/A</c:v>
                </c:pt>
                <c:pt idx="138">
                  <c:v>#N/A</c:v>
                </c:pt>
                <c:pt idx="139">
                  <c:v>#N/A</c:v>
                </c:pt>
                <c:pt idx="140">
                  <c:v>65933.333329999994</c:v>
                </c:pt>
                <c:pt idx="141">
                  <c:v>#N/A</c:v>
                </c:pt>
                <c:pt idx="142">
                  <c:v>#N/A</c:v>
                </c:pt>
                <c:pt idx="143">
                  <c:v>#N/A</c:v>
                </c:pt>
                <c:pt idx="144">
                  <c:v>#N/A</c:v>
                </c:pt>
                <c:pt idx="145">
                  <c:v>#N/A</c:v>
                </c:pt>
                <c:pt idx="146">
                  <c:v>#N/A</c:v>
                </c:pt>
                <c:pt idx="147">
                  <c:v>64600</c:v>
                </c:pt>
                <c:pt idx="148">
                  <c:v>#N/A</c:v>
                </c:pt>
                <c:pt idx="149">
                  <c:v>#N/A</c:v>
                </c:pt>
                <c:pt idx="150">
                  <c:v>#N/A</c:v>
                </c:pt>
                <c:pt idx="151">
                  <c:v>#N/A</c:v>
                </c:pt>
                <c:pt idx="152">
                  <c:v>#N/A</c:v>
                </c:pt>
                <c:pt idx="153">
                  <c:v>#N/A</c:v>
                </c:pt>
                <c:pt idx="154">
                  <c:v>63866.666669999999</c:v>
                </c:pt>
                <c:pt idx="155">
                  <c:v>#N/A</c:v>
                </c:pt>
                <c:pt idx="156">
                  <c:v>#N/A</c:v>
                </c:pt>
                <c:pt idx="157">
                  <c:v>#N/A</c:v>
                </c:pt>
                <c:pt idx="158">
                  <c:v>#N/A</c:v>
                </c:pt>
                <c:pt idx="159">
                  <c:v>#N/A</c:v>
                </c:pt>
                <c:pt idx="160">
                  <c:v>#N/A</c:v>
                </c:pt>
                <c:pt idx="161">
                  <c:v>63866.666669999999</c:v>
                </c:pt>
                <c:pt idx="162">
                  <c:v>#N/A</c:v>
                </c:pt>
                <c:pt idx="163">
                  <c:v>#N/A</c:v>
                </c:pt>
                <c:pt idx="164">
                  <c:v>#N/A</c:v>
                </c:pt>
                <c:pt idx="165">
                  <c:v>#N/A</c:v>
                </c:pt>
                <c:pt idx="166">
                  <c:v>#N/A</c:v>
                </c:pt>
                <c:pt idx="167">
                  <c:v>#N/A</c:v>
                </c:pt>
                <c:pt idx="168">
                  <c:v>64166.666669999999</c:v>
                </c:pt>
                <c:pt idx="169">
                  <c:v>#N/A</c:v>
                </c:pt>
                <c:pt idx="170">
                  <c:v>#N/A</c:v>
                </c:pt>
                <c:pt idx="171">
                  <c:v>#N/A</c:v>
                </c:pt>
                <c:pt idx="172">
                  <c:v>#N/A</c:v>
                </c:pt>
                <c:pt idx="173">
                  <c:v>#N/A</c:v>
                </c:pt>
                <c:pt idx="174">
                  <c:v>#N/A</c:v>
                </c:pt>
                <c:pt idx="175">
                  <c:v>64166.666669999999</c:v>
                </c:pt>
                <c:pt idx="176">
                  <c:v>#N/A</c:v>
                </c:pt>
                <c:pt idx="177">
                  <c:v>#N/A</c:v>
                </c:pt>
                <c:pt idx="178">
                  <c:v>#N/A</c:v>
                </c:pt>
                <c:pt idx="179">
                  <c:v>#N/A</c:v>
                </c:pt>
                <c:pt idx="180">
                  <c:v>#N/A</c:v>
                </c:pt>
                <c:pt idx="181">
                  <c:v>#N/A</c:v>
                </c:pt>
                <c:pt idx="182">
                  <c:v>64166.666669999999</c:v>
                </c:pt>
                <c:pt idx="183">
                  <c:v>#N/A</c:v>
                </c:pt>
                <c:pt idx="184">
                  <c:v>#N/A</c:v>
                </c:pt>
                <c:pt idx="185">
                  <c:v>#N/A</c:v>
                </c:pt>
                <c:pt idx="186">
                  <c:v>#N/A</c:v>
                </c:pt>
                <c:pt idx="187">
                  <c:v>#N/A</c:v>
                </c:pt>
                <c:pt idx="188">
                  <c:v>#N/A</c:v>
                </c:pt>
                <c:pt idx="189">
                  <c:v>64166.666669999999</c:v>
                </c:pt>
                <c:pt idx="190">
                  <c:v>#N/A</c:v>
                </c:pt>
                <c:pt idx="191">
                  <c:v>#N/A</c:v>
                </c:pt>
                <c:pt idx="192">
                  <c:v>#N/A</c:v>
                </c:pt>
                <c:pt idx="193">
                  <c:v>#N/A</c:v>
                </c:pt>
                <c:pt idx="194">
                  <c:v>#N/A</c:v>
                </c:pt>
                <c:pt idx="195">
                  <c:v>#N/A</c:v>
                </c:pt>
                <c:pt idx="196">
                  <c:v>64166.666669999999</c:v>
                </c:pt>
                <c:pt idx="197">
                  <c:v>#N/A</c:v>
                </c:pt>
                <c:pt idx="198">
                  <c:v>#N/A</c:v>
                </c:pt>
                <c:pt idx="199">
                  <c:v>#N/A</c:v>
                </c:pt>
                <c:pt idx="200">
                  <c:v>#N/A</c:v>
                </c:pt>
                <c:pt idx="201">
                  <c:v>#N/A</c:v>
                </c:pt>
                <c:pt idx="202">
                  <c:v>#N/A</c:v>
                </c:pt>
                <c:pt idx="203">
                  <c:v>64266.666669999999</c:v>
                </c:pt>
                <c:pt idx="204">
                  <c:v>#N/A</c:v>
                </c:pt>
                <c:pt idx="205">
                  <c:v>#N/A</c:v>
                </c:pt>
                <c:pt idx="206">
                  <c:v>#N/A</c:v>
                </c:pt>
                <c:pt idx="207">
                  <c:v>#N/A</c:v>
                </c:pt>
                <c:pt idx="208">
                  <c:v>#N/A</c:v>
                </c:pt>
                <c:pt idx="209">
                  <c:v>#N/A</c:v>
                </c:pt>
                <c:pt idx="210">
                  <c:v>64266.666669999999</c:v>
                </c:pt>
                <c:pt idx="211">
                  <c:v>#N/A</c:v>
                </c:pt>
                <c:pt idx="212">
                  <c:v>#N/A</c:v>
                </c:pt>
                <c:pt idx="213">
                  <c:v>#N/A</c:v>
                </c:pt>
                <c:pt idx="214">
                  <c:v>#N/A</c:v>
                </c:pt>
                <c:pt idx="215">
                  <c:v>#N/A</c:v>
                </c:pt>
                <c:pt idx="216">
                  <c:v>#N/A</c:v>
                </c:pt>
                <c:pt idx="217">
                  <c:v>64266.666669999999</c:v>
                </c:pt>
                <c:pt idx="218">
                  <c:v>#N/A</c:v>
                </c:pt>
                <c:pt idx="219">
                  <c:v>#N/A</c:v>
                </c:pt>
                <c:pt idx="220">
                  <c:v>#N/A</c:v>
                </c:pt>
                <c:pt idx="221">
                  <c:v>#N/A</c:v>
                </c:pt>
                <c:pt idx="222">
                  <c:v>#N/A</c:v>
                </c:pt>
                <c:pt idx="223">
                  <c:v>#N/A</c:v>
                </c:pt>
                <c:pt idx="224">
                  <c:v>64400</c:v>
                </c:pt>
                <c:pt idx="225">
                  <c:v>#N/A</c:v>
                </c:pt>
                <c:pt idx="226">
                  <c:v>#N/A</c:v>
                </c:pt>
                <c:pt idx="227">
                  <c:v>#N/A</c:v>
                </c:pt>
                <c:pt idx="228">
                  <c:v>#N/A</c:v>
                </c:pt>
                <c:pt idx="229">
                  <c:v>#N/A</c:v>
                </c:pt>
                <c:pt idx="230">
                  <c:v>#N/A</c:v>
                </c:pt>
                <c:pt idx="231">
                  <c:v>64866.666669999999</c:v>
                </c:pt>
                <c:pt idx="232">
                  <c:v>#N/A</c:v>
                </c:pt>
                <c:pt idx="233">
                  <c:v>#N/A</c:v>
                </c:pt>
                <c:pt idx="234">
                  <c:v>#N/A</c:v>
                </c:pt>
                <c:pt idx="235">
                  <c:v>#N/A</c:v>
                </c:pt>
                <c:pt idx="236">
                  <c:v>#N/A</c:v>
                </c:pt>
                <c:pt idx="237">
                  <c:v>#N/A</c:v>
                </c:pt>
                <c:pt idx="238">
                  <c:v>65000</c:v>
                </c:pt>
                <c:pt idx="239">
                  <c:v>#N/A</c:v>
                </c:pt>
                <c:pt idx="240">
                  <c:v>#N/A</c:v>
                </c:pt>
                <c:pt idx="241">
                  <c:v>#N/A</c:v>
                </c:pt>
                <c:pt idx="242">
                  <c:v>#N/A</c:v>
                </c:pt>
                <c:pt idx="243">
                  <c:v>#N/A</c:v>
                </c:pt>
                <c:pt idx="244">
                  <c:v>#N/A</c:v>
                </c:pt>
                <c:pt idx="245">
                  <c:v>65000</c:v>
                </c:pt>
                <c:pt idx="246">
                  <c:v>#N/A</c:v>
                </c:pt>
                <c:pt idx="247">
                  <c:v>#N/A</c:v>
                </c:pt>
                <c:pt idx="248">
                  <c:v>#N/A</c:v>
                </c:pt>
                <c:pt idx="249">
                  <c:v>#N/A</c:v>
                </c:pt>
                <c:pt idx="250">
                  <c:v>#N/A</c:v>
                </c:pt>
                <c:pt idx="251">
                  <c:v>#N/A</c:v>
                </c:pt>
                <c:pt idx="252">
                  <c:v>65000</c:v>
                </c:pt>
                <c:pt idx="253">
                  <c:v>#N/A</c:v>
                </c:pt>
                <c:pt idx="254">
                  <c:v>#N/A</c:v>
                </c:pt>
                <c:pt idx="255">
                  <c:v>#N/A</c:v>
                </c:pt>
                <c:pt idx="256">
                  <c:v>#N/A</c:v>
                </c:pt>
                <c:pt idx="257">
                  <c:v>#N/A</c:v>
                </c:pt>
                <c:pt idx="258">
                  <c:v>#N/A</c:v>
                </c:pt>
                <c:pt idx="259">
                  <c:v>64033.333330000001</c:v>
                </c:pt>
                <c:pt idx="260">
                  <c:v>#N/A</c:v>
                </c:pt>
                <c:pt idx="261">
                  <c:v>#N/A</c:v>
                </c:pt>
                <c:pt idx="262">
                  <c:v>#N/A</c:v>
                </c:pt>
                <c:pt idx="263">
                  <c:v>#N/A</c:v>
                </c:pt>
                <c:pt idx="264">
                  <c:v>#N/A</c:v>
                </c:pt>
                <c:pt idx="265">
                  <c:v>#N/A</c:v>
                </c:pt>
                <c:pt idx="266">
                  <c:v>64166.666669999999</c:v>
                </c:pt>
                <c:pt idx="267">
                  <c:v>#N/A</c:v>
                </c:pt>
                <c:pt idx="268">
                  <c:v>#N/A</c:v>
                </c:pt>
                <c:pt idx="269">
                  <c:v>#N/A</c:v>
                </c:pt>
                <c:pt idx="270">
                  <c:v>#N/A</c:v>
                </c:pt>
                <c:pt idx="271">
                  <c:v>#N/A</c:v>
                </c:pt>
                <c:pt idx="272">
                  <c:v>#N/A</c:v>
                </c:pt>
                <c:pt idx="273">
                  <c:v>64286.666669999999</c:v>
                </c:pt>
                <c:pt idx="274">
                  <c:v>#N/A</c:v>
                </c:pt>
                <c:pt idx="275">
                  <c:v>#N/A</c:v>
                </c:pt>
                <c:pt idx="276">
                  <c:v>#N/A</c:v>
                </c:pt>
                <c:pt idx="277">
                  <c:v>#N/A</c:v>
                </c:pt>
                <c:pt idx="278">
                  <c:v>#N/A</c:v>
                </c:pt>
                <c:pt idx="279">
                  <c:v>#N/A</c:v>
                </c:pt>
                <c:pt idx="280">
                  <c:v>64286.666669999999</c:v>
                </c:pt>
                <c:pt idx="281">
                  <c:v>#N/A</c:v>
                </c:pt>
                <c:pt idx="282">
                  <c:v>#N/A</c:v>
                </c:pt>
                <c:pt idx="283">
                  <c:v>#N/A</c:v>
                </c:pt>
                <c:pt idx="284">
                  <c:v>#N/A</c:v>
                </c:pt>
                <c:pt idx="285">
                  <c:v>#N/A</c:v>
                </c:pt>
                <c:pt idx="286">
                  <c:v>#N/A</c:v>
                </c:pt>
                <c:pt idx="287">
                  <c:v>64320</c:v>
                </c:pt>
                <c:pt idx="288">
                  <c:v>#N/A</c:v>
                </c:pt>
                <c:pt idx="289">
                  <c:v>#N/A</c:v>
                </c:pt>
                <c:pt idx="290">
                  <c:v>#N/A</c:v>
                </c:pt>
                <c:pt idx="291">
                  <c:v>#N/A</c:v>
                </c:pt>
                <c:pt idx="292">
                  <c:v>#N/A</c:v>
                </c:pt>
                <c:pt idx="293">
                  <c:v>#N/A</c:v>
                </c:pt>
                <c:pt idx="294">
                  <c:v>64320</c:v>
                </c:pt>
                <c:pt idx="295">
                  <c:v>#N/A</c:v>
                </c:pt>
                <c:pt idx="296">
                  <c:v>#N/A</c:v>
                </c:pt>
                <c:pt idx="297">
                  <c:v>#N/A</c:v>
                </c:pt>
                <c:pt idx="298">
                  <c:v>#N/A</c:v>
                </c:pt>
                <c:pt idx="299">
                  <c:v>#N/A</c:v>
                </c:pt>
                <c:pt idx="300">
                  <c:v>#N/A</c:v>
                </c:pt>
                <c:pt idx="301">
                  <c:v>64220</c:v>
                </c:pt>
                <c:pt idx="302">
                  <c:v>#N/A</c:v>
                </c:pt>
                <c:pt idx="303">
                  <c:v>#N/A</c:v>
                </c:pt>
                <c:pt idx="304">
                  <c:v>#N/A</c:v>
                </c:pt>
                <c:pt idx="305">
                  <c:v>#N/A</c:v>
                </c:pt>
                <c:pt idx="306">
                  <c:v>#N/A</c:v>
                </c:pt>
                <c:pt idx="307">
                  <c:v>#N/A</c:v>
                </c:pt>
                <c:pt idx="308">
                  <c:v>64129.411760000003</c:v>
                </c:pt>
                <c:pt idx="309">
                  <c:v>#N/A</c:v>
                </c:pt>
                <c:pt idx="310">
                  <c:v>#N/A</c:v>
                </c:pt>
                <c:pt idx="311">
                  <c:v>#N/A</c:v>
                </c:pt>
                <c:pt idx="312">
                  <c:v>#N/A</c:v>
                </c:pt>
                <c:pt idx="313">
                  <c:v>#N/A</c:v>
                </c:pt>
                <c:pt idx="314">
                  <c:v>#N/A</c:v>
                </c:pt>
                <c:pt idx="315">
                  <c:v>64135.294119999999</c:v>
                </c:pt>
                <c:pt idx="316">
                  <c:v>#N/A</c:v>
                </c:pt>
                <c:pt idx="317">
                  <c:v>#N/A</c:v>
                </c:pt>
                <c:pt idx="318">
                  <c:v>#N/A</c:v>
                </c:pt>
                <c:pt idx="319">
                  <c:v>#N/A</c:v>
                </c:pt>
                <c:pt idx="320">
                  <c:v>#N/A</c:v>
                </c:pt>
                <c:pt idx="321">
                  <c:v>#N/A</c:v>
                </c:pt>
                <c:pt idx="322">
                  <c:v>64135.294119999999</c:v>
                </c:pt>
                <c:pt idx="323">
                  <c:v>#N/A</c:v>
                </c:pt>
                <c:pt idx="324">
                  <c:v>#N/A</c:v>
                </c:pt>
                <c:pt idx="325">
                  <c:v>#N/A</c:v>
                </c:pt>
                <c:pt idx="326">
                  <c:v>#N/A</c:v>
                </c:pt>
                <c:pt idx="327">
                  <c:v>#N/A</c:v>
                </c:pt>
                <c:pt idx="328">
                  <c:v>#N/A</c:v>
                </c:pt>
                <c:pt idx="329">
                  <c:v>65637.5</c:v>
                </c:pt>
                <c:pt idx="330">
                  <c:v>#N/A</c:v>
                </c:pt>
                <c:pt idx="331">
                  <c:v>#N/A</c:v>
                </c:pt>
                <c:pt idx="332">
                  <c:v>#N/A</c:v>
                </c:pt>
                <c:pt idx="333">
                  <c:v>#N/A</c:v>
                </c:pt>
                <c:pt idx="334">
                  <c:v>#N/A</c:v>
                </c:pt>
                <c:pt idx="335">
                  <c:v>#N/A</c:v>
                </c:pt>
                <c:pt idx="336">
                  <c:v>62941.176469999999</c:v>
                </c:pt>
                <c:pt idx="337">
                  <c:v>#N/A</c:v>
                </c:pt>
                <c:pt idx="338">
                  <c:v>#N/A</c:v>
                </c:pt>
                <c:pt idx="339">
                  <c:v>#N/A</c:v>
                </c:pt>
                <c:pt idx="340">
                  <c:v>#N/A</c:v>
                </c:pt>
                <c:pt idx="341">
                  <c:v>#N/A</c:v>
                </c:pt>
                <c:pt idx="342">
                  <c:v>#N/A</c:v>
                </c:pt>
                <c:pt idx="343">
                  <c:v>62176.470589999997</c:v>
                </c:pt>
                <c:pt idx="344">
                  <c:v>#N/A</c:v>
                </c:pt>
                <c:pt idx="345">
                  <c:v>#N/A</c:v>
                </c:pt>
                <c:pt idx="346">
                  <c:v>#N/A</c:v>
                </c:pt>
                <c:pt idx="347">
                  <c:v>#N/A</c:v>
                </c:pt>
                <c:pt idx="348">
                  <c:v>#N/A</c:v>
                </c:pt>
                <c:pt idx="349">
                  <c:v>#N/A</c:v>
                </c:pt>
                <c:pt idx="350">
                  <c:v>57823.529410000003</c:v>
                </c:pt>
                <c:pt idx="351">
                  <c:v>#N/A</c:v>
                </c:pt>
                <c:pt idx="352">
                  <c:v>#N/A</c:v>
                </c:pt>
                <c:pt idx="353">
                  <c:v>#N/A</c:v>
                </c:pt>
                <c:pt idx="354">
                  <c:v>#N/A</c:v>
                </c:pt>
                <c:pt idx="355">
                  <c:v>#N/A</c:v>
                </c:pt>
                <c:pt idx="356">
                  <c:v>#N/A</c:v>
                </c:pt>
                <c:pt idx="357">
                  <c:v>56176.470589999997</c:v>
                </c:pt>
                <c:pt idx="358">
                  <c:v>#N/A</c:v>
                </c:pt>
                <c:pt idx="359">
                  <c:v>#N/A</c:v>
                </c:pt>
                <c:pt idx="360">
                  <c:v>#N/A</c:v>
                </c:pt>
                <c:pt idx="361">
                  <c:v>#N/A</c:v>
                </c:pt>
                <c:pt idx="362">
                  <c:v>#N/A</c:v>
                </c:pt>
                <c:pt idx="363">
                  <c:v>#N/A</c:v>
                </c:pt>
                <c:pt idx="364">
                  <c:v>55823.529410000003</c:v>
                </c:pt>
                <c:pt idx="365">
                  <c:v>#N/A</c:v>
                </c:pt>
              </c:numCache>
            </c:numRef>
          </c:val>
          <c:smooth val="0"/>
          <c:extLst>
            <c:ext xmlns:c16="http://schemas.microsoft.com/office/drawing/2014/chart" uri="{C3380CC4-5D6E-409C-BE32-E72D297353CC}">
              <c16:uniqueId val="{00000001-8C8B-4564-AA76-FEB5043747E7}"/>
            </c:ext>
          </c:extLst>
        </c:ser>
        <c:ser>
          <c:idx val="2"/>
          <c:order val="2"/>
          <c:tx>
            <c:strRef>
              <c:f>多晶硅成本利润!$K$4</c:f>
              <c:strCache>
                <c:ptCount val="1"/>
                <c:pt idx="0">
                  <c:v>2023</c:v>
                </c:pt>
              </c:strCache>
            </c:strRef>
          </c:tx>
          <c:spPr>
            <a:ln w="19050" cap="rnd">
              <a:solidFill>
                <a:srgbClr val="308D94">
                  <a:alpha val="60000"/>
                </a:srgbClr>
              </a:solidFill>
              <a:round/>
            </a:ln>
            <a:effectLst/>
          </c:spPr>
          <c:marker>
            <c:symbol val="none"/>
          </c:marker>
          <c:cat>
            <c:strRef>
              <c:f>多晶硅成本利润!$H$5:$H$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成本利润!$K$5:$K$370</c:f>
              <c:numCache>
                <c:formatCode>General</c:formatCode>
                <c:ptCount val="366"/>
                <c:pt idx="0">
                  <c:v>#N/A</c:v>
                </c:pt>
                <c:pt idx="1">
                  <c:v>#N/A</c:v>
                </c:pt>
                <c:pt idx="2">
                  <c:v>#N/A</c:v>
                </c:pt>
                <c:pt idx="3">
                  <c:v>#N/A</c:v>
                </c:pt>
                <c:pt idx="4">
                  <c:v>#N/A</c:v>
                </c:pt>
                <c:pt idx="5">
                  <c:v>54941.176469999999</c:v>
                </c:pt>
                <c:pt idx="6">
                  <c:v>#N/A</c:v>
                </c:pt>
                <c:pt idx="7">
                  <c:v>#N/A</c:v>
                </c:pt>
                <c:pt idx="8">
                  <c:v>#N/A</c:v>
                </c:pt>
                <c:pt idx="9">
                  <c:v>#N/A</c:v>
                </c:pt>
                <c:pt idx="10">
                  <c:v>#N/A</c:v>
                </c:pt>
                <c:pt idx="11">
                  <c:v>#N/A</c:v>
                </c:pt>
                <c:pt idx="12">
                  <c:v>53941.176469999999</c:v>
                </c:pt>
                <c:pt idx="13">
                  <c:v>#N/A</c:v>
                </c:pt>
                <c:pt idx="14">
                  <c:v>#N/A</c:v>
                </c:pt>
                <c:pt idx="15">
                  <c:v>#N/A</c:v>
                </c:pt>
                <c:pt idx="16">
                  <c:v>#N/A</c:v>
                </c:pt>
                <c:pt idx="17">
                  <c:v>#N/A</c:v>
                </c:pt>
                <c:pt idx="18">
                  <c:v>#N/A</c:v>
                </c:pt>
                <c:pt idx="19">
                  <c:v>53941.176469999999</c:v>
                </c:pt>
                <c:pt idx="20">
                  <c:v>#N/A</c:v>
                </c:pt>
                <c:pt idx="21">
                  <c:v>#N/A</c:v>
                </c:pt>
                <c:pt idx="22">
                  <c:v>#N/A</c:v>
                </c:pt>
                <c:pt idx="23">
                  <c:v>#N/A</c:v>
                </c:pt>
                <c:pt idx="24">
                  <c:v>#N/A</c:v>
                </c:pt>
                <c:pt idx="25">
                  <c:v>#N/A</c:v>
                </c:pt>
                <c:pt idx="26">
                  <c:v>53250</c:v>
                </c:pt>
                <c:pt idx="27">
                  <c:v>#N/A</c:v>
                </c:pt>
                <c:pt idx="28">
                  <c:v>#N/A</c:v>
                </c:pt>
                <c:pt idx="29">
                  <c:v>#N/A</c:v>
                </c:pt>
                <c:pt idx="30">
                  <c:v>#N/A</c:v>
                </c:pt>
                <c:pt idx="31">
                  <c:v>#N/A</c:v>
                </c:pt>
                <c:pt idx="32">
                  <c:v>#N/A</c:v>
                </c:pt>
                <c:pt idx="33">
                  <c:v>53941.176469999999</c:v>
                </c:pt>
                <c:pt idx="34">
                  <c:v>#N/A</c:v>
                </c:pt>
                <c:pt idx="35">
                  <c:v>#N/A</c:v>
                </c:pt>
                <c:pt idx="36">
                  <c:v>#N/A</c:v>
                </c:pt>
                <c:pt idx="37">
                  <c:v>#N/A</c:v>
                </c:pt>
                <c:pt idx="38">
                  <c:v>#N/A</c:v>
                </c:pt>
                <c:pt idx="39">
                  <c:v>#N/A</c:v>
                </c:pt>
                <c:pt idx="40">
                  <c:v>54200</c:v>
                </c:pt>
                <c:pt idx="41">
                  <c:v>#N/A</c:v>
                </c:pt>
                <c:pt idx="42">
                  <c:v>#N/A</c:v>
                </c:pt>
                <c:pt idx="43">
                  <c:v>#N/A</c:v>
                </c:pt>
                <c:pt idx="44">
                  <c:v>#N/A</c:v>
                </c:pt>
                <c:pt idx="45">
                  <c:v>#N/A</c:v>
                </c:pt>
                <c:pt idx="46">
                  <c:v>#N/A</c:v>
                </c:pt>
                <c:pt idx="47">
                  <c:v>54200</c:v>
                </c:pt>
                <c:pt idx="48">
                  <c:v>#N/A</c:v>
                </c:pt>
                <c:pt idx="49">
                  <c:v>#N/A</c:v>
                </c:pt>
                <c:pt idx="50">
                  <c:v>#N/A</c:v>
                </c:pt>
                <c:pt idx="51">
                  <c:v>#N/A</c:v>
                </c:pt>
                <c:pt idx="52">
                  <c:v>#N/A</c:v>
                </c:pt>
                <c:pt idx="53">
                  <c:v>#N/A</c:v>
                </c:pt>
                <c:pt idx="54">
                  <c:v>54200</c:v>
                </c:pt>
                <c:pt idx="55">
                  <c:v>#N/A</c:v>
                </c:pt>
                <c:pt idx="56">
                  <c:v>#N/A</c:v>
                </c:pt>
                <c:pt idx="57">
                  <c:v>#N/A</c:v>
                </c:pt>
                <c:pt idx="58">
                  <c:v>#N/A</c:v>
                </c:pt>
                <c:pt idx="60">
                  <c:v>#N/A</c:v>
                </c:pt>
                <c:pt idx="61">
                  <c:v>#N/A</c:v>
                </c:pt>
                <c:pt idx="62">
                  <c:v>54200</c:v>
                </c:pt>
                <c:pt idx="63">
                  <c:v>#N/A</c:v>
                </c:pt>
                <c:pt idx="64">
                  <c:v>#N/A</c:v>
                </c:pt>
                <c:pt idx="65">
                  <c:v>#N/A</c:v>
                </c:pt>
                <c:pt idx="66">
                  <c:v>#N/A</c:v>
                </c:pt>
                <c:pt idx="67">
                  <c:v>#N/A</c:v>
                </c:pt>
                <c:pt idx="68">
                  <c:v>#N/A</c:v>
                </c:pt>
                <c:pt idx="69">
                  <c:v>54000</c:v>
                </c:pt>
                <c:pt idx="70">
                  <c:v>#N/A</c:v>
                </c:pt>
                <c:pt idx="71">
                  <c:v>#N/A</c:v>
                </c:pt>
                <c:pt idx="72">
                  <c:v>#N/A</c:v>
                </c:pt>
                <c:pt idx="73">
                  <c:v>#N/A</c:v>
                </c:pt>
                <c:pt idx="74">
                  <c:v>#N/A</c:v>
                </c:pt>
                <c:pt idx="75">
                  <c:v>#N/A</c:v>
                </c:pt>
                <c:pt idx="76">
                  <c:v>53500</c:v>
                </c:pt>
                <c:pt idx="77">
                  <c:v>#N/A</c:v>
                </c:pt>
                <c:pt idx="78">
                  <c:v>#N/A</c:v>
                </c:pt>
                <c:pt idx="79">
                  <c:v>#N/A</c:v>
                </c:pt>
                <c:pt idx="80">
                  <c:v>#N/A</c:v>
                </c:pt>
                <c:pt idx="81">
                  <c:v>#N/A</c:v>
                </c:pt>
                <c:pt idx="82">
                  <c:v>#N/A</c:v>
                </c:pt>
                <c:pt idx="83">
                  <c:v>53386.666669999999</c:v>
                </c:pt>
                <c:pt idx="84">
                  <c:v>#N/A</c:v>
                </c:pt>
                <c:pt idx="85">
                  <c:v>#N/A</c:v>
                </c:pt>
                <c:pt idx="86">
                  <c:v>#N/A</c:v>
                </c:pt>
                <c:pt idx="87">
                  <c:v>#N/A</c:v>
                </c:pt>
                <c:pt idx="88">
                  <c:v>#N/A</c:v>
                </c:pt>
                <c:pt idx="89">
                  <c:v>#N/A</c:v>
                </c:pt>
                <c:pt idx="90">
                  <c:v>53266.666669999999</c:v>
                </c:pt>
                <c:pt idx="91">
                  <c:v>#N/A</c:v>
                </c:pt>
                <c:pt idx="92">
                  <c:v>#N/A</c:v>
                </c:pt>
                <c:pt idx="93">
                  <c:v>#N/A</c:v>
                </c:pt>
                <c:pt idx="94">
                  <c:v>#N/A</c:v>
                </c:pt>
                <c:pt idx="95">
                  <c:v>#N/A</c:v>
                </c:pt>
                <c:pt idx="96">
                  <c:v>#N/A</c:v>
                </c:pt>
                <c:pt idx="97">
                  <c:v>52933.333330000001</c:v>
                </c:pt>
                <c:pt idx="98">
                  <c:v>#N/A</c:v>
                </c:pt>
                <c:pt idx="99">
                  <c:v>#N/A</c:v>
                </c:pt>
                <c:pt idx="100">
                  <c:v>#N/A</c:v>
                </c:pt>
                <c:pt idx="101">
                  <c:v>#N/A</c:v>
                </c:pt>
                <c:pt idx="102">
                  <c:v>#N/A</c:v>
                </c:pt>
                <c:pt idx="103">
                  <c:v>#N/A</c:v>
                </c:pt>
                <c:pt idx="104">
                  <c:v>52933.333330000001</c:v>
                </c:pt>
                <c:pt idx="105">
                  <c:v>#N/A</c:v>
                </c:pt>
                <c:pt idx="106">
                  <c:v>#N/A</c:v>
                </c:pt>
                <c:pt idx="107">
                  <c:v>#N/A</c:v>
                </c:pt>
                <c:pt idx="108">
                  <c:v>#N/A</c:v>
                </c:pt>
                <c:pt idx="109">
                  <c:v>#N/A</c:v>
                </c:pt>
                <c:pt idx="110">
                  <c:v>#N/A</c:v>
                </c:pt>
                <c:pt idx="111">
                  <c:v>52033.333330000001</c:v>
                </c:pt>
                <c:pt idx="112">
                  <c:v>#N/A</c:v>
                </c:pt>
                <c:pt idx="113">
                  <c:v>#N/A</c:v>
                </c:pt>
                <c:pt idx="114">
                  <c:v>#N/A</c:v>
                </c:pt>
                <c:pt idx="115">
                  <c:v>#N/A</c:v>
                </c:pt>
                <c:pt idx="116">
                  <c:v>#N/A</c:v>
                </c:pt>
                <c:pt idx="117">
                  <c:v>#N/A</c:v>
                </c:pt>
                <c:pt idx="118">
                  <c:v>51966.666669999999</c:v>
                </c:pt>
                <c:pt idx="119">
                  <c:v>#N/A</c:v>
                </c:pt>
                <c:pt idx="120">
                  <c:v>#N/A</c:v>
                </c:pt>
                <c:pt idx="121">
                  <c:v>#N/A</c:v>
                </c:pt>
                <c:pt idx="122">
                  <c:v>#N/A</c:v>
                </c:pt>
                <c:pt idx="123">
                  <c:v>#N/A</c:v>
                </c:pt>
                <c:pt idx="124">
                  <c:v>#N/A</c:v>
                </c:pt>
                <c:pt idx="125">
                  <c:v>51433.333330000001</c:v>
                </c:pt>
                <c:pt idx="126">
                  <c:v>#N/A</c:v>
                </c:pt>
                <c:pt idx="127">
                  <c:v>#N/A</c:v>
                </c:pt>
                <c:pt idx="128">
                  <c:v>#N/A</c:v>
                </c:pt>
                <c:pt idx="129">
                  <c:v>#N/A</c:v>
                </c:pt>
                <c:pt idx="130">
                  <c:v>#N/A</c:v>
                </c:pt>
                <c:pt idx="131">
                  <c:v>#N/A</c:v>
                </c:pt>
                <c:pt idx="132">
                  <c:v>51366.666669999999</c:v>
                </c:pt>
                <c:pt idx="133">
                  <c:v>#N/A</c:v>
                </c:pt>
                <c:pt idx="134">
                  <c:v>#N/A</c:v>
                </c:pt>
                <c:pt idx="135">
                  <c:v>#N/A</c:v>
                </c:pt>
                <c:pt idx="136">
                  <c:v>#N/A</c:v>
                </c:pt>
                <c:pt idx="137">
                  <c:v>#N/A</c:v>
                </c:pt>
                <c:pt idx="138">
                  <c:v>#N/A</c:v>
                </c:pt>
                <c:pt idx="139">
                  <c:v>51366.666669999999</c:v>
                </c:pt>
                <c:pt idx="140">
                  <c:v>#N/A</c:v>
                </c:pt>
                <c:pt idx="141">
                  <c:v>#N/A</c:v>
                </c:pt>
                <c:pt idx="142">
                  <c:v>#N/A</c:v>
                </c:pt>
                <c:pt idx="143">
                  <c:v>#N/A</c:v>
                </c:pt>
                <c:pt idx="144">
                  <c:v>#N/A</c:v>
                </c:pt>
                <c:pt idx="145">
                  <c:v>#N/A</c:v>
                </c:pt>
                <c:pt idx="146">
                  <c:v>51366.666669999999</c:v>
                </c:pt>
                <c:pt idx="147">
                  <c:v>#N/A</c:v>
                </c:pt>
                <c:pt idx="148">
                  <c:v>#N/A</c:v>
                </c:pt>
                <c:pt idx="149">
                  <c:v>#N/A</c:v>
                </c:pt>
                <c:pt idx="150">
                  <c:v>#N/A</c:v>
                </c:pt>
                <c:pt idx="151">
                  <c:v>#N/A</c:v>
                </c:pt>
                <c:pt idx="152">
                  <c:v>#N/A</c:v>
                </c:pt>
                <c:pt idx="153">
                  <c:v>50833.333330000001</c:v>
                </c:pt>
                <c:pt idx="154">
                  <c:v>#N/A</c:v>
                </c:pt>
                <c:pt idx="155">
                  <c:v>#N/A</c:v>
                </c:pt>
                <c:pt idx="156">
                  <c:v>#N/A</c:v>
                </c:pt>
                <c:pt idx="157">
                  <c:v>#N/A</c:v>
                </c:pt>
                <c:pt idx="158">
                  <c:v>#N/A</c:v>
                </c:pt>
                <c:pt idx="159">
                  <c:v>#N/A</c:v>
                </c:pt>
                <c:pt idx="160">
                  <c:v>50500</c:v>
                </c:pt>
                <c:pt idx="161">
                  <c:v>#N/A</c:v>
                </c:pt>
                <c:pt idx="162">
                  <c:v>#N/A</c:v>
                </c:pt>
                <c:pt idx="163">
                  <c:v>#N/A</c:v>
                </c:pt>
                <c:pt idx="164">
                  <c:v>#N/A</c:v>
                </c:pt>
                <c:pt idx="165">
                  <c:v>#N/A</c:v>
                </c:pt>
                <c:pt idx="166">
                  <c:v>#N/A</c:v>
                </c:pt>
                <c:pt idx="167">
                  <c:v>49062.5</c:v>
                </c:pt>
                <c:pt idx="168">
                  <c:v>#N/A</c:v>
                </c:pt>
                <c:pt idx="169">
                  <c:v>#N/A</c:v>
                </c:pt>
                <c:pt idx="170">
                  <c:v>#N/A</c:v>
                </c:pt>
                <c:pt idx="171">
                  <c:v>#N/A</c:v>
                </c:pt>
                <c:pt idx="172">
                  <c:v>#N/A</c:v>
                </c:pt>
                <c:pt idx="173">
                  <c:v>#N/A</c:v>
                </c:pt>
                <c:pt idx="174">
                  <c:v>49062.5</c:v>
                </c:pt>
                <c:pt idx="175">
                  <c:v>#N/A</c:v>
                </c:pt>
                <c:pt idx="176">
                  <c:v>#N/A</c:v>
                </c:pt>
                <c:pt idx="177">
                  <c:v>#N/A</c:v>
                </c:pt>
                <c:pt idx="178">
                  <c:v>#N/A</c:v>
                </c:pt>
                <c:pt idx="179">
                  <c:v>#N/A</c:v>
                </c:pt>
                <c:pt idx="180">
                  <c:v>#N/A</c:v>
                </c:pt>
                <c:pt idx="181">
                  <c:v>48168.75</c:v>
                </c:pt>
                <c:pt idx="182">
                  <c:v>#N/A</c:v>
                </c:pt>
                <c:pt idx="183">
                  <c:v>#N/A</c:v>
                </c:pt>
                <c:pt idx="184">
                  <c:v>#N/A</c:v>
                </c:pt>
                <c:pt idx="185">
                  <c:v>#N/A</c:v>
                </c:pt>
                <c:pt idx="186">
                  <c:v>#N/A</c:v>
                </c:pt>
                <c:pt idx="187">
                  <c:v>#N/A</c:v>
                </c:pt>
                <c:pt idx="188">
                  <c:v>48168.75</c:v>
                </c:pt>
                <c:pt idx="189">
                  <c:v>#N/A</c:v>
                </c:pt>
                <c:pt idx="190">
                  <c:v>#N/A</c:v>
                </c:pt>
                <c:pt idx="191">
                  <c:v>#N/A</c:v>
                </c:pt>
                <c:pt idx="192">
                  <c:v>#N/A</c:v>
                </c:pt>
                <c:pt idx="193">
                  <c:v>#N/A</c:v>
                </c:pt>
                <c:pt idx="194">
                  <c:v>#N/A</c:v>
                </c:pt>
                <c:pt idx="195">
                  <c:v>47606.25</c:v>
                </c:pt>
                <c:pt idx="196">
                  <c:v>#N/A</c:v>
                </c:pt>
                <c:pt idx="197">
                  <c:v>#N/A</c:v>
                </c:pt>
                <c:pt idx="198">
                  <c:v>#N/A</c:v>
                </c:pt>
                <c:pt idx="199">
                  <c:v>#N/A</c:v>
                </c:pt>
                <c:pt idx="200">
                  <c:v>#N/A</c:v>
                </c:pt>
                <c:pt idx="201">
                  <c:v>#N/A</c:v>
                </c:pt>
                <c:pt idx="202">
                  <c:v>47856.25</c:v>
                </c:pt>
                <c:pt idx="203">
                  <c:v>#N/A</c:v>
                </c:pt>
                <c:pt idx="204">
                  <c:v>#N/A</c:v>
                </c:pt>
                <c:pt idx="205">
                  <c:v>#N/A</c:v>
                </c:pt>
                <c:pt idx="206">
                  <c:v>#N/A</c:v>
                </c:pt>
                <c:pt idx="207">
                  <c:v>#N/A</c:v>
                </c:pt>
                <c:pt idx="208">
                  <c:v>#N/A</c:v>
                </c:pt>
                <c:pt idx="209">
                  <c:v>47793.75</c:v>
                </c:pt>
                <c:pt idx="210">
                  <c:v>#N/A</c:v>
                </c:pt>
                <c:pt idx="211">
                  <c:v>#N/A</c:v>
                </c:pt>
                <c:pt idx="212">
                  <c:v>#N/A</c:v>
                </c:pt>
                <c:pt idx="213">
                  <c:v>#N/A</c:v>
                </c:pt>
                <c:pt idx="214">
                  <c:v>#N/A</c:v>
                </c:pt>
                <c:pt idx="215">
                  <c:v>#N/A</c:v>
                </c:pt>
                <c:pt idx="216">
                  <c:v>47793.75</c:v>
                </c:pt>
                <c:pt idx="217">
                  <c:v>#N/A</c:v>
                </c:pt>
                <c:pt idx="218">
                  <c:v>#N/A</c:v>
                </c:pt>
                <c:pt idx="219">
                  <c:v>#N/A</c:v>
                </c:pt>
                <c:pt idx="220">
                  <c:v>#N/A</c:v>
                </c:pt>
                <c:pt idx="221">
                  <c:v>#N/A</c:v>
                </c:pt>
                <c:pt idx="222">
                  <c:v>#N/A</c:v>
                </c:pt>
                <c:pt idx="223">
                  <c:v>47918.75</c:v>
                </c:pt>
                <c:pt idx="224">
                  <c:v>#N/A</c:v>
                </c:pt>
                <c:pt idx="225">
                  <c:v>#N/A</c:v>
                </c:pt>
                <c:pt idx="226">
                  <c:v>#N/A</c:v>
                </c:pt>
                <c:pt idx="227">
                  <c:v>#N/A</c:v>
                </c:pt>
                <c:pt idx="228">
                  <c:v>#N/A</c:v>
                </c:pt>
                <c:pt idx="229">
                  <c:v>#N/A</c:v>
                </c:pt>
                <c:pt idx="230">
                  <c:v>48000</c:v>
                </c:pt>
                <c:pt idx="231">
                  <c:v>#N/A</c:v>
                </c:pt>
                <c:pt idx="232">
                  <c:v>#N/A</c:v>
                </c:pt>
                <c:pt idx="233">
                  <c:v>#N/A</c:v>
                </c:pt>
                <c:pt idx="234">
                  <c:v>#N/A</c:v>
                </c:pt>
                <c:pt idx="235">
                  <c:v>#N/A</c:v>
                </c:pt>
                <c:pt idx="236">
                  <c:v>#N/A</c:v>
                </c:pt>
                <c:pt idx="237">
                  <c:v>48118.75</c:v>
                </c:pt>
                <c:pt idx="238">
                  <c:v>#N/A</c:v>
                </c:pt>
                <c:pt idx="239">
                  <c:v>#N/A</c:v>
                </c:pt>
                <c:pt idx="240">
                  <c:v>#N/A</c:v>
                </c:pt>
                <c:pt idx="241">
                  <c:v>#N/A</c:v>
                </c:pt>
                <c:pt idx="242">
                  <c:v>#N/A</c:v>
                </c:pt>
                <c:pt idx="243">
                  <c:v>#N/A</c:v>
                </c:pt>
                <c:pt idx="244">
                  <c:v>48512.5</c:v>
                </c:pt>
                <c:pt idx="245">
                  <c:v>#N/A</c:v>
                </c:pt>
                <c:pt idx="246">
                  <c:v>#N/A</c:v>
                </c:pt>
                <c:pt idx="247">
                  <c:v>#N/A</c:v>
                </c:pt>
                <c:pt idx="248">
                  <c:v>#N/A</c:v>
                </c:pt>
                <c:pt idx="249">
                  <c:v>#N/A</c:v>
                </c:pt>
                <c:pt idx="250">
                  <c:v>#N/A</c:v>
                </c:pt>
                <c:pt idx="251">
                  <c:v>48531.25</c:v>
                </c:pt>
                <c:pt idx="252">
                  <c:v>#N/A</c:v>
                </c:pt>
                <c:pt idx="253">
                  <c:v>#N/A</c:v>
                </c:pt>
                <c:pt idx="254">
                  <c:v>#N/A</c:v>
                </c:pt>
                <c:pt idx="255">
                  <c:v>#N/A</c:v>
                </c:pt>
                <c:pt idx="256">
                  <c:v>#N/A</c:v>
                </c:pt>
                <c:pt idx="257">
                  <c:v>#N/A</c:v>
                </c:pt>
                <c:pt idx="258">
                  <c:v>48825</c:v>
                </c:pt>
                <c:pt idx="259">
                  <c:v>#N/A</c:v>
                </c:pt>
                <c:pt idx="260">
                  <c:v>#N/A</c:v>
                </c:pt>
                <c:pt idx="261">
                  <c:v>#N/A</c:v>
                </c:pt>
                <c:pt idx="262">
                  <c:v>#N/A</c:v>
                </c:pt>
                <c:pt idx="263">
                  <c:v>#N/A</c:v>
                </c:pt>
                <c:pt idx="264">
                  <c:v>#N/A</c:v>
                </c:pt>
                <c:pt idx="265">
                  <c:v>49225</c:v>
                </c:pt>
                <c:pt idx="266">
                  <c:v>#N/A</c:v>
                </c:pt>
                <c:pt idx="267">
                  <c:v>#N/A</c:v>
                </c:pt>
                <c:pt idx="268">
                  <c:v>#N/A</c:v>
                </c:pt>
                <c:pt idx="269">
                  <c:v>#N/A</c:v>
                </c:pt>
                <c:pt idx="270">
                  <c:v>#N/A</c:v>
                </c:pt>
                <c:pt idx="271">
                  <c:v>#N/A</c:v>
                </c:pt>
                <c:pt idx="272">
                  <c:v>49225</c:v>
                </c:pt>
                <c:pt idx="273">
                  <c:v>#N/A</c:v>
                </c:pt>
                <c:pt idx="274">
                  <c:v>#N/A</c:v>
                </c:pt>
                <c:pt idx="275">
                  <c:v>#N/A</c:v>
                </c:pt>
                <c:pt idx="276">
                  <c:v>#N/A</c:v>
                </c:pt>
                <c:pt idx="277">
                  <c:v>#N/A</c:v>
                </c:pt>
                <c:pt idx="278">
                  <c:v>#N/A</c:v>
                </c:pt>
                <c:pt idx="279">
                  <c:v>49225</c:v>
                </c:pt>
                <c:pt idx="280">
                  <c:v>#N/A</c:v>
                </c:pt>
                <c:pt idx="281">
                  <c:v>#N/A</c:v>
                </c:pt>
                <c:pt idx="282">
                  <c:v>#N/A</c:v>
                </c:pt>
                <c:pt idx="283">
                  <c:v>#N/A</c:v>
                </c:pt>
                <c:pt idx="284">
                  <c:v>#N/A</c:v>
                </c:pt>
                <c:pt idx="285">
                  <c:v>#N/A</c:v>
                </c:pt>
                <c:pt idx="286">
                  <c:v>49235.294119999999</c:v>
                </c:pt>
                <c:pt idx="287">
                  <c:v>#N/A</c:v>
                </c:pt>
                <c:pt idx="288">
                  <c:v>#N/A</c:v>
                </c:pt>
                <c:pt idx="289">
                  <c:v>#N/A</c:v>
                </c:pt>
                <c:pt idx="290">
                  <c:v>#N/A</c:v>
                </c:pt>
                <c:pt idx="291">
                  <c:v>#N/A</c:v>
                </c:pt>
                <c:pt idx="292">
                  <c:v>#N/A</c:v>
                </c:pt>
                <c:pt idx="293">
                  <c:v>49135.294119999999</c:v>
                </c:pt>
                <c:pt idx="294">
                  <c:v>#N/A</c:v>
                </c:pt>
                <c:pt idx="295">
                  <c:v>#N/A</c:v>
                </c:pt>
                <c:pt idx="296">
                  <c:v>#N/A</c:v>
                </c:pt>
                <c:pt idx="297">
                  <c:v>#N/A</c:v>
                </c:pt>
                <c:pt idx="298">
                  <c:v>#N/A</c:v>
                </c:pt>
                <c:pt idx="299">
                  <c:v>#N/A</c:v>
                </c:pt>
                <c:pt idx="300">
                  <c:v>49135.294119999999</c:v>
                </c:pt>
                <c:pt idx="301">
                  <c:v>#N/A</c:v>
                </c:pt>
                <c:pt idx="302">
                  <c:v>#N/A</c:v>
                </c:pt>
                <c:pt idx="303">
                  <c:v>#N/A</c:v>
                </c:pt>
                <c:pt idx="304">
                  <c:v>#N/A</c:v>
                </c:pt>
                <c:pt idx="305">
                  <c:v>#N/A</c:v>
                </c:pt>
                <c:pt idx="306">
                  <c:v>#N/A</c:v>
                </c:pt>
                <c:pt idx="307">
                  <c:v>49035.294119999999</c:v>
                </c:pt>
                <c:pt idx="308">
                  <c:v>#N/A</c:v>
                </c:pt>
                <c:pt idx="309">
                  <c:v>#N/A</c:v>
                </c:pt>
                <c:pt idx="310">
                  <c:v>#N/A</c:v>
                </c:pt>
                <c:pt idx="311">
                  <c:v>#N/A</c:v>
                </c:pt>
                <c:pt idx="312">
                  <c:v>#N/A</c:v>
                </c:pt>
                <c:pt idx="313">
                  <c:v>#N/A</c:v>
                </c:pt>
                <c:pt idx="314">
                  <c:v>49035.294119999999</c:v>
                </c:pt>
                <c:pt idx="315">
                  <c:v>#N/A</c:v>
                </c:pt>
                <c:pt idx="316">
                  <c:v>#N/A</c:v>
                </c:pt>
                <c:pt idx="317">
                  <c:v>#N/A</c:v>
                </c:pt>
                <c:pt idx="318">
                  <c:v>#N/A</c:v>
                </c:pt>
                <c:pt idx="319">
                  <c:v>#N/A</c:v>
                </c:pt>
                <c:pt idx="320">
                  <c:v>#N/A</c:v>
                </c:pt>
                <c:pt idx="321">
                  <c:v>49035.294119999999</c:v>
                </c:pt>
                <c:pt idx="322">
                  <c:v>#N/A</c:v>
                </c:pt>
                <c:pt idx="323">
                  <c:v>#N/A</c:v>
                </c:pt>
                <c:pt idx="324">
                  <c:v>#N/A</c:v>
                </c:pt>
                <c:pt idx="325">
                  <c:v>#N/A</c:v>
                </c:pt>
                <c:pt idx="326">
                  <c:v>#N/A</c:v>
                </c:pt>
                <c:pt idx="327">
                  <c:v>#N/A</c:v>
                </c:pt>
                <c:pt idx="328">
                  <c:v>48983.333330000001</c:v>
                </c:pt>
                <c:pt idx="329">
                  <c:v>#N/A</c:v>
                </c:pt>
                <c:pt idx="330">
                  <c:v>#N/A</c:v>
                </c:pt>
                <c:pt idx="331">
                  <c:v>#N/A</c:v>
                </c:pt>
                <c:pt idx="332">
                  <c:v>#N/A</c:v>
                </c:pt>
                <c:pt idx="333">
                  <c:v>#N/A</c:v>
                </c:pt>
                <c:pt idx="334">
                  <c:v>#N/A</c:v>
                </c:pt>
                <c:pt idx="335">
                  <c:v>48983.333330000001</c:v>
                </c:pt>
                <c:pt idx="336">
                  <c:v>#N/A</c:v>
                </c:pt>
                <c:pt idx="337">
                  <c:v>#N/A</c:v>
                </c:pt>
                <c:pt idx="338">
                  <c:v>#N/A</c:v>
                </c:pt>
                <c:pt idx="339">
                  <c:v>#N/A</c:v>
                </c:pt>
                <c:pt idx="340">
                  <c:v>#N/A</c:v>
                </c:pt>
                <c:pt idx="341">
                  <c:v>#N/A</c:v>
                </c:pt>
                <c:pt idx="342">
                  <c:v>52987.5</c:v>
                </c:pt>
                <c:pt idx="343">
                  <c:v>#N/A</c:v>
                </c:pt>
                <c:pt idx="344">
                  <c:v>#N/A</c:v>
                </c:pt>
                <c:pt idx="345">
                  <c:v>#N/A</c:v>
                </c:pt>
                <c:pt idx="346">
                  <c:v>#N/A</c:v>
                </c:pt>
                <c:pt idx="347">
                  <c:v>#N/A</c:v>
                </c:pt>
                <c:pt idx="348">
                  <c:v>#N/A</c:v>
                </c:pt>
                <c:pt idx="349">
                  <c:v>52987.5</c:v>
                </c:pt>
                <c:pt idx="350">
                  <c:v>#N/A</c:v>
                </c:pt>
                <c:pt idx="351">
                  <c:v>#N/A</c:v>
                </c:pt>
                <c:pt idx="352">
                  <c:v>#N/A</c:v>
                </c:pt>
                <c:pt idx="353">
                  <c:v>#N/A</c:v>
                </c:pt>
                <c:pt idx="354">
                  <c:v>#N/A</c:v>
                </c:pt>
                <c:pt idx="355">
                  <c:v>#N/A</c:v>
                </c:pt>
                <c:pt idx="356">
                  <c:v>52987.5</c:v>
                </c:pt>
                <c:pt idx="357">
                  <c:v>#N/A</c:v>
                </c:pt>
                <c:pt idx="358">
                  <c:v>#N/A</c:v>
                </c:pt>
                <c:pt idx="359">
                  <c:v>#N/A</c:v>
                </c:pt>
                <c:pt idx="360">
                  <c:v>#N/A</c:v>
                </c:pt>
                <c:pt idx="361">
                  <c:v>#N/A</c:v>
                </c:pt>
                <c:pt idx="362">
                  <c:v>#N/A</c:v>
                </c:pt>
                <c:pt idx="363">
                  <c:v>53362.5</c:v>
                </c:pt>
                <c:pt idx="364">
                  <c:v>#N/A</c:v>
                </c:pt>
                <c:pt idx="365">
                  <c:v>#N/A</c:v>
                </c:pt>
              </c:numCache>
            </c:numRef>
          </c:val>
          <c:smooth val="0"/>
          <c:extLst>
            <c:ext xmlns:c16="http://schemas.microsoft.com/office/drawing/2014/chart" uri="{C3380CC4-5D6E-409C-BE32-E72D297353CC}">
              <c16:uniqueId val="{00000002-8C8B-4564-AA76-FEB5043747E7}"/>
            </c:ext>
          </c:extLst>
        </c:ser>
        <c:ser>
          <c:idx val="3"/>
          <c:order val="3"/>
          <c:tx>
            <c:strRef>
              <c:f>多晶硅成本利润!$L$4</c:f>
              <c:strCache>
                <c:ptCount val="1"/>
                <c:pt idx="0">
                  <c:v>2024</c:v>
                </c:pt>
              </c:strCache>
            </c:strRef>
          </c:tx>
          <c:spPr>
            <a:ln w="28575" cap="rnd">
              <a:solidFill>
                <a:schemeClr val="tx1"/>
              </a:solidFill>
              <a:round/>
            </a:ln>
            <a:effectLst/>
          </c:spPr>
          <c:marker>
            <c:symbol val="none"/>
          </c:marker>
          <c:cat>
            <c:strRef>
              <c:f>多晶硅成本利润!$H$5:$H$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成本利润!$L$5:$L$370</c:f>
              <c:numCache>
                <c:formatCode>General</c:formatCode>
                <c:ptCount val="366"/>
                <c:pt idx="0">
                  <c:v>53172</c:v>
                </c:pt>
                <c:pt idx="1">
                  <c:v>53172</c:v>
                </c:pt>
                <c:pt idx="2">
                  <c:v>53172</c:v>
                </c:pt>
                <c:pt idx="3">
                  <c:v>53172</c:v>
                </c:pt>
                <c:pt idx="4">
                  <c:v>53172</c:v>
                </c:pt>
                <c:pt idx="5">
                  <c:v>53172</c:v>
                </c:pt>
                <c:pt idx="6">
                  <c:v>53172</c:v>
                </c:pt>
                <c:pt idx="7">
                  <c:v>53172</c:v>
                </c:pt>
                <c:pt idx="8">
                  <c:v>53172</c:v>
                </c:pt>
                <c:pt idx="9">
                  <c:v>53172</c:v>
                </c:pt>
                <c:pt idx="10">
                  <c:v>53172</c:v>
                </c:pt>
                <c:pt idx="11">
                  <c:v>53172</c:v>
                </c:pt>
                <c:pt idx="12">
                  <c:v>53244</c:v>
                </c:pt>
                <c:pt idx="13">
                  <c:v>53244</c:v>
                </c:pt>
                <c:pt idx="14">
                  <c:v>53244</c:v>
                </c:pt>
                <c:pt idx="15">
                  <c:v>53244</c:v>
                </c:pt>
                <c:pt idx="16">
                  <c:v>53244</c:v>
                </c:pt>
                <c:pt idx="17">
                  <c:v>53244</c:v>
                </c:pt>
                <c:pt idx="18">
                  <c:v>53244</c:v>
                </c:pt>
                <c:pt idx="19">
                  <c:v>52844</c:v>
                </c:pt>
                <c:pt idx="20">
                  <c:v>52844</c:v>
                </c:pt>
                <c:pt idx="21">
                  <c:v>52844</c:v>
                </c:pt>
                <c:pt idx="22">
                  <c:v>52844</c:v>
                </c:pt>
                <c:pt idx="23">
                  <c:v>52844</c:v>
                </c:pt>
                <c:pt idx="24">
                  <c:v>52844</c:v>
                </c:pt>
                <c:pt idx="25">
                  <c:v>52844</c:v>
                </c:pt>
                <c:pt idx="26">
                  <c:v>52844</c:v>
                </c:pt>
                <c:pt idx="27">
                  <c:v>52844</c:v>
                </c:pt>
                <c:pt idx="28">
                  <c:v>52844</c:v>
                </c:pt>
                <c:pt idx="29">
                  <c:v>52844</c:v>
                </c:pt>
                <c:pt idx="30">
                  <c:v>52844</c:v>
                </c:pt>
                <c:pt idx="31">
                  <c:v>52844</c:v>
                </c:pt>
                <c:pt idx="32">
                  <c:v>52844</c:v>
                </c:pt>
                <c:pt idx="33">
                  <c:v>52844</c:v>
                </c:pt>
                <c:pt idx="34">
                  <c:v>52844</c:v>
                </c:pt>
                <c:pt idx="35">
                  <c:v>52844</c:v>
                </c:pt>
                <c:pt idx="36">
                  <c:v>52844</c:v>
                </c:pt>
                <c:pt idx="37">
                  <c:v>52844</c:v>
                </c:pt>
                <c:pt idx="38">
                  <c:v>52844</c:v>
                </c:pt>
                <c:pt idx="39">
                  <c:v>52844</c:v>
                </c:pt>
                <c:pt idx="40">
                  <c:v>52844</c:v>
                </c:pt>
                <c:pt idx="41">
                  <c:v>52844</c:v>
                </c:pt>
                <c:pt idx="42">
                  <c:v>52844</c:v>
                </c:pt>
                <c:pt idx="43">
                  <c:v>52844</c:v>
                </c:pt>
                <c:pt idx="44">
                  <c:v>52844</c:v>
                </c:pt>
                <c:pt idx="45">
                  <c:v>52844</c:v>
                </c:pt>
                <c:pt idx="46">
                  <c:v>52844</c:v>
                </c:pt>
                <c:pt idx="47">
                  <c:v>52844</c:v>
                </c:pt>
                <c:pt idx="48">
                  <c:v>52844</c:v>
                </c:pt>
                <c:pt idx="49">
                  <c:v>52844</c:v>
                </c:pt>
                <c:pt idx="50">
                  <c:v>52844</c:v>
                </c:pt>
                <c:pt idx="51">
                  <c:v>52844</c:v>
                </c:pt>
                <c:pt idx="52">
                  <c:v>52844</c:v>
                </c:pt>
                <c:pt idx="53">
                  <c:v>52844</c:v>
                </c:pt>
                <c:pt idx="54">
                  <c:v>52644</c:v>
                </c:pt>
                <c:pt idx="55">
                  <c:v>52644</c:v>
                </c:pt>
                <c:pt idx="56">
                  <c:v>52644</c:v>
                </c:pt>
                <c:pt idx="57">
                  <c:v>52644</c:v>
                </c:pt>
                <c:pt idx="58">
                  <c:v>52644</c:v>
                </c:pt>
                <c:pt idx="59">
                  <c:v>52644</c:v>
                </c:pt>
                <c:pt idx="60">
                  <c:v>52644</c:v>
                </c:pt>
                <c:pt idx="61">
                  <c:v>52644</c:v>
                </c:pt>
                <c:pt idx="62">
                  <c:v>52644</c:v>
                </c:pt>
                <c:pt idx="63">
                  <c:v>52644</c:v>
                </c:pt>
                <c:pt idx="64">
                  <c:v>52644</c:v>
                </c:pt>
                <c:pt idx="65">
                  <c:v>52644</c:v>
                </c:pt>
                <c:pt idx="66">
                  <c:v>52644</c:v>
                </c:pt>
                <c:pt idx="67">
                  <c:v>52644</c:v>
                </c:pt>
                <c:pt idx="68">
                  <c:v>52644</c:v>
                </c:pt>
                <c:pt idx="69">
                  <c:v>52644</c:v>
                </c:pt>
                <c:pt idx="70">
                  <c:v>52644</c:v>
                </c:pt>
                <c:pt idx="71">
                  <c:v>52644</c:v>
                </c:pt>
                <c:pt idx="72">
                  <c:v>52644</c:v>
                </c:pt>
                <c:pt idx="73">
                  <c:v>52644</c:v>
                </c:pt>
                <c:pt idx="74">
                  <c:v>52644</c:v>
                </c:pt>
                <c:pt idx="75">
                  <c:v>51848</c:v>
                </c:pt>
                <c:pt idx="76">
                  <c:v>51848</c:v>
                </c:pt>
                <c:pt idx="77">
                  <c:v>51848</c:v>
                </c:pt>
                <c:pt idx="78">
                  <c:v>51848</c:v>
                </c:pt>
                <c:pt idx="79">
                  <c:v>51848</c:v>
                </c:pt>
                <c:pt idx="80">
                  <c:v>51848</c:v>
                </c:pt>
                <c:pt idx="81">
                  <c:v>51848</c:v>
                </c:pt>
                <c:pt idx="82">
                  <c:v>51848</c:v>
                </c:pt>
                <c:pt idx="83">
                  <c:v>51848</c:v>
                </c:pt>
                <c:pt idx="84">
                  <c:v>51848</c:v>
                </c:pt>
                <c:pt idx="85">
                  <c:v>51848</c:v>
                </c:pt>
                <c:pt idx="86">
                  <c:v>51848</c:v>
                </c:pt>
                <c:pt idx="87">
                  <c:v>51848</c:v>
                </c:pt>
                <c:pt idx="88">
                  <c:v>51848</c:v>
                </c:pt>
                <c:pt idx="89">
                  <c:v>51448</c:v>
                </c:pt>
                <c:pt idx="90">
                  <c:v>51448</c:v>
                </c:pt>
                <c:pt idx="91">
                  <c:v>51448</c:v>
                </c:pt>
                <c:pt idx="92">
                  <c:v>51448</c:v>
                </c:pt>
                <c:pt idx="93">
                  <c:v>51448</c:v>
                </c:pt>
                <c:pt idx="94">
                  <c:v>51448</c:v>
                </c:pt>
                <c:pt idx="95">
                  <c:v>51448</c:v>
                </c:pt>
                <c:pt idx="96">
                  <c:v>51448</c:v>
                </c:pt>
                <c:pt idx="97">
                  <c:v>51448</c:v>
                </c:pt>
                <c:pt idx="98">
                  <c:v>51448</c:v>
                </c:pt>
                <c:pt idx="99">
                  <c:v>51448</c:v>
                </c:pt>
                <c:pt idx="100">
                  <c:v>51448</c:v>
                </c:pt>
                <c:pt idx="101">
                  <c:v>51448</c:v>
                </c:pt>
                <c:pt idx="102">
                  <c:v>51448</c:v>
                </c:pt>
                <c:pt idx="103">
                  <c:v>47996</c:v>
                </c:pt>
                <c:pt idx="104">
                  <c:v>47996</c:v>
                </c:pt>
                <c:pt idx="105">
                  <c:v>47996</c:v>
                </c:pt>
                <c:pt idx="106">
                  <c:v>47996</c:v>
                </c:pt>
                <c:pt idx="107">
                  <c:v>47996</c:v>
                </c:pt>
                <c:pt idx="108">
                  <c:v>47996</c:v>
                </c:pt>
                <c:pt idx="109">
                  <c:v>47996</c:v>
                </c:pt>
                <c:pt idx="110">
                  <c:v>47692</c:v>
                </c:pt>
                <c:pt idx="111">
                  <c:v>47692</c:v>
                </c:pt>
                <c:pt idx="112">
                  <c:v>47692</c:v>
                </c:pt>
                <c:pt idx="113">
                  <c:v>47692</c:v>
                </c:pt>
                <c:pt idx="114">
                  <c:v>47692</c:v>
                </c:pt>
                <c:pt idx="115">
                  <c:v>47692</c:v>
                </c:pt>
                <c:pt idx="116">
                  <c:v>47692</c:v>
                </c:pt>
                <c:pt idx="117">
                  <c:v>47492</c:v>
                </c:pt>
                <c:pt idx="118">
                  <c:v>47492</c:v>
                </c:pt>
                <c:pt idx="119">
                  <c:v>47492</c:v>
                </c:pt>
                <c:pt idx="120">
                  <c:v>47492</c:v>
                </c:pt>
                <c:pt idx="121">
                  <c:v>47492</c:v>
                </c:pt>
                <c:pt idx="122">
                  <c:v>47492</c:v>
                </c:pt>
                <c:pt idx="123">
                  <c:v>47492</c:v>
                </c:pt>
                <c:pt idx="124">
                  <c:v>47232</c:v>
                </c:pt>
                <c:pt idx="125">
                  <c:v>47232</c:v>
                </c:pt>
                <c:pt idx="126">
                  <c:v>47232</c:v>
                </c:pt>
                <c:pt idx="127">
                  <c:v>47232</c:v>
                </c:pt>
                <c:pt idx="128">
                  <c:v>47232</c:v>
                </c:pt>
                <c:pt idx="129">
                  <c:v>47232</c:v>
                </c:pt>
                <c:pt idx="130">
                  <c:v>47232</c:v>
                </c:pt>
                <c:pt idx="131">
                  <c:v>47232</c:v>
                </c:pt>
                <c:pt idx="132">
                  <c:v>47232</c:v>
                </c:pt>
                <c:pt idx="133">
                  <c:v>47232</c:v>
                </c:pt>
                <c:pt idx="134">
                  <c:v>47232</c:v>
                </c:pt>
                <c:pt idx="135">
                  <c:v>47232</c:v>
                </c:pt>
                <c:pt idx="136">
                  <c:v>47232</c:v>
                </c:pt>
                <c:pt idx="137">
                  <c:v>47232</c:v>
                </c:pt>
                <c:pt idx="138">
                  <c:v>47232</c:v>
                </c:pt>
                <c:pt idx="139">
                  <c:v>47232</c:v>
                </c:pt>
                <c:pt idx="140">
                  <c:v>47232</c:v>
                </c:pt>
                <c:pt idx="141">
                  <c:v>47232</c:v>
                </c:pt>
                <c:pt idx="142">
                  <c:v>47232</c:v>
                </c:pt>
                <c:pt idx="143">
                  <c:v>47232</c:v>
                </c:pt>
                <c:pt idx="144">
                  <c:v>47232</c:v>
                </c:pt>
                <c:pt idx="145">
                  <c:v>47232</c:v>
                </c:pt>
                <c:pt idx="146">
                  <c:v>47232</c:v>
                </c:pt>
                <c:pt idx="147">
                  <c:v>47232</c:v>
                </c:pt>
                <c:pt idx="148">
                  <c:v>47232</c:v>
                </c:pt>
                <c:pt idx="149">
                  <c:v>47232</c:v>
                </c:pt>
                <c:pt idx="150">
                  <c:v>47232</c:v>
                </c:pt>
                <c:pt idx="151">
                  <c:v>47232</c:v>
                </c:pt>
                <c:pt idx="152">
                  <c:v>45025</c:v>
                </c:pt>
                <c:pt idx="153">
                  <c:v>45025</c:v>
                </c:pt>
                <c:pt idx="154">
                  <c:v>45025</c:v>
                </c:pt>
                <c:pt idx="155">
                  <c:v>45025</c:v>
                </c:pt>
                <c:pt idx="156">
                  <c:v>45025</c:v>
                </c:pt>
                <c:pt idx="157">
                  <c:v>45025</c:v>
                </c:pt>
                <c:pt idx="158">
                  <c:v>45025</c:v>
                </c:pt>
                <c:pt idx="159">
                  <c:v>45025</c:v>
                </c:pt>
                <c:pt idx="160">
                  <c:v>45025</c:v>
                </c:pt>
                <c:pt idx="161">
                  <c:v>45025</c:v>
                </c:pt>
                <c:pt idx="162">
                  <c:v>45025</c:v>
                </c:pt>
                <c:pt idx="163">
                  <c:v>45025</c:v>
                </c:pt>
                <c:pt idx="164">
                  <c:v>45025</c:v>
                </c:pt>
                <c:pt idx="165">
                  <c:v>45025</c:v>
                </c:pt>
                <c:pt idx="166">
                  <c:v>44904.166669999999</c:v>
                </c:pt>
                <c:pt idx="167">
                  <c:v>44904.166669999999</c:v>
                </c:pt>
                <c:pt idx="168">
                  <c:v>44904.166669999999</c:v>
                </c:pt>
                <c:pt idx="169">
                  <c:v>44904.166669999999</c:v>
                </c:pt>
                <c:pt idx="170">
                  <c:v>44904.166669999999</c:v>
                </c:pt>
                <c:pt idx="171">
                  <c:v>44904.166669999999</c:v>
                </c:pt>
                <c:pt idx="172">
                  <c:v>44904.166669999999</c:v>
                </c:pt>
                <c:pt idx="173">
                  <c:v>44704.166669999999</c:v>
                </c:pt>
                <c:pt idx="174">
                  <c:v>44704.166669999999</c:v>
                </c:pt>
                <c:pt idx="175">
                  <c:v>44704.166669999999</c:v>
                </c:pt>
                <c:pt idx="176">
                  <c:v>44704.166669999999</c:v>
                </c:pt>
                <c:pt idx="177">
                  <c:v>44704.166669999999</c:v>
                </c:pt>
                <c:pt idx="178">
                  <c:v>44704.166669999999</c:v>
                </c:pt>
                <c:pt idx="179">
                  <c:v>44704.166669999999</c:v>
                </c:pt>
                <c:pt idx="180">
                  <c:v>44504.166669999999</c:v>
                </c:pt>
                <c:pt idx="181">
                  <c:v>44504.166669999999</c:v>
                </c:pt>
                <c:pt idx="182">
                  <c:v>44504.166669999999</c:v>
                </c:pt>
                <c:pt idx="183">
                  <c:v>44504.166669999999</c:v>
                </c:pt>
                <c:pt idx="184">
                  <c:v>44504.166669999999</c:v>
                </c:pt>
                <c:pt idx="185">
                  <c:v>44504.166669999999</c:v>
                </c:pt>
                <c:pt idx="186">
                  <c:v>44504.166669999999</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3-8C8B-4564-AA76-FEB5043747E7}"/>
            </c:ext>
          </c:extLst>
        </c:ser>
        <c:dLbls>
          <c:showLegendKey val="0"/>
          <c:showVal val="0"/>
          <c:showCatName val="0"/>
          <c:showSerName val="0"/>
          <c:showPercent val="0"/>
          <c:showBubbleSize val="0"/>
        </c:dLbls>
        <c:smooth val="0"/>
        <c:axId val="1945663535"/>
        <c:axId val="606436959"/>
      </c:lineChart>
      <c:catAx>
        <c:axId val="19456635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ea"/>
                <a:sym typeface="+mn-lt"/>
              </a:defRPr>
            </a:pPr>
            <a:endParaRPr lang="zh-CN"/>
          </a:p>
        </c:txPr>
        <c:crossAx val="606436959"/>
        <c:crosses val="autoZero"/>
        <c:auto val="1"/>
        <c:lblAlgn val="ctr"/>
        <c:lblOffset val="100"/>
        <c:noMultiLvlLbl val="0"/>
      </c:catAx>
      <c:valAx>
        <c:axId val="606436959"/>
        <c:scaling>
          <c:orientation val="minMax"/>
          <c:min val="40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ea"/>
                <a:sym typeface="+mn-lt"/>
              </a:defRPr>
            </a:pPr>
            <a:endParaRPr lang="zh-CN"/>
          </a:p>
        </c:txPr>
        <c:crossAx val="19456635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mn-lt"/>
          <a:ea typeface="+mn-ea"/>
          <a:cs typeface="+mn-ea"/>
          <a:sym typeface="+mn-lt"/>
        </a:defRPr>
      </a:pPr>
      <a:endParaRPr lang="zh-CN"/>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多晶硅成本利润!$R$3</c:f>
          <c:strCache>
            <c:ptCount val="1"/>
            <c:pt idx="0">
              <c:v>多晶硅利润</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ea"/>
              <a:sym typeface="+mn-lt"/>
            </a:defRPr>
          </a:pPr>
          <a:endParaRPr lang="zh-CN"/>
        </a:p>
      </c:txPr>
    </c:title>
    <c:autoTitleDeleted val="0"/>
    <c:plotArea>
      <c:layout/>
      <c:lineChart>
        <c:grouping val="standard"/>
        <c:varyColors val="0"/>
        <c:ser>
          <c:idx val="0"/>
          <c:order val="0"/>
          <c:tx>
            <c:strRef>
              <c:f>多晶硅成本利润!$S$4</c:f>
              <c:strCache>
                <c:ptCount val="1"/>
                <c:pt idx="0">
                  <c:v>2021</c:v>
                </c:pt>
              </c:strCache>
            </c:strRef>
          </c:tx>
          <c:spPr>
            <a:ln w="19050" cap="rnd">
              <a:solidFill>
                <a:srgbClr val="B57222">
                  <a:alpha val="60000"/>
                </a:srgbClr>
              </a:solidFill>
              <a:round/>
            </a:ln>
            <a:effectLst/>
          </c:spPr>
          <c:marker>
            <c:symbol val="none"/>
          </c:marker>
          <c:cat>
            <c:strRef>
              <c:f>多晶硅成本利润!$R$5:$R$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成本利润!$S$5:$S$370</c:f>
              <c:numCache>
                <c:formatCode>General</c:formatCode>
                <c:ptCount val="366"/>
                <c:pt idx="0">
                  <c:v>31631.05</c:v>
                </c:pt>
                <c:pt idx="1">
                  <c:v>#N/A</c:v>
                </c:pt>
                <c:pt idx="2">
                  <c:v>#N/A</c:v>
                </c:pt>
                <c:pt idx="3">
                  <c:v>#N/A</c:v>
                </c:pt>
                <c:pt idx="4">
                  <c:v>#N/A</c:v>
                </c:pt>
                <c:pt idx="5">
                  <c:v>#N/A</c:v>
                </c:pt>
                <c:pt idx="6">
                  <c:v>#N/A</c:v>
                </c:pt>
                <c:pt idx="7">
                  <c:v>29882.6</c:v>
                </c:pt>
                <c:pt idx="8">
                  <c:v>#N/A</c:v>
                </c:pt>
                <c:pt idx="9">
                  <c:v>#N/A</c:v>
                </c:pt>
                <c:pt idx="10">
                  <c:v>#N/A</c:v>
                </c:pt>
                <c:pt idx="11">
                  <c:v>#N/A</c:v>
                </c:pt>
                <c:pt idx="12">
                  <c:v>#N/A</c:v>
                </c:pt>
                <c:pt idx="13">
                  <c:v>#N/A</c:v>
                </c:pt>
                <c:pt idx="14">
                  <c:v>31070.05</c:v>
                </c:pt>
                <c:pt idx="15">
                  <c:v>#N/A</c:v>
                </c:pt>
                <c:pt idx="16">
                  <c:v>#N/A</c:v>
                </c:pt>
                <c:pt idx="17">
                  <c:v>#N/A</c:v>
                </c:pt>
                <c:pt idx="18">
                  <c:v>#N/A</c:v>
                </c:pt>
                <c:pt idx="19">
                  <c:v>#N/A</c:v>
                </c:pt>
                <c:pt idx="20">
                  <c:v>#N/A</c:v>
                </c:pt>
                <c:pt idx="21">
                  <c:v>32650.2</c:v>
                </c:pt>
                <c:pt idx="22">
                  <c:v>#N/A</c:v>
                </c:pt>
                <c:pt idx="23">
                  <c:v>#N/A</c:v>
                </c:pt>
                <c:pt idx="24">
                  <c:v>#N/A</c:v>
                </c:pt>
                <c:pt idx="25">
                  <c:v>#N/A</c:v>
                </c:pt>
                <c:pt idx="26">
                  <c:v>#N/A</c:v>
                </c:pt>
                <c:pt idx="27">
                  <c:v>#N/A</c:v>
                </c:pt>
                <c:pt idx="28">
                  <c:v>34239.699999999997</c:v>
                </c:pt>
                <c:pt idx="29">
                  <c:v>#N/A</c:v>
                </c:pt>
                <c:pt idx="30">
                  <c:v>#N/A</c:v>
                </c:pt>
                <c:pt idx="31">
                  <c:v>#N/A</c:v>
                </c:pt>
                <c:pt idx="32">
                  <c:v>#N/A</c:v>
                </c:pt>
                <c:pt idx="33">
                  <c:v>#N/A</c:v>
                </c:pt>
                <c:pt idx="34">
                  <c:v>#N/A</c:v>
                </c:pt>
                <c:pt idx="35">
                  <c:v>36109.699999999997</c:v>
                </c:pt>
                <c:pt idx="36">
                  <c:v>#N/A</c:v>
                </c:pt>
                <c:pt idx="37">
                  <c:v>#N/A</c:v>
                </c:pt>
                <c:pt idx="38">
                  <c:v>#N/A</c:v>
                </c:pt>
                <c:pt idx="39">
                  <c:v>#N/A</c:v>
                </c:pt>
                <c:pt idx="40">
                  <c:v>#N/A</c:v>
                </c:pt>
                <c:pt idx="41">
                  <c:v>#N/A</c:v>
                </c:pt>
                <c:pt idx="42">
                  <c:v>36913.800000000003</c:v>
                </c:pt>
                <c:pt idx="43">
                  <c:v>#N/A</c:v>
                </c:pt>
                <c:pt idx="44">
                  <c:v>#N/A</c:v>
                </c:pt>
                <c:pt idx="45">
                  <c:v>#N/A</c:v>
                </c:pt>
                <c:pt idx="46">
                  <c:v>#N/A</c:v>
                </c:pt>
                <c:pt idx="47">
                  <c:v>#N/A</c:v>
                </c:pt>
                <c:pt idx="48">
                  <c:v>#N/A</c:v>
                </c:pt>
                <c:pt idx="49">
                  <c:v>36913.800000000003</c:v>
                </c:pt>
                <c:pt idx="50">
                  <c:v>#N/A</c:v>
                </c:pt>
                <c:pt idx="51">
                  <c:v>#N/A</c:v>
                </c:pt>
                <c:pt idx="52">
                  <c:v>#N/A</c:v>
                </c:pt>
                <c:pt idx="53">
                  <c:v>#N/A</c:v>
                </c:pt>
                <c:pt idx="54">
                  <c:v>#N/A</c:v>
                </c:pt>
                <c:pt idx="55">
                  <c:v>#N/A</c:v>
                </c:pt>
                <c:pt idx="56">
                  <c:v>44926.75</c:v>
                </c:pt>
                <c:pt idx="57">
                  <c:v>#N/A</c:v>
                </c:pt>
                <c:pt idx="58">
                  <c:v>#N/A</c:v>
                </c:pt>
                <c:pt idx="60">
                  <c:v>#N/A</c:v>
                </c:pt>
                <c:pt idx="61">
                  <c:v>#N/A</c:v>
                </c:pt>
                <c:pt idx="62">
                  <c:v>#N/A</c:v>
                </c:pt>
                <c:pt idx="63">
                  <c:v>#N/A</c:v>
                </c:pt>
                <c:pt idx="64">
                  <c:v>48947.25</c:v>
                </c:pt>
                <c:pt idx="65">
                  <c:v>#N/A</c:v>
                </c:pt>
                <c:pt idx="66">
                  <c:v>#N/A</c:v>
                </c:pt>
                <c:pt idx="67">
                  <c:v>#N/A</c:v>
                </c:pt>
                <c:pt idx="68">
                  <c:v>#N/A</c:v>
                </c:pt>
                <c:pt idx="69">
                  <c:v>#N/A</c:v>
                </c:pt>
                <c:pt idx="70">
                  <c:v>#N/A</c:v>
                </c:pt>
                <c:pt idx="71">
                  <c:v>54847.1</c:v>
                </c:pt>
                <c:pt idx="72">
                  <c:v>#N/A</c:v>
                </c:pt>
                <c:pt idx="73">
                  <c:v>#N/A</c:v>
                </c:pt>
                <c:pt idx="74">
                  <c:v>#N/A</c:v>
                </c:pt>
                <c:pt idx="75">
                  <c:v>#N/A</c:v>
                </c:pt>
                <c:pt idx="76">
                  <c:v>#N/A</c:v>
                </c:pt>
                <c:pt idx="77">
                  <c:v>#N/A</c:v>
                </c:pt>
                <c:pt idx="78">
                  <c:v>57932.6</c:v>
                </c:pt>
                <c:pt idx="79">
                  <c:v>#N/A</c:v>
                </c:pt>
                <c:pt idx="80">
                  <c:v>#N/A</c:v>
                </c:pt>
                <c:pt idx="81">
                  <c:v>#N/A</c:v>
                </c:pt>
                <c:pt idx="82">
                  <c:v>#N/A</c:v>
                </c:pt>
                <c:pt idx="83">
                  <c:v>#N/A</c:v>
                </c:pt>
                <c:pt idx="84">
                  <c:v>#N/A</c:v>
                </c:pt>
                <c:pt idx="85">
                  <c:v>63542.6</c:v>
                </c:pt>
                <c:pt idx="86">
                  <c:v>#N/A</c:v>
                </c:pt>
                <c:pt idx="87">
                  <c:v>#N/A</c:v>
                </c:pt>
                <c:pt idx="88">
                  <c:v>#N/A</c:v>
                </c:pt>
                <c:pt idx="89">
                  <c:v>#N/A</c:v>
                </c:pt>
                <c:pt idx="90">
                  <c:v>#N/A</c:v>
                </c:pt>
                <c:pt idx="91">
                  <c:v>#N/A</c:v>
                </c:pt>
                <c:pt idx="92">
                  <c:v>66880.55</c:v>
                </c:pt>
                <c:pt idx="93">
                  <c:v>#N/A</c:v>
                </c:pt>
                <c:pt idx="94">
                  <c:v>#N/A</c:v>
                </c:pt>
                <c:pt idx="95">
                  <c:v>#N/A</c:v>
                </c:pt>
                <c:pt idx="96">
                  <c:v>#N/A</c:v>
                </c:pt>
                <c:pt idx="97">
                  <c:v>#N/A</c:v>
                </c:pt>
                <c:pt idx="98">
                  <c:v>#N/A</c:v>
                </c:pt>
                <c:pt idx="99">
                  <c:v>70611.199999999997</c:v>
                </c:pt>
                <c:pt idx="100">
                  <c:v>#N/A</c:v>
                </c:pt>
                <c:pt idx="101">
                  <c:v>#N/A</c:v>
                </c:pt>
                <c:pt idx="102">
                  <c:v>#N/A</c:v>
                </c:pt>
                <c:pt idx="103">
                  <c:v>#N/A</c:v>
                </c:pt>
                <c:pt idx="104">
                  <c:v>#N/A</c:v>
                </c:pt>
                <c:pt idx="105">
                  <c:v>#N/A</c:v>
                </c:pt>
                <c:pt idx="106">
                  <c:v>75791.100000000006</c:v>
                </c:pt>
                <c:pt idx="107">
                  <c:v>#N/A</c:v>
                </c:pt>
                <c:pt idx="108">
                  <c:v>#N/A</c:v>
                </c:pt>
                <c:pt idx="109">
                  <c:v>#N/A</c:v>
                </c:pt>
                <c:pt idx="110">
                  <c:v>#N/A</c:v>
                </c:pt>
                <c:pt idx="111">
                  <c:v>#N/A</c:v>
                </c:pt>
                <c:pt idx="112">
                  <c:v>#N/A</c:v>
                </c:pt>
                <c:pt idx="113">
                  <c:v>78839.199999999997</c:v>
                </c:pt>
                <c:pt idx="114">
                  <c:v>#N/A</c:v>
                </c:pt>
                <c:pt idx="115">
                  <c:v>#N/A</c:v>
                </c:pt>
                <c:pt idx="116">
                  <c:v>#N/A</c:v>
                </c:pt>
                <c:pt idx="117">
                  <c:v>#N/A</c:v>
                </c:pt>
                <c:pt idx="118">
                  <c:v>#N/A</c:v>
                </c:pt>
                <c:pt idx="119">
                  <c:v>#N/A</c:v>
                </c:pt>
                <c:pt idx="120">
                  <c:v>85898.45</c:v>
                </c:pt>
                <c:pt idx="121">
                  <c:v>#N/A</c:v>
                </c:pt>
                <c:pt idx="122">
                  <c:v>#N/A</c:v>
                </c:pt>
                <c:pt idx="123">
                  <c:v>#N/A</c:v>
                </c:pt>
                <c:pt idx="124">
                  <c:v>#N/A</c:v>
                </c:pt>
                <c:pt idx="125">
                  <c:v>#N/A</c:v>
                </c:pt>
                <c:pt idx="126">
                  <c:v>#N/A</c:v>
                </c:pt>
                <c:pt idx="127">
                  <c:v>91630</c:v>
                </c:pt>
                <c:pt idx="128">
                  <c:v>#N/A</c:v>
                </c:pt>
                <c:pt idx="129">
                  <c:v>#N/A</c:v>
                </c:pt>
                <c:pt idx="130">
                  <c:v>#N/A</c:v>
                </c:pt>
                <c:pt idx="131">
                  <c:v>#N/A</c:v>
                </c:pt>
                <c:pt idx="132">
                  <c:v>#N/A</c:v>
                </c:pt>
                <c:pt idx="133">
                  <c:v>#N/A</c:v>
                </c:pt>
                <c:pt idx="134">
                  <c:v>96305</c:v>
                </c:pt>
                <c:pt idx="135">
                  <c:v>#N/A</c:v>
                </c:pt>
                <c:pt idx="136">
                  <c:v>#N/A</c:v>
                </c:pt>
                <c:pt idx="137">
                  <c:v>#N/A</c:v>
                </c:pt>
                <c:pt idx="138">
                  <c:v>#N/A</c:v>
                </c:pt>
                <c:pt idx="139">
                  <c:v>#N/A</c:v>
                </c:pt>
                <c:pt idx="140">
                  <c:v>#N/A</c:v>
                </c:pt>
                <c:pt idx="141">
                  <c:v>97931.9</c:v>
                </c:pt>
                <c:pt idx="142">
                  <c:v>#N/A</c:v>
                </c:pt>
                <c:pt idx="143">
                  <c:v>#N/A</c:v>
                </c:pt>
                <c:pt idx="144">
                  <c:v>#N/A</c:v>
                </c:pt>
                <c:pt idx="145">
                  <c:v>#N/A</c:v>
                </c:pt>
                <c:pt idx="146">
                  <c:v>#N/A</c:v>
                </c:pt>
                <c:pt idx="147">
                  <c:v>#N/A</c:v>
                </c:pt>
                <c:pt idx="148">
                  <c:v>114939.55</c:v>
                </c:pt>
                <c:pt idx="149">
                  <c:v>#N/A</c:v>
                </c:pt>
                <c:pt idx="150">
                  <c:v>#N/A</c:v>
                </c:pt>
                <c:pt idx="151">
                  <c:v>#N/A</c:v>
                </c:pt>
                <c:pt idx="152">
                  <c:v>#N/A</c:v>
                </c:pt>
                <c:pt idx="153">
                  <c:v>#N/A</c:v>
                </c:pt>
                <c:pt idx="154">
                  <c:v>#N/A</c:v>
                </c:pt>
                <c:pt idx="155">
                  <c:v>132741.95000000001</c:v>
                </c:pt>
                <c:pt idx="156">
                  <c:v>#N/A</c:v>
                </c:pt>
                <c:pt idx="157">
                  <c:v>#N/A</c:v>
                </c:pt>
                <c:pt idx="158">
                  <c:v>#N/A</c:v>
                </c:pt>
                <c:pt idx="159">
                  <c:v>#N/A</c:v>
                </c:pt>
                <c:pt idx="160">
                  <c:v>#N/A</c:v>
                </c:pt>
                <c:pt idx="161">
                  <c:v>#N/A</c:v>
                </c:pt>
                <c:pt idx="162">
                  <c:v>142110.65</c:v>
                </c:pt>
                <c:pt idx="163">
                  <c:v>#N/A</c:v>
                </c:pt>
                <c:pt idx="164">
                  <c:v>#N/A</c:v>
                </c:pt>
                <c:pt idx="165">
                  <c:v>#N/A</c:v>
                </c:pt>
                <c:pt idx="166">
                  <c:v>#N/A</c:v>
                </c:pt>
                <c:pt idx="167">
                  <c:v>#N/A</c:v>
                </c:pt>
                <c:pt idx="168">
                  <c:v>#N/A</c:v>
                </c:pt>
                <c:pt idx="169">
                  <c:v>145981.54999999999</c:v>
                </c:pt>
                <c:pt idx="170">
                  <c:v>#N/A</c:v>
                </c:pt>
                <c:pt idx="171">
                  <c:v>#N/A</c:v>
                </c:pt>
                <c:pt idx="172">
                  <c:v>#N/A</c:v>
                </c:pt>
                <c:pt idx="173">
                  <c:v>#N/A</c:v>
                </c:pt>
                <c:pt idx="174">
                  <c:v>#N/A</c:v>
                </c:pt>
                <c:pt idx="175">
                  <c:v>#N/A</c:v>
                </c:pt>
                <c:pt idx="176">
                  <c:v>146392.95000000001</c:v>
                </c:pt>
                <c:pt idx="177">
                  <c:v>#N/A</c:v>
                </c:pt>
                <c:pt idx="178">
                  <c:v>#N/A</c:v>
                </c:pt>
                <c:pt idx="179">
                  <c:v>#N/A</c:v>
                </c:pt>
                <c:pt idx="180">
                  <c:v>#N/A</c:v>
                </c:pt>
                <c:pt idx="181">
                  <c:v>#N/A</c:v>
                </c:pt>
                <c:pt idx="182">
                  <c:v>#N/A</c:v>
                </c:pt>
                <c:pt idx="183">
                  <c:v>146149.85</c:v>
                </c:pt>
                <c:pt idx="184">
                  <c:v>#N/A</c:v>
                </c:pt>
                <c:pt idx="185">
                  <c:v>#N/A</c:v>
                </c:pt>
                <c:pt idx="186">
                  <c:v>#N/A</c:v>
                </c:pt>
                <c:pt idx="187">
                  <c:v>#N/A</c:v>
                </c:pt>
                <c:pt idx="188">
                  <c:v>#N/A</c:v>
                </c:pt>
                <c:pt idx="189">
                  <c:v>#N/A</c:v>
                </c:pt>
                <c:pt idx="190">
                  <c:v>145364.45000000001</c:v>
                </c:pt>
                <c:pt idx="191">
                  <c:v>#N/A</c:v>
                </c:pt>
                <c:pt idx="192">
                  <c:v>#N/A</c:v>
                </c:pt>
                <c:pt idx="193">
                  <c:v>#N/A</c:v>
                </c:pt>
                <c:pt idx="194">
                  <c:v>#N/A</c:v>
                </c:pt>
                <c:pt idx="195">
                  <c:v>#N/A</c:v>
                </c:pt>
                <c:pt idx="196">
                  <c:v>#N/A</c:v>
                </c:pt>
                <c:pt idx="197">
                  <c:v>144027.4</c:v>
                </c:pt>
                <c:pt idx="198">
                  <c:v>#N/A</c:v>
                </c:pt>
                <c:pt idx="199">
                  <c:v>#N/A</c:v>
                </c:pt>
                <c:pt idx="200">
                  <c:v>#N/A</c:v>
                </c:pt>
                <c:pt idx="201">
                  <c:v>#N/A</c:v>
                </c:pt>
                <c:pt idx="202">
                  <c:v>#N/A</c:v>
                </c:pt>
                <c:pt idx="203">
                  <c:v>#N/A</c:v>
                </c:pt>
                <c:pt idx="204">
                  <c:v>140941.9</c:v>
                </c:pt>
                <c:pt idx="205">
                  <c:v>#N/A</c:v>
                </c:pt>
                <c:pt idx="206">
                  <c:v>#N/A</c:v>
                </c:pt>
                <c:pt idx="207">
                  <c:v>#N/A</c:v>
                </c:pt>
                <c:pt idx="208">
                  <c:v>#N/A</c:v>
                </c:pt>
                <c:pt idx="209">
                  <c:v>#N/A</c:v>
                </c:pt>
                <c:pt idx="210">
                  <c:v>#N/A</c:v>
                </c:pt>
                <c:pt idx="211">
                  <c:v>137744.20000000001</c:v>
                </c:pt>
                <c:pt idx="212">
                  <c:v>#N/A</c:v>
                </c:pt>
                <c:pt idx="213">
                  <c:v>#N/A</c:v>
                </c:pt>
                <c:pt idx="214">
                  <c:v>#N/A</c:v>
                </c:pt>
                <c:pt idx="215">
                  <c:v>#N/A</c:v>
                </c:pt>
                <c:pt idx="216">
                  <c:v>#N/A</c:v>
                </c:pt>
                <c:pt idx="217">
                  <c:v>#N/A</c:v>
                </c:pt>
                <c:pt idx="218">
                  <c:v>135285.15</c:v>
                </c:pt>
                <c:pt idx="219">
                  <c:v>#N/A</c:v>
                </c:pt>
                <c:pt idx="220">
                  <c:v>#N/A</c:v>
                </c:pt>
                <c:pt idx="221">
                  <c:v>#N/A</c:v>
                </c:pt>
                <c:pt idx="222">
                  <c:v>#N/A</c:v>
                </c:pt>
                <c:pt idx="223">
                  <c:v>#N/A</c:v>
                </c:pt>
                <c:pt idx="224">
                  <c:v>#N/A</c:v>
                </c:pt>
                <c:pt idx="225">
                  <c:v>132863.5</c:v>
                </c:pt>
                <c:pt idx="226">
                  <c:v>#N/A</c:v>
                </c:pt>
                <c:pt idx="227">
                  <c:v>#N/A</c:v>
                </c:pt>
                <c:pt idx="228">
                  <c:v>#N/A</c:v>
                </c:pt>
                <c:pt idx="229">
                  <c:v>#N/A</c:v>
                </c:pt>
                <c:pt idx="230">
                  <c:v>#N/A</c:v>
                </c:pt>
                <c:pt idx="231">
                  <c:v>#N/A</c:v>
                </c:pt>
                <c:pt idx="232">
                  <c:v>131900.45000000001</c:v>
                </c:pt>
                <c:pt idx="233">
                  <c:v>#N/A</c:v>
                </c:pt>
                <c:pt idx="234">
                  <c:v>#N/A</c:v>
                </c:pt>
                <c:pt idx="235">
                  <c:v>#N/A</c:v>
                </c:pt>
                <c:pt idx="236">
                  <c:v>#N/A</c:v>
                </c:pt>
                <c:pt idx="237">
                  <c:v>#N/A</c:v>
                </c:pt>
                <c:pt idx="238">
                  <c:v>#N/A</c:v>
                </c:pt>
                <c:pt idx="239">
                  <c:v>131274</c:v>
                </c:pt>
                <c:pt idx="240">
                  <c:v>#N/A</c:v>
                </c:pt>
                <c:pt idx="241">
                  <c:v>#N/A</c:v>
                </c:pt>
                <c:pt idx="242">
                  <c:v>#N/A</c:v>
                </c:pt>
                <c:pt idx="243">
                  <c:v>#N/A</c:v>
                </c:pt>
                <c:pt idx="244">
                  <c:v>#N/A</c:v>
                </c:pt>
                <c:pt idx="245">
                  <c:v>#N/A</c:v>
                </c:pt>
                <c:pt idx="246">
                  <c:v>133181.4</c:v>
                </c:pt>
                <c:pt idx="247">
                  <c:v>#N/A</c:v>
                </c:pt>
                <c:pt idx="248">
                  <c:v>#N/A</c:v>
                </c:pt>
                <c:pt idx="249">
                  <c:v>#N/A</c:v>
                </c:pt>
                <c:pt idx="250">
                  <c:v>#N/A</c:v>
                </c:pt>
                <c:pt idx="251">
                  <c:v>#N/A</c:v>
                </c:pt>
                <c:pt idx="252">
                  <c:v>#N/A</c:v>
                </c:pt>
                <c:pt idx="253">
                  <c:v>132770</c:v>
                </c:pt>
                <c:pt idx="254">
                  <c:v>#N/A</c:v>
                </c:pt>
                <c:pt idx="255">
                  <c:v>#N/A</c:v>
                </c:pt>
                <c:pt idx="256">
                  <c:v>#N/A</c:v>
                </c:pt>
                <c:pt idx="257">
                  <c:v>#N/A</c:v>
                </c:pt>
                <c:pt idx="258">
                  <c:v>#N/A</c:v>
                </c:pt>
                <c:pt idx="259">
                  <c:v>#N/A</c:v>
                </c:pt>
                <c:pt idx="260">
                  <c:v>130797.15</c:v>
                </c:pt>
                <c:pt idx="261">
                  <c:v>#N/A</c:v>
                </c:pt>
                <c:pt idx="262">
                  <c:v>#N/A</c:v>
                </c:pt>
                <c:pt idx="263">
                  <c:v>#N/A</c:v>
                </c:pt>
                <c:pt idx="264">
                  <c:v>#N/A</c:v>
                </c:pt>
                <c:pt idx="265">
                  <c:v>#N/A</c:v>
                </c:pt>
                <c:pt idx="266">
                  <c:v>#N/A</c:v>
                </c:pt>
                <c:pt idx="267">
                  <c:v>121316.25</c:v>
                </c:pt>
                <c:pt idx="268">
                  <c:v>#N/A</c:v>
                </c:pt>
                <c:pt idx="269">
                  <c:v>#N/A</c:v>
                </c:pt>
                <c:pt idx="270">
                  <c:v>#N/A</c:v>
                </c:pt>
                <c:pt idx="271">
                  <c:v>#N/A</c:v>
                </c:pt>
                <c:pt idx="272">
                  <c:v>#N/A</c:v>
                </c:pt>
                <c:pt idx="273">
                  <c:v>#N/A</c:v>
                </c:pt>
                <c:pt idx="274">
                  <c:v>102251.6</c:v>
                </c:pt>
                <c:pt idx="275">
                  <c:v>#N/A</c:v>
                </c:pt>
                <c:pt idx="276">
                  <c:v>#N/A</c:v>
                </c:pt>
                <c:pt idx="277">
                  <c:v>#N/A</c:v>
                </c:pt>
                <c:pt idx="278">
                  <c:v>#N/A</c:v>
                </c:pt>
                <c:pt idx="279">
                  <c:v>#N/A</c:v>
                </c:pt>
                <c:pt idx="280">
                  <c:v>#N/A</c:v>
                </c:pt>
                <c:pt idx="281">
                  <c:v>102092.65</c:v>
                </c:pt>
                <c:pt idx="282">
                  <c:v>#N/A</c:v>
                </c:pt>
                <c:pt idx="283">
                  <c:v>#N/A</c:v>
                </c:pt>
                <c:pt idx="284">
                  <c:v>#N/A</c:v>
                </c:pt>
                <c:pt idx="285">
                  <c:v>#N/A</c:v>
                </c:pt>
                <c:pt idx="286">
                  <c:v>#N/A</c:v>
                </c:pt>
                <c:pt idx="287">
                  <c:v>#N/A</c:v>
                </c:pt>
                <c:pt idx="288">
                  <c:v>117632.35</c:v>
                </c:pt>
                <c:pt idx="289">
                  <c:v>#N/A</c:v>
                </c:pt>
                <c:pt idx="290">
                  <c:v>#N/A</c:v>
                </c:pt>
                <c:pt idx="291">
                  <c:v>#N/A</c:v>
                </c:pt>
                <c:pt idx="292">
                  <c:v>#N/A</c:v>
                </c:pt>
                <c:pt idx="293">
                  <c:v>#N/A</c:v>
                </c:pt>
                <c:pt idx="294">
                  <c:v>#N/A</c:v>
                </c:pt>
                <c:pt idx="295">
                  <c:v>134658.70000000001</c:v>
                </c:pt>
                <c:pt idx="296">
                  <c:v>#N/A</c:v>
                </c:pt>
                <c:pt idx="297">
                  <c:v>#N/A</c:v>
                </c:pt>
                <c:pt idx="298">
                  <c:v>#N/A</c:v>
                </c:pt>
                <c:pt idx="299">
                  <c:v>#N/A</c:v>
                </c:pt>
                <c:pt idx="300">
                  <c:v>#N/A</c:v>
                </c:pt>
                <c:pt idx="301">
                  <c:v>#N/A</c:v>
                </c:pt>
                <c:pt idx="302">
                  <c:v>145448.6</c:v>
                </c:pt>
                <c:pt idx="303">
                  <c:v>#N/A</c:v>
                </c:pt>
                <c:pt idx="304">
                  <c:v>#N/A</c:v>
                </c:pt>
                <c:pt idx="305">
                  <c:v>#N/A</c:v>
                </c:pt>
                <c:pt idx="306">
                  <c:v>#N/A</c:v>
                </c:pt>
                <c:pt idx="307">
                  <c:v>#N/A</c:v>
                </c:pt>
                <c:pt idx="308">
                  <c:v>#N/A</c:v>
                </c:pt>
                <c:pt idx="309">
                  <c:v>156593.79999999999</c:v>
                </c:pt>
                <c:pt idx="310">
                  <c:v>#N/A</c:v>
                </c:pt>
                <c:pt idx="311">
                  <c:v>#N/A</c:v>
                </c:pt>
                <c:pt idx="312">
                  <c:v>#N/A</c:v>
                </c:pt>
                <c:pt idx="313">
                  <c:v>#N/A</c:v>
                </c:pt>
                <c:pt idx="314">
                  <c:v>#N/A</c:v>
                </c:pt>
                <c:pt idx="315">
                  <c:v>#N/A</c:v>
                </c:pt>
                <c:pt idx="316">
                  <c:v>167252.79999999999</c:v>
                </c:pt>
                <c:pt idx="317">
                  <c:v>#N/A</c:v>
                </c:pt>
                <c:pt idx="318">
                  <c:v>#N/A</c:v>
                </c:pt>
                <c:pt idx="319">
                  <c:v>#N/A</c:v>
                </c:pt>
                <c:pt idx="320">
                  <c:v>#N/A</c:v>
                </c:pt>
                <c:pt idx="321">
                  <c:v>#N/A</c:v>
                </c:pt>
                <c:pt idx="322">
                  <c:v>#N/A</c:v>
                </c:pt>
                <c:pt idx="323">
                  <c:v>176369.05</c:v>
                </c:pt>
                <c:pt idx="324">
                  <c:v>#N/A</c:v>
                </c:pt>
                <c:pt idx="325">
                  <c:v>#N/A</c:v>
                </c:pt>
                <c:pt idx="326">
                  <c:v>#N/A</c:v>
                </c:pt>
                <c:pt idx="327">
                  <c:v>#N/A</c:v>
                </c:pt>
                <c:pt idx="328">
                  <c:v>#N/A</c:v>
                </c:pt>
                <c:pt idx="329">
                  <c:v>#N/A</c:v>
                </c:pt>
                <c:pt idx="330">
                  <c:v>175032</c:v>
                </c:pt>
                <c:pt idx="331">
                  <c:v>#N/A</c:v>
                </c:pt>
                <c:pt idx="332">
                  <c:v>#N/A</c:v>
                </c:pt>
                <c:pt idx="333">
                  <c:v>#N/A</c:v>
                </c:pt>
                <c:pt idx="334">
                  <c:v>#N/A</c:v>
                </c:pt>
                <c:pt idx="335">
                  <c:v>#N/A</c:v>
                </c:pt>
                <c:pt idx="336">
                  <c:v>#N/A</c:v>
                </c:pt>
                <c:pt idx="337">
                  <c:v>173451.85</c:v>
                </c:pt>
                <c:pt idx="338">
                  <c:v>#N/A</c:v>
                </c:pt>
                <c:pt idx="339">
                  <c:v>#N/A</c:v>
                </c:pt>
                <c:pt idx="340">
                  <c:v>#N/A</c:v>
                </c:pt>
                <c:pt idx="341">
                  <c:v>#N/A</c:v>
                </c:pt>
                <c:pt idx="342">
                  <c:v>#N/A</c:v>
                </c:pt>
                <c:pt idx="343">
                  <c:v>#N/A</c:v>
                </c:pt>
                <c:pt idx="344">
                  <c:v>176443.85</c:v>
                </c:pt>
                <c:pt idx="345">
                  <c:v>#N/A</c:v>
                </c:pt>
                <c:pt idx="346">
                  <c:v>#N/A</c:v>
                </c:pt>
                <c:pt idx="347">
                  <c:v>#N/A</c:v>
                </c:pt>
                <c:pt idx="348">
                  <c:v>#N/A</c:v>
                </c:pt>
                <c:pt idx="349">
                  <c:v>#N/A</c:v>
                </c:pt>
                <c:pt idx="350">
                  <c:v>#N/A</c:v>
                </c:pt>
                <c:pt idx="351">
                  <c:v>178136.2</c:v>
                </c:pt>
                <c:pt idx="352">
                  <c:v>#N/A</c:v>
                </c:pt>
                <c:pt idx="353">
                  <c:v>#N/A</c:v>
                </c:pt>
                <c:pt idx="354">
                  <c:v>#N/A</c:v>
                </c:pt>
                <c:pt idx="355">
                  <c:v>#N/A</c:v>
                </c:pt>
                <c:pt idx="356">
                  <c:v>#N/A</c:v>
                </c:pt>
                <c:pt idx="357">
                  <c:v>#N/A</c:v>
                </c:pt>
                <c:pt idx="358">
                  <c:v>153000</c:v>
                </c:pt>
                <c:pt idx="359">
                  <c:v>#N/A</c:v>
                </c:pt>
                <c:pt idx="360">
                  <c:v>#N/A</c:v>
                </c:pt>
                <c:pt idx="361">
                  <c:v>#N/A</c:v>
                </c:pt>
                <c:pt idx="362">
                  <c:v>#N/A</c:v>
                </c:pt>
                <c:pt idx="363">
                  <c:v>#N/A</c:v>
                </c:pt>
                <c:pt idx="364">
                  <c:v>#N/A</c:v>
                </c:pt>
                <c:pt idx="365">
                  <c:v>153000</c:v>
                </c:pt>
              </c:numCache>
            </c:numRef>
          </c:val>
          <c:smooth val="0"/>
          <c:extLst>
            <c:ext xmlns:c16="http://schemas.microsoft.com/office/drawing/2014/chart" uri="{C3380CC4-5D6E-409C-BE32-E72D297353CC}">
              <c16:uniqueId val="{00000000-CA30-47B9-921B-65EAB70F8E65}"/>
            </c:ext>
          </c:extLst>
        </c:ser>
        <c:ser>
          <c:idx val="1"/>
          <c:order val="1"/>
          <c:tx>
            <c:strRef>
              <c:f>多晶硅成本利润!$T$4</c:f>
              <c:strCache>
                <c:ptCount val="1"/>
                <c:pt idx="0">
                  <c:v>2022</c:v>
                </c:pt>
              </c:strCache>
            </c:strRef>
          </c:tx>
          <c:spPr>
            <a:ln w="19050" cap="rnd">
              <a:solidFill>
                <a:schemeClr val="bg1">
                  <a:lumMod val="65000"/>
                </a:schemeClr>
              </a:solidFill>
              <a:round/>
            </a:ln>
            <a:effectLst/>
          </c:spPr>
          <c:marker>
            <c:symbol val="none"/>
          </c:marker>
          <c:cat>
            <c:strRef>
              <c:f>多晶硅成本利润!$R$5:$R$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成本利润!$T$5:$T$370</c:f>
              <c:numCache>
                <c:formatCode>General</c:formatCode>
                <c:ptCount val="366"/>
                <c:pt idx="0">
                  <c:v>#N/A</c:v>
                </c:pt>
                <c:pt idx="1">
                  <c:v>#N/A</c:v>
                </c:pt>
                <c:pt idx="2">
                  <c:v>#N/A</c:v>
                </c:pt>
                <c:pt idx="3">
                  <c:v>#N/A</c:v>
                </c:pt>
                <c:pt idx="4">
                  <c:v>#N/A</c:v>
                </c:pt>
                <c:pt idx="5">
                  <c:v>#N/A</c:v>
                </c:pt>
                <c:pt idx="6">
                  <c:v>145882.35294000001</c:v>
                </c:pt>
                <c:pt idx="7">
                  <c:v>#N/A</c:v>
                </c:pt>
                <c:pt idx="8">
                  <c:v>#N/A</c:v>
                </c:pt>
                <c:pt idx="9">
                  <c:v>#N/A</c:v>
                </c:pt>
                <c:pt idx="10">
                  <c:v>#N/A</c:v>
                </c:pt>
                <c:pt idx="11">
                  <c:v>#N/A</c:v>
                </c:pt>
                <c:pt idx="12">
                  <c:v>#N/A</c:v>
                </c:pt>
                <c:pt idx="13">
                  <c:v>152260.86957000001</c:v>
                </c:pt>
                <c:pt idx="14">
                  <c:v>#N/A</c:v>
                </c:pt>
                <c:pt idx="15">
                  <c:v>#N/A</c:v>
                </c:pt>
                <c:pt idx="16">
                  <c:v>#N/A</c:v>
                </c:pt>
                <c:pt idx="17">
                  <c:v>#N/A</c:v>
                </c:pt>
                <c:pt idx="18">
                  <c:v>#N/A</c:v>
                </c:pt>
                <c:pt idx="19">
                  <c:v>#N/A</c:v>
                </c:pt>
                <c:pt idx="20">
                  <c:v>155608.69565000001</c:v>
                </c:pt>
                <c:pt idx="21">
                  <c:v>#N/A</c:v>
                </c:pt>
                <c:pt idx="22">
                  <c:v>#N/A</c:v>
                </c:pt>
                <c:pt idx="23">
                  <c:v>#N/A</c:v>
                </c:pt>
                <c:pt idx="24">
                  <c:v>#N/A</c:v>
                </c:pt>
                <c:pt idx="25">
                  <c:v>#N/A</c:v>
                </c:pt>
                <c:pt idx="26">
                  <c:v>#N/A</c:v>
                </c:pt>
                <c:pt idx="27">
                  <c:v>160608.69565000001</c:v>
                </c:pt>
                <c:pt idx="28">
                  <c:v>#N/A</c:v>
                </c:pt>
                <c:pt idx="29">
                  <c:v>#N/A</c:v>
                </c:pt>
                <c:pt idx="30">
                  <c:v>#N/A</c:v>
                </c:pt>
                <c:pt idx="31">
                  <c:v>#N/A</c:v>
                </c:pt>
                <c:pt idx="32">
                  <c:v>#N/A</c:v>
                </c:pt>
                <c:pt idx="33">
                  <c:v>#N/A</c:v>
                </c:pt>
                <c:pt idx="34">
                  <c:v>163608.69565000001</c:v>
                </c:pt>
                <c:pt idx="35">
                  <c:v>#N/A</c:v>
                </c:pt>
                <c:pt idx="36">
                  <c:v>#N/A</c:v>
                </c:pt>
                <c:pt idx="37">
                  <c:v>#N/A</c:v>
                </c:pt>
                <c:pt idx="38">
                  <c:v>#N/A</c:v>
                </c:pt>
                <c:pt idx="39">
                  <c:v>#N/A</c:v>
                </c:pt>
                <c:pt idx="40">
                  <c:v>#N/A</c:v>
                </c:pt>
                <c:pt idx="41">
                  <c:v>165608.69565000001</c:v>
                </c:pt>
                <c:pt idx="42">
                  <c:v>#N/A</c:v>
                </c:pt>
                <c:pt idx="43">
                  <c:v>#N/A</c:v>
                </c:pt>
                <c:pt idx="44">
                  <c:v>#N/A</c:v>
                </c:pt>
                <c:pt idx="45">
                  <c:v>#N/A</c:v>
                </c:pt>
                <c:pt idx="46">
                  <c:v>#N/A</c:v>
                </c:pt>
                <c:pt idx="47">
                  <c:v>#N/A</c:v>
                </c:pt>
                <c:pt idx="48">
                  <c:v>165565.21739000001</c:v>
                </c:pt>
                <c:pt idx="49">
                  <c:v>#N/A</c:v>
                </c:pt>
                <c:pt idx="50">
                  <c:v>#N/A</c:v>
                </c:pt>
                <c:pt idx="51">
                  <c:v>#N/A</c:v>
                </c:pt>
                <c:pt idx="52">
                  <c:v>#N/A</c:v>
                </c:pt>
                <c:pt idx="53">
                  <c:v>#N/A</c:v>
                </c:pt>
                <c:pt idx="54">
                  <c:v>#N/A</c:v>
                </c:pt>
                <c:pt idx="55">
                  <c:v>165304.34783000001</c:v>
                </c:pt>
                <c:pt idx="56">
                  <c:v>#N/A</c:v>
                </c:pt>
                <c:pt idx="57">
                  <c:v>#N/A</c:v>
                </c:pt>
                <c:pt idx="58">
                  <c:v>#N/A</c:v>
                </c:pt>
                <c:pt idx="60">
                  <c:v>#N/A</c:v>
                </c:pt>
                <c:pt idx="61">
                  <c:v>#N/A</c:v>
                </c:pt>
                <c:pt idx="62">
                  <c:v>#N/A</c:v>
                </c:pt>
                <c:pt idx="63">
                  <c:v>166304.34783000001</c:v>
                </c:pt>
                <c:pt idx="64">
                  <c:v>#N/A</c:v>
                </c:pt>
                <c:pt idx="65">
                  <c:v>#N/A</c:v>
                </c:pt>
                <c:pt idx="66">
                  <c:v>#N/A</c:v>
                </c:pt>
                <c:pt idx="67">
                  <c:v>#N/A</c:v>
                </c:pt>
                <c:pt idx="68">
                  <c:v>#N/A</c:v>
                </c:pt>
                <c:pt idx="69">
                  <c:v>#N/A</c:v>
                </c:pt>
                <c:pt idx="70">
                  <c:v>166130.43478000001</c:v>
                </c:pt>
                <c:pt idx="71">
                  <c:v>#N/A</c:v>
                </c:pt>
                <c:pt idx="72">
                  <c:v>#N/A</c:v>
                </c:pt>
                <c:pt idx="73">
                  <c:v>#N/A</c:v>
                </c:pt>
                <c:pt idx="74">
                  <c:v>#N/A</c:v>
                </c:pt>
                <c:pt idx="75">
                  <c:v>#N/A</c:v>
                </c:pt>
                <c:pt idx="76">
                  <c:v>#N/A</c:v>
                </c:pt>
                <c:pt idx="77">
                  <c:v>167130.43478000001</c:v>
                </c:pt>
                <c:pt idx="78">
                  <c:v>#N/A</c:v>
                </c:pt>
                <c:pt idx="79">
                  <c:v>#N/A</c:v>
                </c:pt>
                <c:pt idx="80">
                  <c:v>#N/A</c:v>
                </c:pt>
                <c:pt idx="81">
                  <c:v>#N/A</c:v>
                </c:pt>
                <c:pt idx="82">
                  <c:v>#N/A</c:v>
                </c:pt>
                <c:pt idx="83">
                  <c:v>#N/A</c:v>
                </c:pt>
                <c:pt idx="84">
                  <c:v>169130.43478000001</c:v>
                </c:pt>
                <c:pt idx="85">
                  <c:v>#N/A</c:v>
                </c:pt>
                <c:pt idx="86">
                  <c:v>#N/A</c:v>
                </c:pt>
                <c:pt idx="87">
                  <c:v>#N/A</c:v>
                </c:pt>
                <c:pt idx="88">
                  <c:v>#N/A</c:v>
                </c:pt>
                <c:pt idx="89">
                  <c:v>#N/A</c:v>
                </c:pt>
                <c:pt idx="90">
                  <c:v>#N/A</c:v>
                </c:pt>
                <c:pt idx="91">
                  <c:v>170130.43478000001</c:v>
                </c:pt>
                <c:pt idx="92">
                  <c:v>#N/A</c:v>
                </c:pt>
                <c:pt idx="93">
                  <c:v>#N/A</c:v>
                </c:pt>
                <c:pt idx="94">
                  <c:v>#N/A</c:v>
                </c:pt>
                <c:pt idx="95">
                  <c:v>#N/A</c:v>
                </c:pt>
                <c:pt idx="96">
                  <c:v>#N/A</c:v>
                </c:pt>
                <c:pt idx="97">
                  <c:v>#N/A</c:v>
                </c:pt>
                <c:pt idx="98">
                  <c:v>170130.43478000001</c:v>
                </c:pt>
                <c:pt idx="99">
                  <c:v>#N/A</c:v>
                </c:pt>
                <c:pt idx="100">
                  <c:v>#N/A</c:v>
                </c:pt>
                <c:pt idx="101">
                  <c:v>#N/A</c:v>
                </c:pt>
                <c:pt idx="102">
                  <c:v>#N/A</c:v>
                </c:pt>
                <c:pt idx="103">
                  <c:v>#N/A</c:v>
                </c:pt>
                <c:pt idx="104">
                  <c:v>#N/A</c:v>
                </c:pt>
                <c:pt idx="105">
                  <c:v>170130.43478000001</c:v>
                </c:pt>
                <c:pt idx="106">
                  <c:v>#N/A</c:v>
                </c:pt>
                <c:pt idx="107">
                  <c:v>#N/A</c:v>
                </c:pt>
                <c:pt idx="108">
                  <c:v>#N/A</c:v>
                </c:pt>
                <c:pt idx="109">
                  <c:v>#N/A</c:v>
                </c:pt>
                <c:pt idx="110">
                  <c:v>#N/A</c:v>
                </c:pt>
                <c:pt idx="111">
                  <c:v>#N/A</c:v>
                </c:pt>
                <c:pt idx="112">
                  <c:v>179391.30434999999</c:v>
                </c:pt>
                <c:pt idx="113">
                  <c:v>#N/A</c:v>
                </c:pt>
                <c:pt idx="114">
                  <c:v>#N/A</c:v>
                </c:pt>
                <c:pt idx="115">
                  <c:v>#N/A</c:v>
                </c:pt>
                <c:pt idx="116">
                  <c:v>#N/A</c:v>
                </c:pt>
                <c:pt idx="117">
                  <c:v>#N/A</c:v>
                </c:pt>
                <c:pt idx="118">
                  <c:v>#N/A</c:v>
                </c:pt>
                <c:pt idx="119">
                  <c:v>182600</c:v>
                </c:pt>
                <c:pt idx="120">
                  <c:v>#N/A</c:v>
                </c:pt>
                <c:pt idx="121">
                  <c:v>#N/A</c:v>
                </c:pt>
                <c:pt idx="122">
                  <c:v>#N/A</c:v>
                </c:pt>
                <c:pt idx="123">
                  <c:v>#N/A</c:v>
                </c:pt>
                <c:pt idx="124">
                  <c:v>#N/A</c:v>
                </c:pt>
                <c:pt idx="125">
                  <c:v>#N/A</c:v>
                </c:pt>
                <c:pt idx="126">
                  <c:v>183466.66667000001</c:v>
                </c:pt>
                <c:pt idx="127">
                  <c:v>#N/A</c:v>
                </c:pt>
                <c:pt idx="128">
                  <c:v>#N/A</c:v>
                </c:pt>
                <c:pt idx="129">
                  <c:v>#N/A</c:v>
                </c:pt>
                <c:pt idx="130">
                  <c:v>#N/A</c:v>
                </c:pt>
                <c:pt idx="131">
                  <c:v>#N/A</c:v>
                </c:pt>
                <c:pt idx="132">
                  <c:v>#N/A</c:v>
                </c:pt>
                <c:pt idx="133">
                  <c:v>187733.33332999999</c:v>
                </c:pt>
                <c:pt idx="134">
                  <c:v>#N/A</c:v>
                </c:pt>
                <c:pt idx="135">
                  <c:v>#N/A</c:v>
                </c:pt>
                <c:pt idx="136">
                  <c:v>#N/A</c:v>
                </c:pt>
                <c:pt idx="137">
                  <c:v>#N/A</c:v>
                </c:pt>
                <c:pt idx="138">
                  <c:v>#N/A</c:v>
                </c:pt>
                <c:pt idx="139">
                  <c:v>#N/A</c:v>
                </c:pt>
                <c:pt idx="140">
                  <c:v>190066.66667000001</c:v>
                </c:pt>
                <c:pt idx="141">
                  <c:v>#N/A</c:v>
                </c:pt>
                <c:pt idx="142">
                  <c:v>#N/A</c:v>
                </c:pt>
                <c:pt idx="143">
                  <c:v>#N/A</c:v>
                </c:pt>
                <c:pt idx="144">
                  <c:v>#N/A</c:v>
                </c:pt>
                <c:pt idx="145">
                  <c:v>#N/A</c:v>
                </c:pt>
                <c:pt idx="146">
                  <c:v>#N/A</c:v>
                </c:pt>
                <c:pt idx="147">
                  <c:v>191400</c:v>
                </c:pt>
                <c:pt idx="148">
                  <c:v>#N/A</c:v>
                </c:pt>
                <c:pt idx="149">
                  <c:v>#N/A</c:v>
                </c:pt>
                <c:pt idx="150">
                  <c:v>#N/A</c:v>
                </c:pt>
                <c:pt idx="151">
                  <c:v>#N/A</c:v>
                </c:pt>
                <c:pt idx="152">
                  <c:v>#N/A</c:v>
                </c:pt>
                <c:pt idx="153">
                  <c:v>#N/A</c:v>
                </c:pt>
                <c:pt idx="154">
                  <c:v>193133.33332999999</c:v>
                </c:pt>
                <c:pt idx="155">
                  <c:v>#N/A</c:v>
                </c:pt>
                <c:pt idx="156">
                  <c:v>#N/A</c:v>
                </c:pt>
                <c:pt idx="157">
                  <c:v>#N/A</c:v>
                </c:pt>
                <c:pt idx="158">
                  <c:v>#N/A</c:v>
                </c:pt>
                <c:pt idx="159">
                  <c:v>#N/A</c:v>
                </c:pt>
                <c:pt idx="160">
                  <c:v>#N/A</c:v>
                </c:pt>
                <c:pt idx="161">
                  <c:v>193133.33332999999</c:v>
                </c:pt>
                <c:pt idx="162">
                  <c:v>#N/A</c:v>
                </c:pt>
                <c:pt idx="163">
                  <c:v>#N/A</c:v>
                </c:pt>
                <c:pt idx="164">
                  <c:v>#N/A</c:v>
                </c:pt>
                <c:pt idx="165">
                  <c:v>#N/A</c:v>
                </c:pt>
                <c:pt idx="166">
                  <c:v>#N/A</c:v>
                </c:pt>
                <c:pt idx="167">
                  <c:v>#N/A</c:v>
                </c:pt>
                <c:pt idx="168">
                  <c:v>196833.33332999999</c:v>
                </c:pt>
                <c:pt idx="169">
                  <c:v>#N/A</c:v>
                </c:pt>
                <c:pt idx="170">
                  <c:v>#N/A</c:v>
                </c:pt>
                <c:pt idx="171">
                  <c:v>#N/A</c:v>
                </c:pt>
                <c:pt idx="172">
                  <c:v>#N/A</c:v>
                </c:pt>
                <c:pt idx="173">
                  <c:v>#N/A</c:v>
                </c:pt>
                <c:pt idx="174">
                  <c:v>#N/A</c:v>
                </c:pt>
                <c:pt idx="175">
                  <c:v>205833.33332999999</c:v>
                </c:pt>
                <c:pt idx="176">
                  <c:v>#N/A</c:v>
                </c:pt>
                <c:pt idx="177">
                  <c:v>#N/A</c:v>
                </c:pt>
                <c:pt idx="178">
                  <c:v>#N/A</c:v>
                </c:pt>
                <c:pt idx="179">
                  <c:v>#N/A</c:v>
                </c:pt>
                <c:pt idx="180">
                  <c:v>#N/A</c:v>
                </c:pt>
                <c:pt idx="181">
                  <c:v>#N/A</c:v>
                </c:pt>
                <c:pt idx="182">
                  <c:v>214833.33332999999</c:v>
                </c:pt>
                <c:pt idx="183">
                  <c:v>#N/A</c:v>
                </c:pt>
                <c:pt idx="184">
                  <c:v>#N/A</c:v>
                </c:pt>
                <c:pt idx="185">
                  <c:v>#N/A</c:v>
                </c:pt>
                <c:pt idx="186">
                  <c:v>#N/A</c:v>
                </c:pt>
                <c:pt idx="187">
                  <c:v>#N/A</c:v>
                </c:pt>
                <c:pt idx="188">
                  <c:v>#N/A</c:v>
                </c:pt>
                <c:pt idx="189">
                  <c:v>221833.33332999999</c:v>
                </c:pt>
                <c:pt idx="190">
                  <c:v>#N/A</c:v>
                </c:pt>
                <c:pt idx="191">
                  <c:v>#N/A</c:v>
                </c:pt>
                <c:pt idx="192">
                  <c:v>#N/A</c:v>
                </c:pt>
                <c:pt idx="193">
                  <c:v>#N/A</c:v>
                </c:pt>
                <c:pt idx="194">
                  <c:v>#N/A</c:v>
                </c:pt>
                <c:pt idx="195">
                  <c:v>#N/A</c:v>
                </c:pt>
                <c:pt idx="196">
                  <c:v>225833.33332999999</c:v>
                </c:pt>
                <c:pt idx="197">
                  <c:v>#N/A</c:v>
                </c:pt>
                <c:pt idx="198">
                  <c:v>#N/A</c:v>
                </c:pt>
                <c:pt idx="199">
                  <c:v>#N/A</c:v>
                </c:pt>
                <c:pt idx="200">
                  <c:v>#N/A</c:v>
                </c:pt>
                <c:pt idx="201">
                  <c:v>#N/A</c:v>
                </c:pt>
                <c:pt idx="202">
                  <c:v>#N/A</c:v>
                </c:pt>
                <c:pt idx="203">
                  <c:v>228733.33332999999</c:v>
                </c:pt>
                <c:pt idx="204">
                  <c:v>#N/A</c:v>
                </c:pt>
                <c:pt idx="205">
                  <c:v>#N/A</c:v>
                </c:pt>
                <c:pt idx="206">
                  <c:v>#N/A</c:v>
                </c:pt>
                <c:pt idx="207">
                  <c:v>#N/A</c:v>
                </c:pt>
                <c:pt idx="208">
                  <c:v>#N/A</c:v>
                </c:pt>
                <c:pt idx="209">
                  <c:v>#N/A</c:v>
                </c:pt>
                <c:pt idx="210">
                  <c:v>232733.33332999999</c:v>
                </c:pt>
                <c:pt idx="211">
                  <c:v>#N/A</c:v>
                </c:pt>
                <c:pt idx="212">
                  <c:v>#N/A</c:v>
                </c:pt>
                <c:pt idx="213">
                  <c:v>#N/A</c:v>
                </c:pt>
                <c:pt idx="214">
                  <c:v>#N/A</c:v>
                </c:pt>
                <c:pt idx="215">
                  <c:v>#N/A</c:v>
                </c:pt>
                <c:pt idx="216">
                  <c:v>#N/A</c:v>
                </c:pt>
                <c:pt idx="217">
                  <c:v>235733.33332999999</c:v>
                </c:pt>
                <c:pt idx="218">
                  <c:v>#N/A</c:v>
                </c:pt>
                <c:pt idx="219">
                  <c:v>#N/A</c:v>
                </c:pt>
                <c:pt idx="220">
                  <c:v>#N/A</c:v>
                </c:pt>
                <c:pt idx="221">
                  <c:v>#N/A</c:v>
                </c:pt>
                <c:pt idx="222">
                  <c:v>#N/A</c:v>
                </c:pt>
                <c:pt idx="223">
                  <c:v>#N/A</c:v>
                </c:pt>
                <c:pt idx="224">
                  <c:v>236600</c:v>
                </c:pt>
                <c:pt idx="225">
                  <c:v>#N/A</c:v>
                </c:pt>
                <c:pt idx="226">
                  <c:v>#N/A</c:v>
                </c:pt>
                <c:pt idx="227">
                  <c:v>#N/A</c:v>
                </c:pt>
                <c:pt idx="228">
                  <c:v>#N/A</c:v>
                </c:pt>
                <c:pt idx="229">
                  <c:v>#N/A</c:v>
                </c:pt>
                <c:pt idx="230">
                  <c:v>#N/A</c:v>
                </c:pt>
                <c:pt idx="231">
                  <c:v>238000</c:v>
                </c:pt>
                <c:pt idx="232">
                  <c:v>#N/A</c:v>
                </c:pt>
                <c:pt idx="233">
                  <c:v>#N/A</c:v>
                </c:pt>
                <c:pt idx="234">
                  <c:v>#N/A</c:v>
                </c:pt>
                <c:pt idx="235">
                  <c:v>#N/A</c:v>
                </c:pt>
                <c:pt idx="236">
                  <c:v>#N/A</c:v>
                </c:pt>
                <c:pt idx="237">
                  <c:v>#N/A</c:v>
                </c:pt>
                <c:pt idx="238">
                  <c:v>237866.66667000001</c:v>
                </c:pt>
                <c:pt idx="239">
                  <c:v>#N/A</c:v>
                </c:pt>
                <c:pt idx="240">
                  <c:v>#N/A</c:v>
                </c:pt>
                <c:pt idx="241">
                  <c:v>#N/A</c:v>
                </c:pt>
                <c:pt idx="242">
                  <c:v>#N/A</c:v>
                </c:pt>
                <c:pt idx="243">
                  <c:v>#N/A</c:v>
                </c:pt>
                <c:pt idx="244">
                  <c:v>#N/A</c:v>
                </c:pt>
                <c:pt idx="245">
                  <c:v>237866.66667000001</c:v>
                </c:pt>
                <c:pt idx="246">
                  <c:v>#N/A</c:v>
                </c:pt>
                <c:pt idx="247">
                  <c:v>#N/A</c:v>
                </c:pt>
                <c:pt idx="248">
                  <c:v>#N/A</c:v>
                </c:pt>
                <c:pt idx="249">
                  <c:v>#N/A</c:v>
                </c:pt>
                <c:pt idx="250">
                  <c:v>#N/A</c:v>
                </c:pt>
                <c:pt idx="251">
                  <c:v>#N/A</c:v>
                </c:pt>
                <c:pt idx="252">
                  <c:v>239733.33332999999</c:v>
                </c:pt>
                <c:pt idx="253">
                  <c:v>#N/A</c:v>
                </c:pt>
                <c:pt idx="254">
                  <c:v>#N/A</c:v>
                </c:pt>
                <c:pt idx="255">
                  <c:v>#N/A</c:v>
                </c:pt>
                <c:pt idx="256">
                  <c:v>#N/A</c:v>
                </c:pt>
                <c:pt idx="257">
                  <c:v>#N/A</c:v>
                </c:pt>
                <c:pt idx="258">
                  <c:v>#N/A</c:v>
                </c:pt>
                <c:pt idx="259">
                  <c:v>240700</c:v>
                </c:pt>
                <c:pt idx="260">
                  <c:v>#N/A</c:v>
                </c:pt>
                <c:pt idx="261">
                  <c:v>#N/A</c:v>
                </c:pt>
                <c:pt idx="262">
                  <c:v>#N/A</c:v>
                </c:pt>
                <c:pt idx="263">
                  <c:v>#N/A</c:v>
                </c:pt>
                <c:pt idx="264">
                  <c:v>#N/A</c:v>
                </c:pt>
                <c:pt idx="265">
                  <c:v>#N/A</c:v>
                </c:pt>
                <c:pt idx="266">
                  <c:v>240566.66667000001</c:v>
                </c:pt>
                <c:pt idx="267">
                  <c:v>#N/A</c:v>
                </c:pt>
                <c:pt idx="268">
                  <c:v>#N/A</c:v>
                </c:pt>
                <c:pt idx="269">
                  <c:v>#N/A</c:v>
                </c:pt>
                <c:pt idx="270">
                  <c:v>#N/A</c:v>
                </c:pt>
                <c:pt idx="271">
                  <c:v>#N/A</c:v>
                </c:pt>
                <c:pt idx="272">
                  <c:v>#N/A</c:v>
                </c:pt>
                <c:pt idx="273">
                  <c:v>240446.66667000001</c:v>
                </c:pt>
                <c:pt idx="274">
                  <c:v>#N/A</c:v>
                </c:pt>
                <c:pt idx="275">
                  <c:v>#N/A</c:v>
                </c:pt>
                <c:pt idx="276">
                  <c:v>#N/A</c:v>
                </c:pt>
                <c:pt idx="277">
                  <c:v>#N/A</c:v>
                </c:pt>
                <c:pt idx="278">
                  <c:v>#N/A</c:v>
                </c:pt>
                <c:pt idx="279">
                  <c:v>#N/A</c:v>
                </c:pt>
                <c:pt idx="280">
                  <c:v>240446.66667000001</c:v>
                </c:pt>
                <c:pt idx="281">
                  <c:v>#N/A</c:v>
                </c:pt>
                <c:pt idx="282">
                  <c:v>#N/A</c:v>
                </c:pt>
                <c:pt idx="283">
                  <c:v>#N/A</c:v>
                </c:pt>
                <c:pt idx="284">
                  <c:v>#N/A</c:v>
                </c:pt>
                <c:pt idx="285">
                  <c:v>#N/A</c:v>
                </c:pt>
                <c:pt idx="286">
                  <c:v>#N/A</c:v>
                </c:pt>
                <c:pt idx="287">
                  <c:v>240413.33332999999</c:v>
                </c:pt>
                <c:pt idx="288">
                  <c:v>#N/A</c:v>
                </c:pt>
                <c:pt idx="289">
                  <c:v>#N/A</c:v>
                </c:pt>
                <c:pt idx="290">
                  <c:v>#N/A</c:v>
                </c:pt>
                <c:pt idx="291">
                  <c:v>#N/A</c:v>
                </c:pt>
                <c:pt idx="292">
                  <c:v>#N/A</c:v>
                </c:pt>
                <c:pt idx="293">
                  <c:v>#N/A</c:v>
                </c:pt>
                <c:pt idx="294">
                  <c:v>240413.33332999999</c:v>
                </c:pt>
                <c:pt idx="295">
                  <c:v>#N/A</c:v>
                </c:pt>
                <c:pt idx="296">
                  <c:v>#N/A</c:v>
                </c:pt>
                <c:pt idx="297">
                  <c:v>#N/A</c:v>
                </c:pt>
                <c:pt idx="298">
                  <c:v>#N/A</c:v>
                </c:pt>
                <c:pt idx="299">
                  <c:v>#N/A</c:v>
                </c:pt>
                <c:pt idx="300">
                  <c:v>#N/A</c:v>
                </c:pt>
                <c:pt idx="301">
                  <c:v>240313.33332999999</c:v>
                </c:pt>
                <c:pt idx="302">
                  <c:v>#N/A</c:v>
                </c:pt>
                <c:pt idx="303">
                  <c:v>#N/A</c:v>
                </c:pt>
                <c:pt idx="304">
                  <c:v>#N/A</c:v>
                </c:pt>
                <c:pt idx="305">
                  <c:v>#N/A</c:v>
                </c:pt>
                <c:pt idx="306">
                  <c:v>#N/A</c:v>
                </c:pt>
                <c:pt idx="307">
                  <c:v>#N/A</c:v>
                </c:pt>
                <c:pt idx="308">
                  <c:v>240517.64705999999</c:v>
                </c:pt>
                <c:pt idx="309">
                  <c:v>#N/A</c:v>
                </c:pt>
                <c:pt idx="310">
                  <c:v>#N/A</c:v>
                </c:pt>
                <c:pt idx="311">
                  <c:v>#N/A</c:v>
                </c:pt>
                <c:pt idx="312">
                  <c:v>#N/A</c:v>
                </c:pt>
                <c:pt idx="313">
                  <c:v>#N/A</c:v>
                </c:pt>
                <c:pt idx="314">
                  <c:v>#N/A</c:v>
                </c:pt>
                <c:pt idx="315">
                  <c:v>240276.47059000001</c:v>
                </c:pt>
                <c:pt idx="316">
                  <c:v>#N/A</c:v>
                </c:pt>
                <c:pt idx="317">
                  <c:v>#N/A</c:v>
                </c:pt>
                <c:pt idx="318">
                  <c:v>#N/A</c:v>
                </c:pt>
                <c:pt idx="319">
                  <c:v>#N/A</c:v>
                </c:pt>
                <c:pt idx="320">
                  <c:v>#N/A</c:v>
                </c:pt>
                <c:pt idx="321">
                  <c:v>#N/A</c:v>
                </c:pt>
                <c:pt idx="322">
                  <c:v>240276.47059000001</c:v>
                </c:pt>
                <c:pt idx="323">
                  <c:v>#N/A</c:v>
                </c:pt>
                <c:pt idx="324">
                  <c:v>#N/A</c:v>
                </c:pt>
                <c:pt idx="325">
                  <c:v>#N/A</c:v>
                </c:pt>
                <c:pt idx="326">
                  <c:v>#N/A</c:v>
                </c:pt>
                <c:pt idx="327">
                  <c:v>#N/A</c:v>
                </c:pt>
                <c:pt idx="328">
                  <c:v>#N/A</c:v>
                </c:pt>
                <c:pt idx="329">
                  <c:v>239050</c:v>
                </c:pt>
                <c:pt idx="330">
                  <c:v>#N/A</c:v>
                </c:pt>
                <c:pt idx="331">
                  <c:v>#N/A</c:v>
                </c:pt>
                <c:pt idx="332">
                  <c:v>#N/A</c:v>
                </c:pt>
                <c:pt idx="333">
                  <c:v>#N/A</c:v>
                </c:pt>
                <c:pt idx="334">
                  <c:v>#N/A</c:v>
                </c:pt>
                <c:pt idx="335">
                  <c:v>#N/A</c:v>
                </c:pt>
                <c:pt idx="336">
                  <c:v>237058.82352999999</c:v>
                </c:pt>
                <c:pt idx="337">
                  <c:v>#N/A</c:v>
                </c:pt>
                <c:pt idx="338">
                  <c:v>#N/A</c:v>
                </c:pt>
                <c:pt idx="339">
                  <c:v>#N/A</c:v>
                </c:pt>
                <c:pt idx="340">
                  <c:v>#N/A</c:v>
                </c:pt>
                <c:pt idx="341">
                  <c:v>#N/A</c:v>
                </c:pt>
                <c:pt idx="342">
                  <c:v>#N/A</c:v>
                </c:pt>
                <c:pt idx="343">
                  <c:v>237823.52940999999</c:v>
                </c:pt>
                <c:pt idx="344">
                  <c:v>#N/A</c:v>
                </c:pt>
                <c:pt idx="345">
                  <c:v>#N/A</c:v>
                </c:pt>
                <c:pt idx="346">
                  <c:v>#N/A</c:v>
                </c:pt>
                <c:pt idx="347">
                  <c:v>#N/A</c:v>
                </c:pt>
                <c:pt idx="348">
                  <c:v>#N/A</c:v>
                </c:pt>
                <c:pt idx="349">
                  <c:v>#N/A</c:v>
                </c:pt>
                <c:pt idx="350">
                  <c:v>228176.47059000001</c:v>
                </c:pt>
                <c:pt idx="351">
                  <c:v>#N/A</c:v>
                </c:pt>
                <c:pt idx="352">
                  <c:v>#N/A</c:v>
                </c:pt>
                <c:pt idx="353">
                  <c:v>#N/A</c:v>
                </c:pt>
                <c:pt idx="354">
                  <c:v>#N/A</c:v>
                </c:pt>
                <c:pt idx="355">
                  <c:v>#N/A</c:v>
                </c:pt>
                <c:pt idx="356">
                  <c:v>#N/A</c:v>
                </c:pt>
                <c:pt idx="357">
                  <c:v>203823.52940999999</c:v>
                </c:pt>
                <c:pt idx="358">
                  <c:v>#N/A</c:v>
                </c:pt>
                <c:pt idx="359">
                  <c:v>#N/A</c:v>
                </c:pt>
                <c:pt idx="360">
                  <c:v>#N/A</c:v>
                </c:pt>
                <c:pt idx="361">
                  <c:v>#N/A</c:v>
                </c:pt>
                <c:pt idx="362">
                  <c:v>#N/A</c:v>
                </c:pt>
                <c:pt idx="363">
                  <c:v>#N/A</c:v>
                </c:pt>
                <c:pt idx="364">
                  <c:v>154176.47059000001</c:v>
                </c:pt>
                <c:pt idx="365">
                  <c:v>#N/A</c:v>
                </c:pt>
              </c:numCache>
            </c:numRef>
          </c:val>
          <c:smooth val="0"/>
          <c:extLst>
            <c:ext xmlns:c16="http://schemas.microsoft.com/office/drawing/2014/chart" uri="{C3380CC4-5D6E-409C-BE32-E72D297353CC}">
              <c16:uniqueId val="{00000001-CA30-47B9-921B-65EAB70F8E65}"/>
            </c:ext>
          </c:extLst>
        </c:ser>
        <c:ser>
          <c:idx val="2"/>
          <c:order val="2"/>
          <c:tx>
            <c:strRef>
              <c:f>多晶硅成本利润!$U$4</c:f>
              <c:strCache>
                <c:ptCount val="1"/>
                <c:pt idx="0">
                  <c:v>2023</c:v>
                </c:pt>
              </c:strCache>
            </c:strRef>
          </c:tx>
          <c:spPr>
            <a:ln w="19050" cap="rnd">
              <a:solidFill>
                <a:srgbClr val="308D94">
                  <a:alpha val="60000"/>
                </a:srgbClr>
              </a:solidFill>
              <a:round/>
            </a:ln>
            <a:effectLst/>
          </c:spPr>
          <c:marker>
            <c:symbol val="none"/>
          </c:marker>
          <c:cat>
            <c:strRef>
              <c:f>多晶硅成本利润!$R$5:$R$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成本利润!$U$5:$U$370</c:f>
              <c:numCache>
                <c:formatCode>General</c:formatCode>
                <c:ptCount val="366"/>
                <c:pt idx="0">
                  <c:v>#N/A</c:v>
                </c:pt>
                <c:pt idx="1">
                  <c:v>#N/A</c:v>
                </c:pt>
                <c:pt idx="2">
                  <c:v>#N/A</c:v>
                </c:pt>
                <c:pt idx="3">
                  <c:v>#N/A</c:v>
                </c:pt>
                <c:pt idx="4">
                  <c:v>#N/A</c:v>
                </c:pt>
                <c:pt idx="5">
                  <c:v>125058.82352999999</c:v>
                </c:pt>
                <c:pt idx="6">
                  <c:v>#N/A</c:v>
                </c:pt>
                <c:pt idx="7">
                  <c:v>#N/A</c:v>
                </c:pt>
                <c:pt idx="8">
                  <c:v>#N/A</c:v>
                </c:pt>
                <c:pt idx="9">
                  <c:v>#N/A</c:v>
                </c:pt>
                <c:pt idx="10">
                  <c:v>#N/A</c:v>
                </c:pt>
                <c:pt idx="11">
                  <c:v>#N/A</c:v>
                </c:pt>
                <c:pt idx="12">
                  <c:v>86058.823529999994</c:v>
                </c:pt>
                <c:pt idx="13">
                  <c:v>#N/A</c:v>
                </c:pt>
                <c:pt idx="14">
                  <c:v>#N/A</c:v>
                </c:pt>
                <c:pt idx="15">
                  <c:v>#N/A</c:v>
                </c:pt>
                <c:pt idx="16">
                  <c:v>#N/A</c:v>
                </c:pt>
                <c:pt idx="17">
                  <c:v>#N/A</c:v>
                </c:pt>
                <c:pt idx="18">
                  <c:v>#N/A</c:v>
                </c:pt>
                <c:pt idx="19">
                  <c:v>88411.764710000003</c:v>
                </c:pt>
                <c:pt idx="20">
                  <c:v>#N/A</c:v>
                </c:pt>
                <c:pt idx="21">
                  <c:v>#N/A</c:v>
                </c:pt>
                <c:pt idx="22">
                  <c:v>#N/A</c:v>
                </c:pt>
                <c:pt idx="23">
                  <c:v>#N/A</c:v>
                </c:pt>
                <c:pt idx="24">
                  <c:v>#N/A</c:v>
                </c:pt>
                <c:pt idx="25">
                  <c:v>#N/A</c:v>
                </c:pt>
                <c:pt idx="26">
                  <c:v>99250</c:v>
                </c:pt>
                <c:pt idx="27">
                  <c:v>#N/A</c:v>
                </c:pt>
                <c:pt idx="28">
                  <c:v>#N/A</c:v>
                </c:pt>
                <c:pt idx="29">
                  <c:v>#N/A</c:v>
                </c:pt>
                <c:pt idx="30">
                  <c:v>#N/A</c:v>
                </c:pt>
                <c:pt idx="31">
                  <c:v>#N/A</c:v>
                </c:pt>
                <c:pt idx="32">
                  <c:v>#N/A</c:v>
                </c:pt>
                <c:pt idx="33">
                  <c:v>107823.52941</c:v>
                </c:pt>
                <c:pt idx="34">
                  <c:v>#N/A</c:v>
                </c:pt>
                <c:pt idx="35">
                  <c:v>#N/A</c:v>
                </c:pt>
                <c:pt idx="36">
                  <c:v>#N/A</c:v>
                </c:pt>
                <c:pt idx="37">
                  <c:v>#N/A</c:v>
                </c:pt>
                <c:pt idx="38">
                  <c:v>#N/A</c:v>
                </c:pt>
                <c:pt idx="39">
                  <c:v>#N/A</c:v>
                </c:pt>
                <c:pt idx="40">
                  <c:v>130133.33332999999</c:v>
                </c:pt>
                <c:pt idx="41">
                  <c:v>#N/A</c:v>
                </c:pt>
                <c:pt idx="42">
                  <c:v>#N/A</c:v>
                </c:pt>
                <c:pt idx="43">
                  <c:v>#N/A</c:v>
                </c:pt>
                <c:pt idx="44">
                  <c:v>#N/A</c:v>
                </c:pt>
                <c:pt idx="45">
                  <c:v>#N/A</c:v>
                </c:pt>
                <c:pt idx="46">
                  <c:v>#N/A</c:v>
                </c:pt>
                <c:pt idx="47">
                  <c:v>159133.33332999999</c:v>
                </c:pt>
                <c:pt idx="48">
                  <c:v>#N/A</c:v>
                </c:pt>
                <c:pt idx="49">
                  <c:v>#N/A</c:v>
                </c:pt>
                <c:pt idx="50">
                  <c:v>#N/A</c:v>
                </c:pt>
                <c:pt idx="51">
                  <c:v>#N/A</c:v>
                </c:pt>
                <c:pt idx="52">
                  <c:v>#N/A</c:v>
                </c:pt>
                <c:pt idx="53">
                  <c:v>#N/A</c:v>
                </c:pt>
                <c:pt idx="54">
                  <c:v>165800</c:v>
                </c:pt>
                <c:pt idx="55">
                  <c:v>#N/A</c:v>
                </c:pt>
                <c:pt idx="56">
                  <c:v>#N/A</c:v>
                </c:pt>
                <c:pt idx="57">
                  <c:v>#N/A</c:v>
                </c:pt>
                <c:pt idx="58">
                  <c:v>#N/A</c:v>
                </c:pt>
                <c:pt idx="60">
                  <c:v>#N/A</c:v>
                </c:pt>
                <c:pt idx="61">
                  <c:v>#N/A</c:v>
                </c:pt>
                <c:pt idx="62">
                  <c:v>163133.33332999999</c:v>
                </c:pt>
                <c:pt idx="63">
                  <c:v>#N/A</c:v>
                </c:pt>
                <c:pt idx="64">
                  <c:v>#N/A</c:v>
                </c:pt>
                <c:pt idx="65">
                  <c:v>#N/A</c:v>
                </c:pt>
                <c:pt idx="66">
                  <c:v>#N/A</c:v>
                </c:pt>
                <c:pt idx="67">
                  <c:v>#N/A</c:v>
                </c:pt>
                <c:pt idx="68">
                  <c:v>#N/A</c:v>
                </c:pt>
                <c:pt idx="69">
                  <c:v>163666.66667000001</c:v>
                </c:pt>
                <c:pt idx="70">
                  <c:v>#N/A</c:v>
                </c:pt>
                <c:pt idx="71">
                  <c:v>#N/A</c:v>
                </c:pt>
                <c:pt idx="72">
                  <c:v>#N/A</c:v>
                </c:pt>
                <c:pt idx="73">
                  <c:v>#N/A</c:v>
                </c:pt>
                <c:pt idx="74">
                  <c:v>#N/A</c:v>
                </c:pt>
                <c:pt idx="75">
                  <c:v>#N/A</c:v>
                </c:pt>
                <c:pt idx="76">
                  <c:v>164166.66667000001</c:v>
                </c:pt>
                <c:pt idx="77">
                  <c:v>#N/A</c:v>
                </c:pt>
                <c:pt idx="78">
                  <c:v>#N/A</c:v>
                </c:pt>
                <c:pt idx="79">
                  <c:v>#N/A</c:v>
                </c:pt>
                <c:pt idx="80">
                  <c:v>#N/A</c:v>
                </c:pt>
                <c:pt idx="81">
                  <c:v>#N/A</c:v>
                </c:pt>
                <c:pt idx="82">
                  <c:v>#N/A</c:v>
                </c:pt>
                <c:pt idx="83">
                  <c:v>163613.33332999999</c:v>
                </c:pt>
                <c:pt idx="84">
                  <c:v>#N/A</c:v>
                </c:pt>
                <c:pt idx="85">
                  <c:v>#N/A</c:v>
                </c:pt>
                <c:pt idx="86">
                  <c:v>#N/A</c:v>
                </c:pt>
                <c:pt idx="87">
                  <c:v>#N/A</c:v>
                </c:pt>
                <c:pt idx="88">
                  <c:v>#N/A</c:v>
                </c:pt>
                <c:pt idx="89">
                  <c:v>#N/A</c:v>
                </c:pt>
                <c:pt idx="90">
                  <c:v>163733.33332999999</c:v>
                </c:pt>
                <c:pt idx="91">
                  <c:v>#N/A</c:v>
                </c:pt>
                <c:pt idx="92">
                  <c:v>#N/A</c:v>
                </c:pt>
                <c:pt idx="93">
                  <c:v>#N/A</c:v>
                </c:pt>
                <c:pt idx="94">
                  <c:v>#N/A</c:v>
                </c:pt>
                <c:pt idx="95">
                  <c:v>#N/A</c:v>
                </c:pt>
                <c:pt idx="96">
                  <c:v>#N/A</c:v>
                </c:pt>
                <c:pt idx="97">
                  <c:v>160066.66667000001</c:v>
                </c:pt>
                <c:pt idx="98">
                  <c:v>#N/A</c:v>
                </c:pt>
                <c:pt idx="99">
                  <c:v>#N/A</c:v>
                </c:pt>
                <c:pt idx="100">
                  <c:v>#N/A</c:v>
                </c:pt>
                <c:pt idx="101">
                  <c:v>#N/A</c:v>
                </c:pt>
                <c:pt idx="102">
                  <c:v>#N/A</c:v>
                </c:pt>
                <c:pt idx="103">
                  <c:v>#N/A</c:v>
                </c:pt>
                <c:pt idx="104">
                  <c:v>151400</c:v>
                </c:pt>
                <c:pt idx="105">
                  <c:v>#N/A</c:v>
                </c:pt>
                <c:pt idx="106">
                  <c:v>#N/A</c:v>
                </c:pt>
                <c:pt idx="107">
                  <c:v>#N/A</c:v>
                </c:pt>
                <c:pt idx="108">
                  <c:v>#N/A</c:v>
                </c:pt>
                <c:pt idx="109">
                  <c:v>#N/A</c:v>
                </c:pt>
                <c:pt idx="110">
                  <c:v>#N/A</c:v>
                </c:pt>
                <c:pt idx="111">
                  <c:v>135300</c:v>
                </c:pt>
                <c:pt idx="112">
                  <c:v>#N/A</c:v>
                </c:pt>
                <c:pt idx="113">
                  <c:v>#N/A</c:v>
                </c:pt>
                <c:pt idx="114">
                  <c:v>#N/A</c:v>
                </c:pt>
                <c:pt idx="115">
                  <c:v>#N/A</c:v>
                </c:pt>
                <c:pt idx="116">
                  <c:v>#N/A</c:v>
                </c:pt>
                <c:pt idx="117">
                  <c:v>#N/A</c:v>
                </c:pt>
                <c:pt idx="118">
                  <c:v>135366.66667000001</c:v>
                </c:pt>
                <c:pt idx="119">
                  <c:v>#N/A</c:v>
                </c:pt>
                <c:pt idx="120">
                  <c:v>#N/A</c:v>
                </c:pt>
                <c:pt idx="121">
                  <c:v>#N/A</c:v>
                </c:pt>
                <c:pt idx="122">
                  <c:v>#N/A</c:v>
                </c:pt>
                <c:pt idx="123">
                  <c:v>#N/A</c:v>
                </c:pt>
                <c:pt idx="124">
                  <c:v>#N/A</c:v>
                </c:pt>
                <c:pt idx="125">
                  <c:v>128566.66667000001</c:v>
                </c:pt>
                <c:pt idx="126">
                  <c:v>#N/A</c:v>
                </c:pt>
                <c:pt idx="127">
                  <c:v>#N/A</c:v>
                </c:pt>
                <c:pt idx="128">
                  <c:v>#N/A</c:v>
                </c:pt>
                <c:pt idx="129">
                  <c:v>#N/A</c:v>
                </c:pt>
                <c:pt idx="130">
                  <c:v>#N/A</c:v>
                </c:pt>
                <c:pt idx="131">
                  <c:v>#N/A</c:v>
                </c:pt>
                <c:pt idx="132">
                  <c:v>105433.33332999999</c:v>
                </c:pt>
                <c:pt idx="133">
                  <c:v>#N/A</c:v>
                </c:pt>
                <c:pt idx="134">
                  <c:v>#N/A</c:v>
                </c:pt>
                <c:pt idx="135">
                  <c:v>#N/A</c:v>
                </c:pt>
                <c:pt idx="136">
                  <c:v>#N/A</c:v>
                </c:pt>
                <c:pt idx="137">
                  <c:v>#N/A</c:v>
                </c:pt>
                <c:pt idx="138">
                  <c:v>#N/A</c:v>
                </c:pt>
                <c:pt idx="139">
                  <c:v>85433.333329999994</c:v>
                </c:pt>
                <c:pt idx="140">
                  <c:v>#N/A</c:v>
                </c:pt>
                <c:pt idx="141">
                  <c:v>#N/A</c:v>
                </c:pt>
                <c:pt idx="142">
                  <c:v>#N/A</c:v>
                </c:pt>
                <c:pt idx="143">
                  <c:v>#N/A</c:v>
                </c:pt>
                <c:pt idx="144">
                  <c:v>#N/A</c:v>
                </c:pt>
                <c:pt idx="145">
                  <c:v>#N/A</c:v>
                </c:pt>
                <c:pt idx="146">
                  <c:v>85433.333329999994</c:v>
                </c:pt>
                <c:pt idx="147">
                  <c:v>#N/A</c:v>
                </c:pt>
                <c:pt idx="148">
                  <c:v>#N/A</c:v>
                </c:pt>
                <c:pt idx="149">
                  <c:v>#N/A</c:v>
                </c:pt>
                <c:pt idx="150">
                  <c:v>#N/A</c:v>
                </c:pt>
                <c:pt idx="151">
                  <c:v>#N/A</c:v>
                </c:pt>
                <c:pt idx="152">
                  <c:v>#N/A</c:v>
                </c:pt>
                <c:pt idx="153">
                  <c:v>73966.666670000006</c:v>
                </c:pt>
                <c:pt idx="154">
                  <c:v>#N/A</c:v>
                </c:pt>
                <c:pt idx="155">
                  <c:v>#N/A</c:v>
                </c:pt>
                <c:pt idx="156">
                  <c:v>#N/A</c:v>
                </c:pt>
                <c:pt idx="157">
                  <c:v>#N/A</c:v>
                </c:pt>
                <c:pt idx="158">
                  <c:v>#N/A</c:v>
                </c:pt>
                <c:pt idx="159">
                  <c:v>#N/A</c:v>
                </c:pt>
                <c:pt idx="160">
                  <c:v>49500</c:v>
                </c:pt>
                <c:pt idx="161">
                  <c:v>#N/A</c:v>
                </c:pt>
                <c:pt idx="162">
                  <c:v>#N/A</c:v>
                </c:pt>
                <c:pt idx="163">
                  <c:v>#N/A</c:v>
                </c:pt>
                <c:pt idx="164">
                  <c:v>#N/A</c:v>
                </c:pt>
                <c:pt idx="165">
                  <c:v>#N/A</c:v>
                </c:pt>
                <c:pt idx="166">
                  <c:v>#N/A</c:v>
                </c:pt>
                <c:pt idx="167">
                  <c:v>32437.5</c:v>
                </c:pt>
                <c:pt idx="168">
                  <c:v>#N/A</c:v>
                </c:pt>
                <c:pt idx="169">
                  <c:v>#N/A</c:v>
                </c:pt>
                <c:pt idx="170">
                  <c:v>#N/A</c:v>
                </c:pt>
                <c:pt idx="171">
                  <c:v>#N/A</c:v>
                </c:pt>
                <c:pt idx="172">
                  <c:v>#N/A</c:v>
                </c:pt>
                <c:pt idx="173">
                  <c:v>#N/A</c:v>
                </c:pt>
                <c:pt idx="174">
                  <c:v>26625</c:v>
                </c:pt>
                <c:pt idx="175">
                  <c:v>#N/A</c:v>
                </c:pt>
                <c:pt idx="176">
                  <c:v>#N/A</c:v>
                </c:pt>
                <c:pt idx="177">
                  <c:v>#N/A</c:v>
                </c:pt>
                <c:pt idx="178">
                  <c:v>#N/A</c:v>
                </c:pt>
                <c:pt idx="179">
                  <c:v>#N/A</c:v>
                </c:pt>
                <c:pt idx="180">
                  <c:v>#N/A</c:v>
                </c:pt>
                <c:pt idx="181">
                  <c:v>17956.25</c:v>
                </c:pt>
                <c:pt idx="182">
                  <c:v>#N/A</c:v>
                </c:pt>
                <c:pt idx="183">
                  <c:v>#N/A</c:v>
                </c:pt>
                <c:pt idx="184">
                  <c:v>#N/A</c:v>
                </c:pt>
                <c:pt idx="185">
                  <c:v>#N/A</c:v>
                </c:pt>
                <c:pt idx="186">
                  <c:v>#N/A</c:v>
                </c:pt>
                <c:pt idx="187">
                  <c:v>#N/A</c:v>
                </c:pt>
                <c:pt idx="188">
                  <c:v>17956.25</c:v>
                </c:pt>
                <c:pt idx="189">
                  <c:v>#N/A</c:v>
                </c:pt>
                <c:pt idx="190">
                  <c:v>#N/A</c:v>
                </c:pt>
                <c:pt idx="191">
                  <c:v>#N/A</c:v>
                </c:pt>
                <c:pt idx="192">
                  <c:v>#N/A</c:v>
                </c:pt>
                <c:pt idx="193">
                  <c:v>#N/A</c:v>
                </c:pt>
                <c:pt idx="194">
                  <c:v>#N/A</c:v>
                </c:pt>
                <c:pt idx="195">
                  <c:v>17893.75</c:v>
                </c:pt>
                <c:pt idx="196">
                  <c:v>#N/A</c:v>
                </c:pt>
                <c:pt idx="197">
                  <c:v>#N/A</c:v>
                </c:pt>
                <c:pt idx="198">
                  <c:v>#N/A</c:v>
                </c:pt>
                <c:pt idx="199">
                  <c:v>#N/A</c:v>
                </c:pt>
                <c:pt idx="200">
                  <c:v>#N/A</c:v>
                </c:pt>
                <c:pt idx="201">
                  <c:v>#N/A</c:v>
                </c:pt>
                <c:pt idx="202">
                  <c:v>19206.25</c:v>
                </c:pt>
                <c:pt idx="203">
                  <c:v>#N/A</c:v>
                </c:pt>
                <c:pt idx="204">
                  <c:v>#N/A</c:v>
                </c:pt>
                <c:pt idx="205">
                  <c:v>#N/A</c:v>
                </c:pt>
                <c:pt idx="206">
                  <c:v>#N/A</c:v>
                </c:pt>
                <c:pt idx="207">
                  <c:v>#N/A</c:v>
                </c:pt>
                <c:pt idx="208">
                  <c:v>#N/A</c:v>
                </c:pt>
                <c:pt idx="209">
                  <c:v>19956.25</c:v>
                </c:pt>
                <c:pt idx="210">
                  <c:v>#N/A</c:v>
                </c:pt>
                <c:pt idx="211">
                  <c:v>#N/A</c:v>
                </c:pt>
                <c:pt idx="212">
                  <c:v>#N/A</c:v>
                </c:pt>
                <c:pt idx="213">
                  <c:v>#N/A</c:v>
                </c:pt>
                <c:pt idx="214">
                  <c:v>#N/A</c:v>
                </c:pt>
                <c:pt idx="215">
                  <c:v>#N/A</c:v>
                </c:pt>
                <c:pt idx="216">
                  <c:v>21331.25</c:v>
                </c:pt>
                <c:pt idx="217">
                  <c:v>#N/A</c:v>
                </c:pt>
                <c:pt idx="218">
                  <c:v>#N/A</c:v>
                </c:pt>
                <c:pt idx="219">
                  <c:v>#N/A</c:v>
                </c:pt>
                <c:pt idx="220">
                  <c:v>#N/A</c:v>
                </c:pt>
                <c:pt idx="221">
                  <c:v>#N/A</c:v>
                </c:pt>
                <c:pt idx="222">
                  <c:v>#N/A</c:v>
                </c:pt>
                <c:pt idx="223">
                  <c:v>21831.25</c:v>
                </c:pt>
                <c:pt idx="224">
                  <c:v>#N/A</c:v>
                </c:pt>
                <c:pt idx="225">
                  <c:v>#N/A</c:v>
                </c:pt>
                <c:pt idx="226">
                  <c:v>#N/A</c:v>
                </c:pt>
                <c:pt idx="227">
                  <c:v>#N/A</c:v>
                </c:pt>
                <c:pt idx="228">
                  <c:v>#N/A</c:v>
                </c:pt>
                <c:pt idx="229">
                  <c:v>#N/A</c:v>
                </c:pt>
                <c:pt idx="230">
                  <c:v>22562.5</c:v>
                </c:pt>
                <c:pt idx="231">
                  <c:v>#N/A</c:v>
                </c:pt>
                <c:pt idx="232">
                  <c:v>#N/A</c:v>
                </c:pt>
                <c:pt idx="233">
                  <c:v>#N/A</c:v>
                </c:pt>
                <c:pt idx="234">
                  <c:v>#N/A</c:v>
                </c:pt>
                <c:pt idx="235">
                  <c:v>#N/A</c:v>
                </c:pt>
                <c:pt idx="236">
                  <c:v>#N/A</c:v>
                </c:pt>
                <c:pt idx="237">
                  <c:v>23693.75</c:v>
                </c:pt>
                <c:pt idx="238">
                  <c:v>#N/A</c:v>
                </c:pt>
                <c:pt idx="239">
                  <c:v>#N/A</c:v>
                </c:pt>
                <c:pt idx="240">
                  <c:v>#N/A</c:v>
                </c:pt>
                <c:pt idx="241">
                  <c:v>#N/A</c:v>
                </c:pt>
                <c:pt idx="242">
                  <c:v>#N/A</c:v>
                </c:pt>
                <c:pt idx="243">
                  <c:v>#N/A</c:v>
                </c:pt>
                <c:pt idx="244">
                  <c:v>29237.5</c:v>
                </c:pt>
                <c:pt idx="245">
                  <c:v>#N/A</c:v>
                </c:pt>
                <c:pt idx="246">
                  <c:v>#N/A</c:v>
                </c:pt>
                <c:pt idx="247">
                  <c:v>#N/A</c:v>
                </c:pt>
                <c:pt idx="248">
                  <c:v>#N/A</c:v>
                </c:pt>
                <c:pt idx="249">
                  <c:v>#N/A</c:v>
                </c:pt>
                <c:pt idx="250">
                  <c:v>#N/A</c:v>
                </c:pt>
                <c:pt idx="251">
                  <c:v>31156.25</c:v>
                </c:pt>
                <c:pt idx="252">
                  <c:v>#N/A</c:v>
                </c:pt>
                <c:pt idx="253">
                  <c:v>#N/A</c:v>
                </c:pt>
                <c:pt idx="254">
                  <c:v>#N/A</c:v>
                </c:pt>
                <c:pt idx="255">
                  <c:v>#N/A</c:v>
                </c:pt>
                <c:pt idx="256">
                  <c:v>#N/A</c:v>
                </c:pt>
                <c:pt idx="257">
                  <c:v>#N/A</c:v>
                </c:pt>
                <c:pt idx="258">
                  <c:v>30862.5</c:v>
                </c:pt>
                <c:pt idx="259">
                  <c:v>#N/A</c:v>
                </c:pt>
                <c:pt idx="260">
                  <c:v>#N/A</c:v>
                </c:pt>
                <c:pt idx="261">
                  <c:v>#N/A</c:v>
                </c:pt>
                <c:pt idx="262">
                  <c:v>#N/A</c:v>
                </c:pt>
                <c:pt idx="263">
                  <c:v>#N/A</c:v>
                </c:pt>
                <c:pt idx="264">
                  <c:v>#N/A</c:v>
                </c:pt>
                <c:pt idx="265">
                  <c:v>30462.5</c:v>
                </c:pt>
                <c:pt idx="266">
                  <c:v>#N/A</c:v>
                </c:pt>
                <c:pt idx="267">
                  <c:v>#N/A</c:v>
                </c:pt>
                <c:pt idx="268">
                  <c:v>#N/A</c:v>
                </c:pt>
                <c:pt idx="269">
                  <c:v>#N/A</c:v>
                </c:pt>
                <c:pt idx="270">
                  <c:v>#N/A</c:v>
                </c:pt>
                <c:pt idx="271">
                  <c:v>#N/A</c:v>
                </c:pt>
                <c:pt idx="272">
                  <c:v>30462.5</c:v>
                </c:pt>
                <c:pt idx="273">
                  <c:v>#N/A</c:v>
                </c:pt>
                <c:pt idx="274">
                  <c:v>#N/A</c:v>
                </c:pt>
                <c:pt idx="275">
                  <c:v>#N/A</c:v>
                </c:pt>
                <c:pt idx="276">
                  <c:v>#N/A</c:v>
                </c:pt>
                <c:pt idx="277">
                  <c:v>#N/A</c:v>
                </c:pt>
                <c:pt idx="278">
                  <c:v>#N/A</c:v>
                </c:pt>
                <c:pt idx="279">
                  <c:v>30462.5</c:v>
                </c:pt>
                <c:pt idx="280">
                  <c:v>#N/A</c:v>
                </c:pt>
                <c:pt idx="281">
                  <c:v>#N/A</c:v>
                </c:pt>
                <c:pt idx="282">
                  <c:v>#N/A</c:v>
                </c:pt>
                <c:pt idx="283">
                  <c:v>#N/A</c:v>
                </c:pt>
                <c:pt idx="284">
                  <c:v>#N/A</c:v>
                </c:pt>
                <c:pt idx="285">
                  <c:v>#N/A</c:v>
                </c:pt>
                <c:pt idx="286">
                  <c:v>30588.235290000001</c:v>
                </c:pt>
                <c:pt idx="287">
                  <c:v>#N/A</c:v>
                </c:pt>
                <c:pt idx="288">
                  <c:v>#N/A</c:v>
                </c:pt>
                <c:pt idx="289">
                  <c:v>#N/A</c:v>
                </c:pt>
                <c:pt idx="290">
                  <c:v>#N/A</c:v>
                </c:pt>
                <c:pt idx="291">
                  <c:v>#N/A</c:v>
                </c:pt>
                <c:pt idx="292">
                  <c:v>#N/A</c:v>
                </c:pt>
                <c:pt idx="293">
                  <c:v>29982.352940000001</c:v>
                </c:pt>
                <c:pt idx="294">
                  <c:v>#N/A</c:v>
                </c:pt>
                <c:pt idx="295">
                  <c:v>#N/A</c:v>
                </c:pt>
                <c:pt idx="296">
                  <c:v>#N/A</c:v>
                </c:pt>
                <c:pt idx="297">
                  <c:v>#N/A</c:v>
                </c:pt>
                <c:pt idx="298">
                  <c:v>#N/A</c:v>
                </c:pt>
                <c:pt idx="299">
                  <c:v>#N/A</c:v>
                </c:pt>
                <c:pt idx="300">
                  <c:v>27982.352940000001</c:v>
                </c:pt>
                <c:pt idx="301">
                  <c:v>#N/A</c:v>
                </c:pt>
                <c:pt idx="302">
                  <c:v>#N/A</c:v>
                </c:pt>
                <c:pt idx="303">
                  <c:v>#N/A</c:v>
                </c:pt>
                <c:pt idx="304">
                  <c:v>#N/A</c:v>
                </c:pt>
                <c:pt idx="305">
                  <c:v>#N/A</c:v>
                </c:pt>
                <c:pt idx="306">
                  <c:v>#N/A</c:v>
                </c:pt>
                <c:pt idx="307">
                  <c:v>17788.235290000001</c:v>
                </c:pt>
                <c:pt idx="308">
                  <c:v>#N/A</c:v>
                </c:pt>
                <c:pt idx="309">
                  <c:v>#N/A</c:v>
                </c:pt>
                <c:pt idx="310">
                  <c:v>#N/A</c:v>
                </c:pt>
                <c:pt idx="311">
                  <c:v>#N/A</c:v>
                </c:pt>
                <c:pt idx="312">
                  <c:v>#N/A</c:v>
                </c:pt>
                <c:pt idx="313">
                  <c:v>#N/A</c:v>
                </c:pt>
                <c:pt idx="314">
                  <c:v>15788.235290000001</c:v>
                </c:pt>
                <c:pt idx="315">
                  <c:v>#N/A</c:v>
                </c:pt>
                <c:pt idx="316">
                  <c:v>#N/A</c:v>
                </c:pt>
                <c:pt idx="317">
                  <c:v>#N/A</c:v>
                </c:pt>
                <c:pt idx="318">
                  <c:v>#N/A</c:v>
                </c:pt>
                <c:pt idx="319">
                  <c:v>#N/A</c:v>
                </c:pt>
                <c:pt idx="320">
                  <c:v>#N/A</c:v>
                </c:pt>
                <c:pt idx="321">
                  <c:v>14788.235290000001</c:v>
                </c:pt>
                <c:pt idx="322">
                  <c:v>#N/A</c:v>
                </c:pt>
                <c:pt idx="323">
                  <c:v>#N/A</c:v>
                </c:pt>
                <c:pt idx="324">
                  <c:v>#N/A</c:v>
                </c:pt>
                <c:pt idx="325">
                  <c:v>#N/A</c:v>
                </c:pt>
                <c:pt idx="326">
                  <c:v>#N/A</c:v>
                </c:pt>
                <c:pt idx="327">
                  <c:v>#N/A</c:v>
                </c:pt>
                <c:pt idx="328">
                  <c:v>12738.88889</c:v>
                </c:pt>
                <c:pt idx="329">
                  <c:v>#N/A</c:v>
                </c:pt>
                <c:pt idx="330">
                  <c:v>#N/A</c:v>
                </c:pt>
                <c:pt idx="331">
                  <c:v>#N/A</c:v>
                </c:pt>
                <c:pt idx="332">
                  <c:v>#N/A</c:v>
                </c:pt>
                <c:pt idx="333">
                  <c:v>#N/A</c:v>
                </c:pt>
                <c:pt idx="334">
                  <c:v>#N/A</c:v>
                </c:pt>
                <c:pt idx="335">
                  <c:v>11738.88889</c:v>
                </c:pt>
                <c:pt idx="336">
                  <c:v>#N/A</c:v>
                </c:pt>
                <c:pt idx="337">
                  <c:v>#N/A</c:v>
                </c:pt>
                <c:pt idx="338">
                  <c:v>#N/A</c:v>
                </c:pt>
                <c:pt idx="339">
                  <c:v>#N/A</c:v>
                </c:pt>
                <c:pt idx="340">
                  <c:v>#N/A</c:v>
                </c:pt>
                <c:pt idx="341">
                  <c:v>#N/A</c:v>
                </c:pt>
                <c:pt idx="342">
                  <c:v>5929.1666699999996</c:v>
                </c:pt>
                <c:pt idx="343">
                  <c:v>#N/A</c:v>
                </c:pt>
                <c:pt idx="344">
                  <c:v>#N/A</c:v>
                </c:pt>
                <c:pt idx="345">
                  <c:v>#N/A</c:v>
                </c:pt>
                <c:pt idx="346">
                  <c:v>#N/A</c:v>
                </c:pt>
                <c:pt idx="347">
                  <c:v>#N/A</c:v>
                </c:pt>
                <c:pt idx="348">
                  <c:v>#N/A</c:v>
                </c:pt>
                <c:pt idx="349">
                  <c:v>5512.5</c:v>
                </c:pt>
                <c:pt idx="350">
                  <c:v>#N/A</c:v>
                </c:pt>
                <c:pt idx="351">
                  <c:v>#N/A</c:v>
                </c:pt>
                <c:pt idx="352">
                  <c:v>#N/A</c:v>
                </c:pt>
                <c:pt idx="353">
                  <c:v>#N/A</c:v>
                </c:pt>
                <c:pt idx="354">
                  <c:v>#N/A</c:v>
                </c:pt>
                <c:pt idx="355">
                  <c:v>#N/A</c:v>
                </c:pt>
                <c:pt idx="356">
                  <c:v>5325</c:v>
                </c:pt>
                <c:pt idx="357">
                  <c:v>#N/A</c:v>
                </c:pt>
                <c:pt idx="358">
                  <c:v>#N/A</c:v>
                </c:pt>
                <c:pt idx="359">
                  <c:v>#N/A</c:v>
                </c:pt>
                <c:pt idx="360">
                  <c:v>#N/A</c:v>
                </c:pt>
                <c:pt idx="361">
                  <c:v>#N/A</c:v>
                </c:pt>
                <c:pt idx="362">
                  <c:v>#N/A</c:v>
                </c:pt>
                <c:pt idx="363">
                  <c:v>4658.3333300000004</c:v>
                </c:pt>
                <c:pt idx="364">
                  <c:v>#N/A</c:v>
                </c:pt>
                <c:pt idx="365">
                  <c:v>#N/A</c:v>
                </c:pt>
              </c:numCache>
            </c:numRef>
          </c:val>
          <c:smooth val="0"/>
          <c:extLst>
            <c:ext xmlns:c16="http://schemas.microsoft.com/office/drawing/2014/chart" uri="{C3380CC4-5D6E-409C-BE32-E72D297353CC}">
              <c16:uniqueId val="{00000002-CA30-47B9-921B-65EAB70F8E65}"/>
            </c:ext>
          </c:extLst>
        </c:ser>
        <c:ser>
          <c:idx val="3"/>
          <c:order val="3"/>
          <c:tx>
            <c:strRef>
              <c:f>多晶硅成本利润!$V$4</c:f>
              <c:strCache>
                <c:ptCount val="1"/>
                <c:pt idx="0">
                  <c:v>2024</c:v>
                </c:pt>
              </c:strCache>
            </c:strRef>
          </c:tx>
          <c:spPr>
            <a:ln w="28575" cap="rnd">
              <a:solidFill>
                <a:schemeClr val="tx1"/>
              </a:solidFill>
              <a:round/>
            </a:ln>
            <a:effectLst/>
          </c:spPr>
          <c:marker>
            <c:symbol val="none"/>
          </c:marker>
          <c:cat>
            <c:strRef>
              <c:f>多晶硅成本利润!$R$5:$R$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多晶硅成本利润!$V$5:$V$370</c:f>
              <c:numCache>
                <c:formatCode>General</c:formatCode>
                <c:ptCount val="366"/>
                <c:pt idx="0">
                  <c:v>4808</c:v>
                </c:pt>
                <c:pt idx="1">
                  <c:v>4808</c:v>
                </c:pt>
                <c:pt idx="2">
                  <c:v>4808</c:v>
                </c:pt>
                <c:pt idx="3">
                  <c:v>4808</c:v>
                </c:pt>
                <c:pt idx="4">
                  <c:v>4808</c:v>
                </c:pt>
                <c:pt idx="5">
                  <c:v>4808</c:v>
                </c:pt>
                <c:pt idx="6">
                  <c:v>4808</c:v>
                </c:pt>
                <c:pt idx="7">
                  <c:v>4808</c:v>
                </c:pt>
                <c:pt idx="8">
                  <c:v>4808</c:v>
                </c:pt>
                <c:pt idx="9">
                  <c:v>4808</c:v>
                </c:pt>
                <c:pt idx="10">
                  <c:v>4808</c:v>
                </c:pt>
                <c:pt idx="11">
                  <c:v>4808</c:v>
                </c:pt>
                <c:pt idx="12">
                  <c:v>5556</c:v>
                </c:pt>
                <c:pt idx="13">
                  <c:v>5556</c:v>
                </c:pt>
                <c:pt idx="14">
                  <c:v>5556</c:v>
                </c:pt>
                <c:pt idx="15">
                  <c:v>5556</c:v>
                </c:pt>
                <c:pt idx="16">
                  <c:v>5556</c:v>
                </c:pt>
                <c:pt idx="17">
                  <c:v>5556</c:v>
                </c:pt>
                <c:pt idx="18">
                  <c:v>5556</c:v>
                </c:pt>
                <c:pt idx="19">
                  <c:v>6436</c:v>
                </c:pt>
                <c:pt idx="20">
                  <c:v>6436</c:v>
                </c:pt>
                <c:pt idx="21">
                  <c:v>6436</c:v>
                </c:pt>
                <c:pt idx="22">
                  <c:v>6436</c:v>
                </c:pt>
                <c:pt idx="23">
                  <c:v>6436</c:v>
                </c:pt>
                <c:pt idx="24">
                  <c:v>6436</c:v>
                </c:pt>
                <c:pt idx="25">
                  <c:v>6436</c:v>
                </c:pt>
                <c:pt idx="26">
                  <c:v>7596</c:v>
                </c:pt>
                <c:pt idx="27">
                  <c:v>7596</c:v>
                </c:pt>
                <c:pt idx="28">
                  <c:v>7596</c:v>
                </c:pt>
                <c:pt idx="29">
                  <c:v>7596</c:v>
                </c:pt>
                <c:pt idx="30">
                  <c:v>7596</c:v>
                </c:pt>
                <c:pt idx="31">
                  <c:v>7596</c:v>
                </c:pt>
                <c:pt idx="32">
                  <c:v>7596</c:v>
                </c:pt>
                <c:pt idx="33">
                  <c:v>7596</c:v>
                </c:pt>
                <c:pt idx="34">
                  <c:v>7596</c:v>
                </c:pt>
                <c:pt idx="35">
                  <c:v>7596</c:v>
                </c:pt>
                <c:pt idx="36">
                  <c:v>7596</c:v>
                </c:pt>
                <c:pt idx="37">
                  <c:v>7596</c:v>
                </c:pt>
                <c:pt idx="38">
                  <c:v>7596</c:v>
                </c:pt>
                <c:pt idx="39">
                  <c:v>7596</c:v>
                </c:pt>
                <c:pt idx="40">
                  <c:v>7596</c:v>
                </c:pt>
                <c:pt idx="41">
                  <c:v>7596</c:v>
                </c:pt>
                <c:pt idx="42">
                  <c:v>7596</c:v>
                </c:pt>
                <c:pt idx="43">
                  <c:v>7596</c:v>
                </c:pt>
                <c:pt idx="44">
                  <c:v>7596</c:v>
                </c:pt>
                <c:pt idx="45">
                  <c:v>7596</c:v>
                </c:pt>
                <c:pt idx="46">
                  <c:v>7596</c:v>
                </c:pt>
                <c:pt idx="47">
                  <c:v>7596</c:v>
                </c:pt>
                <c:pt idx="48">
                  <c:v>7596</c:v>
                </c:pt>
                <c:pt idx="49">
                  <c:v>7596</c:v>
                </c:pt>
                <c:pt idx="50">
                  <c:v>7596</c:v>
                </c:pt>
                <c:pt idx="51">
                  <c:v>7596</c:v>
                </c:pt>
                <c:pt idx="52">
                  <c:v>7596</c:v>
                </c:pt>
                <c:pt idx="53">
                  <c:v>7596</c:v>
                </c:pt>
                <c:pt idx="54">
                  <c:v>8116</c:v>
                </c:pt>
                <c:pt idx="55">
                  <c:v>8116</c:v>
                </c:pt>
                <c:pt idx="56">
                  <c:v>8116</c:v>
                </c:pt>
                <c:pt idx="57">
                  <c:v>8116</c:v>
                </c:pt>
                <c:pt idx="58">
                  <c:v>8116</c:v>
                </c:pt>
                <c:pt idx="59">
                  <c:v>8116</c:v>
                </c:pt>
                <c:pt idx="60">
                  <c:v>8116</c:v>
                </c:pt>
                <c:pt idx="61">
                  <c:v>8196</c:v>
                </c:pt>
                <c:pt idx="62">
                  <c:v>8196</c:v>
                </c:pt>
                <c:pt idx="63">
                  <c:v>8196</c:v>
                </c:pt>
                <c:pt idx="64">
                  <c:v>8196</c:v>
                </c:pt>
                <c:pt idx="65">
                  <c:v>8196</c:v>
                </c:pt>
                <c:pt idx="66">
                  <c:v>8196</c:v>
                </c:pt>
                <c:pt idx="67">
                  <c:v>8196</c:v>
                </c:pt>
                <c:pt idx="68">
                  <c:v>7756</c:v>
                </c:pt>
                <c:pt idx="69">
                  <c:v>7756</c:v>
                </c:pt>
                <c:pt idx="70">
                  <c:v>7756</c:v>
                </c:pt>
                <c:pt idx="71">
                  <c:v>7756</c:v>
                </c:pt>
                <c:pt idx="72">
                  <c:v>7756</c:v>
                </c:pt>
                <c:pt idx="73">
                  <c:v>7756</c:v>
                </c:pt>
                <c:pt idx="74">
                  <c:v>7756</c:v>
                </c:pt>
                <c:pt idx="75">
                  <c:v>7872</c:v>
                </c:pt>
                <c:pt idx="76">
                  <c:v>7872</c:v>
                </c:pt>
                <c:pt idx="77">
                  <c:v>7872</c:v>
                </c:pt>
                <c:pt idx="78">
                  <c:v>7872</c:v>
                </c:pt>
                <c:pt idx="79">
                  <c:v>7872</c:v>
                </c:pt>
                <c:pt idx="80">
                  <c:v>7872</c:v>
                </c:pt>
                <c:pt idx="81">
                  <c:v>7872</c:v>
                </c:pt>
                <c:pt idx="82">
                  <c:v>7792</c:v>
                </c:pt>
                <c:pt idx="83">
                  <c:v>7792</c:v>
                </c:pt>
                <c:pt idx="84">
                  <c:v>7792</c:v>
                </c:pt>
                <c:pt idx="85">
                  <c:v>7792</c:v>
                </c:pt>
                <c:pt idx="86">
                  <c:v>7792</c:v>
                </c:pt>
                <c:pt idx="87">
                  <c:v>7792</c:v>
                </c:pt>
                <c:pt idx="88">
                  <c:v>7792</c:v>
                </c:pt>
                <c:pt idx="89">
                  <c:v>8192</c:v>
                </c:pt>
                <c:pt idx="90">
                  <c:v>8192</c:v>
                </c:pt>
                <c:pt idx="91">
                  <c:v>8192</c:v>
                </c:pt>
                <c:pt idx="92">
                  <c:v>8192</c:v>
                </c:pt>
                <c:pt idx="93">
                  <c:v>8192</c:v>
                </c:pt>
                <c:pt idx="94">
                  <c:v>8192</c:v>
                </c:pt>
                <c:pt idx="95">
                  <c:v>8192</c:v>
                </c:pt>
                <c:pt idx="96">
                  <c:v>3112</c:v>
                </c:pt>
                <c:pt idx="97">
                  <c:v>3112</c:v>
                </c:pt>
                <c:pt idx="98">
                  <c:v>3112</c:v>
                </c:pt>
                <c:pt idx="99">
                  <c:v>3112</c:v>
                </c:pt>
                <c:pt idx="100">
                  <c:v>3112</c:v>
                </c:pt>
                <c:pt idx="101">
                  <c:v>3112</c:v>
                </c:pt>
                <c:pt idx="102">
                  <c:v>3112</c:v>
                </c:pt>
                <c:pt idx="103">
                  <c:v>1124</c:v>
                </c:pt>
                <c:pt idx="104">
                  <c:v>1124</c:v>
                </c:pt>
                <c:pt idx="105">
                  <c:v>1124</c:v>
                </c:pt>
                <c:pt idx="106">
                  <c:v>1124</c:v>
                </c:pt>
                <c:pt idx="107">
                  <c:v>1124</c:v>
                </c:pt>
                <c:pt idx="108">
                  <c:v>1124</c:v>
                </c:pt>
                <c:pt idx="109">
                  <c:v>1124</c:v>
                </c:pt>
                <c:pt idx="110">
                  <c:v>-2612</c:v>
                </c:pt>
                <c:pt idx="111">
                  <c:v>-2612</c:v>
                </c:pt>
                <c:pt idx="112">
                  <c:v>-2612</c:v>
                </c:pt>
                <c:pt idx="113">
                  <c:v>-2612</c:v>
                </c:pt>
                <c:pt idx="114">
                  <c:v>-2612</c:v>
                </c:pt>
                <c:pt idx="115">
                  <c:v>-2612</c:v>
                </c:pt>
                <c:pt idx="116">
                  <c:v>-2612</c:v>
                </c:pt>
                <c:pt idx="117">
                  <c:v>-3572</c:v>
                </c:pt>
                <c:pt idx="118">
                  <c:v>-3572</c:v>
                </c:pt>
                <c:pt idx="119">
                  <c:v>-3572</c:v>
                </c:pt>
                <c:pt idx="120">
                  <c:v>-3572</c:v>
                </c:pt>
                <c:pt idx="121">
                  <c:v>-3572</c:v>
                </c:pt>
                <c:pt idx="122">
                  <c:v>-3572</c:v>
                </c:pt>
                <c:pt idx="123">
                  <c:v>-3572</c:v>
                </c:pt>
                <c:pt idx="124">
                  <c:v>-5072</c:v>
                </c:pt>
                <c:pt idx="125">
                  <c:v>-5072</c:v>
                </c:pt>
                <c:pt idx="126">
                  <c:v>-5072</c:v>
                </c:pt>
                <c:pt idx="127">
                  <c:v>-5072</c:v>
                </c:pt>
                <c:pt idx="128">
                  <c:v>-5072</c:v>
                </c:pt>
                <c:pt idx="129">
                  <c:v>-5072</c:v>
                </c:pt>
                <c:pt idx="130">
                  <c:v>-5072</c:v>
                </c:pt>
                <c:pt idx="131">
                  <c:v>-6752</c:v>
                </c:pt>
                <c:pt idx="132">
                  <c:v>-6752</c:v>
                </c:pt>
                <c:pt idx="133">
                  <c:v>-6752</c:v>
                </c:pt>
                <c:pt idx="134">
                  <c:v>-6752</c:v>
                </c:pt>
                <c:pt idx="135">
                  <c:v>-6752</c:v>
                </c:pt>
                <c:pt idx="136">
                  <c:v>-6752</c:v>
                </c:pt>
                <c:pt idx="137">
                  <c:v>-6752</c:v>
                </c:pt>
                <c:pt idx="138">
                  <c:v>-7752</c:v>
                </c:pt>
                <c:pt idx="139">
                  <c:v>-7752</c:v>
                </c:pt>
                <c:pt idx="140">
                  <c:v>-7752</c:v>
                </c:pt>
                <c:pt idx="141">
                  <c:v>-7752</c:v>
                </c:pt>
                <c:pt idx="142">
                  <c:v>-7752</c:v>
                </c:pt>
                <c:pt idx="143">
                  <c:v>-7752</c:v>
                </c:pt>
                <c:pt idx="144">
                  <c:v>-7752</c:v>
                </c:pt>
                <c:pt idx="145">
                  <c:v>-8952</c:v>
                </c:pt>
                <c:pt idx="146">
                  <c:v>-8952</c:v>
                </c:pt>
                <c:pt idx="147">
                  <c:v>-8952</c:v>
                </c:pt>
                <c:pt idx="148">
                  <c:v>-8952</c:v>
                </c:pt>
                <c:pt idx="149">
                  <c:v>-8952</c:v>
                </c:pt>
                <c:pt idx="150">
                  <c:v>-8952</c:v>
                </c:pt>
                <c:pt idx="151">
                  <c:v>-8952</c:v>
                </c:pt>
                <c:pt idx="152">
                  <c:v>-6816.6666699999996</c:v>
                </c:pt>
                <c:pt idx="153">
                  <c:v>-6816.6666699999996</c:v>
                </c:pt>
                <c:pt idx="154">
                  <c:v>-6816.6666699999996</c:v>
                </c:pt>
                <c:pt idx="155">
                  <c:v>-6816.6666699999996</c:v>
                </c:pt>
                <c:pt idx="156">
                  <c:v>-6816.6666699999996</c:v>
                </c:pt>
                <c:pt idx="157">
                  <c:v>-6816.6666699999996</c:v>
                </c:pt>
                <c:pt idx="158">
                  <c:v>-6816.6666699999996</c:v>
                </c:pt>
                <c:pt idx="159">
                  <c:v>-6816.6666699999996</c:v>
                </c:pt>
                <c:pt idx="160">
                  <c:v>-6816.6666699999996</c:v>
                </c:pt>
                <c:pt idx="161">
                  <c:v>-6816.6666699999996</c:v>
                </c:pt>
                <c:pt idx="162">
                  <c:v>-6816.6666699999996</c:v>
                </c:pt>
                <c:pt idx="163">
                  <c:v>-6816.6666699999996</c:v>
                </c:pt>
                <c:pt idx="164">
                  <c:v>-6816.6666699999996</c:v>
                </c:pt>
                <c:pt idx="165">
                  <c:v>-6816.6666699999996</c:v>
                </c:pt>
                <c:pt idx="166">
                  <c:v>-7154.1666699999996</c:v>
                </c:pt>
                <c:pt idx="167">
                  <c:v>-7154.1666699999996</c:v>
                </c:pt>
                <c:pt idx="168">
                  <c:v>-7154.1666699999996</c:v>
                </c:pt>
                <c:pt idx="169">
                  <c:v>-7154.1666699999996</c:v>
                </c:pt>
                <c:pt idx="170">
                  <c:v>-7154.1666699999996</c:v>
                </c:pt>
                <c:pt idx="171">
                  <c:v>-7154.1666699999996</c:v>
                </c:pt>
                <c:pt idx="172">
                  <c:v>-7154.1666699999996</c:v>
                </c:pt>
                <c:pt idx="173">
                  <c:v>-6995.8333300000004</c:v>
                </c:pt>
                <c:pt idx="174">
                  <c:v>-6995.8333300000004</c:v>
                </c:pt>
                <c:pt idx="175">
                  <c:v>-6995.8333300000004</c:v>
                </c:pt>
                <c:pt idx="176">
                  <c:v>-6995.8333300000004</c:v>
                </c:pt>
                <c:pt idx="177">
                  <c:v>-6995.8333300000004</c:v>
                </c:pt>
                <c:pt idx="178">
                  <c:v>-6995.8333300000004</c:v>
                </c:pt>
                <c:pt idx="179">
                  <c:v>-6995.8333300000004</c:v>
                </c:pt>
                <c:pt idx="180">
                  <c:v>-6795.8333300000004</c:v>
                </c:pt>
                <c:pt idx="181">
                  <c:v>-6795.8333300000004</c:v>
                </c:pt>
                <c:pt idx="182">
                  <c:v>-6795.8333300000004</c:v>
                </c:pt>
                <c:pt idx="183">
                  <c:v>-6795.8333300000004</c:v>
                </c:pt>
                <c:pt idx="184">
                  <c:v>-6795.8333300000004</c:v>
                </c:pt>
                <c:pt idx="185">
                  <c:v>-6795.8333300000004</c:v>
                </c:pt>
                <c:pt idx="186">
                  <c:v>-6795.8333300000004</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3-CA30-47B9-921B-65EAB70F8E65}"/>
            </c:ext>
          </c:extLst>
        </c:ser>
        <c:dLbls>
          <c:showLegendKey val="0"/>
          <c:showVal val="0"/>
          <c:showCatName val="0"/>
          <c:showSerName val="0"/>
          <c:showPercent val="0"/>
          <c:showBubbleSize val="0"/>
        </c:dLbls>
        <c:smooth val="0"/>
        <c:axId val="1951143871"/>
        <c:axId val="1788795919"/>
      </c:lineChart>
      <c:catAx>
        <c:axId val="195114387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crossAx val="1788795919"/>
        <c:crosses val="autoZero"/>
        <c:auto val="1"/>
        <c:lblAlgn val="ctr"/>
        <c:lblOffset val="100"/>
        <c:noMultiLvlLbl val="0"/>
      </c:catAx>
      <c:valAx>
        <c:axId val="1788795919"/>
        <c:scaling>
          <c:orientation val="minMax"/>
          <c:max val="250000"/>
          <c:min val="-15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crossAx val="19511438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latin typeface="+mn-lt"/>
          <a:ea typeface="+mn-ea"/>
          <a:cs typeface="+mn-ea"/>
          <a:sym typeface="+mn-lt"/>
        </a:defRPr>
      </a:pPr>
      <a:endParaRPr lang="zh-CN"/>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DMC价格!$M$2</c:f>
          <c:strCache>
            <c:ptCount val="1"/>
            <c:pt idx="0">
              <c:v>DMC市场均价</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DMC价格!$Q$3</c:f>
              <c:strCache>
                <c:ptCount val="1"/>
                <c:pt idx="0">
                  <c:v>2021</c:v>
                </c:pt>
              </c:strCache>
            </c:strRef>
          </c:tx>
          <c:spPr>
            <a:ln w="19050" cap="rnd">
              <a:solidFill>
                <a:srgbClr val="B57222">
                  <a:alpha val="60000"/>
                </a:srgbClr>
              </a:solidFill>
              <a:round/>
            </a:ln>
            <a:effectLst/>
          </c:spPr>
          <c:marker>
            <c:symbol val="none"/>
          </c:marker>
          <c:cat>
            <c:strRef>
              <c:f>DMC价格!$O$4:$O$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DMC价格!$Q$4:$Q$369</c:f>
              <c:numCache>
                <c:formatCode>General</c:formatCode>
                <c:ptCount val="366"/>
                <c:pt idx="0">
                  <c:v>#N/A</c:v>
                </c:pt>
                <c:pt idx="1">
                  <c:v>#N/A</c:v>
                </c:pt>
                <c:pt idx="2">
                  <c:v>#N/A</c:v>
                </c:pt>
                <c:pt idx="3">
                  <c:v>22000</c:v>
                </c:pt>
                <c:pt idx="4">
                  <c:v>22000</c:v>
                </c:pt>
                <c:pt idx="5">
                  <c:v>22000</c:v>
                </c:pt>
                <c:pt idx="6">
                  <c:v>21000</c:v>
                </c:pt>
                <c:pt idx="7">
                  <c:v>21000</c:v>
                </c:pt>
                <c:pt idx="8">
                  <c:v>#N/A</c:v>
                </c:pt>
                <c:pt idx="9">
                  <c:v>#N/A</c:v>
                </c:pt>
                <c:pt idx="10">
                  <c:v>21000</c:v>
                </c:pt>
                <c:pt idx="11">
                  <c:v>20500</c:v>
                </c:pt>
                <c:pt idx="12">
                  <c:v>20500</c:v>
                </c:pt>
                <c:pt idx="13">
                  <c:v>20500</c:v>
                </c:pt>
                <c:pt idx="14">
                  <c:v>20500</c:v>
                </c:pt>
                <c:pt idx="15">
                  <c:v>#N/A</c:v>
                </c:pt>
                <c:pt idx="16">
                  <c:v>#N/A</c:v>
                </c:pt>
                <c:pt idx="17">
                  <c:v>20500</c:v>
                </c:pt>
                <c:pt idx="18">
                  <c:v>20500</c:v>
                </c:pt>
                <c:pt idx="19">
                  <c:v>20500</c:v>
                </c:pt>
                <c:pt idx="20">
                  <c:v>20500</c:v>
                </c:pt>
                <c:pt idx="21">
                  <c:v>20500</c:v>
                </c:pt>
                <c:pt idx="22">
                  <c:v>#N/A</c:v>
                </c:pt>
                <c:pt idx="23">
                  <c:v>#N/A</c:v>
                </c:pt>
                <c:pt idx="24">
                  <c:v>21000</c:v>
                </c:pt>
                <c:pt idx="25">
                  <c:v>21000</c:v>
                </c:pt>
                <c:pt idx="26">
                  <c:v>21000</c:v>
                </c:pt>
                <c:pt idx="27">
                  <c:v>21000</c:v>
                </c:pt>
                <c:pt idx="28">
                  <c:v>21000</c:v>
                </c:pt>
                <c:pt idx="29">
                  <c:v>#N/A</c:v>
                </c:pt>
                <c:pt idx="30">
                  <c:v>#N/A</c:v>
                </c:pt>
                <c:pt idx="31">
                  <c:v>21000</c:v>
                </c:pt>
                <c:pt idx="32">
                  <c:v>21000</c:v>
                </c:pt>
                <c:pt idx="33">
                  <c:v>21000</c:v>
                </c:pt>
                <c:pt idx="34">
                  <c:v>21000</c:v>
                </c:pt>
                <c:pt idx="35">
                  <c:v>21000</c:v>
                </c:pt>
                <c:pt idx="36">
                  <c:v>#N/A</c:v>
                </c:pt>
                <c:pt idx="37">
                  <c:v>21000</c:v>
                </c:pt>
                <c:pt idx="38">
                  <c:v>21000</c:v>
                </c:pt>
                <c:pt idx="39">
                  <c:v>21000</c:v>
                </c:pt>
                <c:pt idx="40">
                  <c:v>21000</c:v>
                </c:pt>
                <c:pt idx="41">
                  <c:v>#N/A</c:v>
                </c:pt>
                <c:pt idx="42">
                  <c:v>#N/A</c:v>
                </c:pt>
                <c:pt idx="43">
                  <c:v>#N/A</c:v>
                </c:pt>
                <c:pt idx="44">
                  <c:v>#N/A</c:v>
                </c:pt>
                <c:pt idx="45">
                  <c:v>#N/A</c:v>
                </c:pt>
                <c:pt idx="46">
                  <c:v>#N/A</c:v>
                </c:pt>
                <c:pt idx="47">
                  <c:v>#N/A</c:v>
                </c:pt>
                <c:pt idx="48">
                  <c:v>21000</c:v>
                </c:pt>
                <c:pt idx="49">
                  <c:v>21000</c:v>
                </c:pt>
                <c:pt idx="50">
                  <c:v>21000</c:v>
                </c:pt>
                <c:pt idx="51">
                  <c:v>#N/A</c:v>
                </c:pt>
                <c:pt idx="52">
                  <c:v>22000</c:v>
                </c:pt>
                <c:pt idx="53">
                  <c:v>22000</c:v>
                </c:pt>
                <c:pt idx="54">
                  <c:v>23000</c:v>
                </c:pt>
                <c:pt idx="55">
                  <c:v>23000</c:v>
                </c:pt>
                <c:pt idx="56">
                  <c:v>23000</c:v>
                </c:pt>
                <c:pt idx="57">
                  <c:v>#N/A</c:v>
                </c:pt>
                <c:pt idx="58">
                  <c:v>#N/A</c:v>
                </c:pt>
                <c:pt idx="60">
                  <c:v>23000</c:v>
                </c:pt>
                <c:pt idx="61">
                  <c:v>23000</c:v>
                </c:pt>
                <c:pt idx="62">
                  <c:v>24500</c:v>
                </c:pt>
                <c:pt idx="63">
                  <c:v>24500</c:v>
                </c:pt>
                <c:pt idx="64">
                  <c:v>24500</c:v>
                </c:pt>
                <c:pt idx="65">
                  <c:v>#N/A</c:v>
                </c:pt>
                <c:pt idx="66">
                  <c:v>#N/A</c:v>
                </c:pt>
                <c:pt idx="67">
                  <c:v>24500</c:v>
                </c:pt>
                <c:pt idx="68">
                  <c:v>24500</c:v>
                </c:pt>
                <c:pt idx="69">
                  <c:v>24500</c:v>
                </c:pt>
                <c:pt idx="70">
                  <c:v>26500</c:v>
                </c:pt>
                <c:pt idx="71">
                  <c:v>26500</c:v>
                </c:pt>
                <c:pt idx="72">
                  <c:v>#N/A</c:v>
                </c:pt>
                <c:pt idx="73">
                  <c:v>#N/A</c:v>
                </c:pt>
                <c:pt idx="74">
                  <c:v>26500</c:v>
                </c:pt>
                <c:pt idx="75">
                  <c:v>26500</c:v>
                </c:pt>
                <c:pt idx="76">
                  <c:v>26500</c:v>
                </c:pt>
                <c:pt idx="77">
                  <c:v>29000</c:v>
                </c:pt>
                <c:pt idx="78">
                  <c:v>29000</c:v>
                </c:pt>
                <c:pt idx="79">
                  <c:v>#N/A</c:v>
                </c:pt>
                <c:pt idx="80">
                  <c:v>#N/A</c:v>
                </c:pt>
                <c:pt idx="81">
                  <c:v>29000</c:v>
                </c:pt>
                <c:pt idx="82">
                  <c:v>29000</c:v>
                </c:pt>
                <c:pt idx="83">
                  <c:v>29000</c:v>
                </c:pt>
                <c:pt idx="84">
                  <c:v>29000</c:v>
                </c:pt>
                <c:pt idx="85">
                  <c:v>29000</c:v>
                </c:pt>
                <c:pt idx="86">
                  <c:v>#N/A</c:v>
                </c:pt>
                <c:pt idx="87">
                  <c:v>#N/A</c:v>
                </c:pt>
                <c:pt idx="88">
                  <c:v>29000</c:v>
                </c:pt>
                <c:pt idx="89">
                  <c:v>29000</c:v>
                </c:pt>
                <c:pt idx="90">
                  <c:v>29000</c:v>
                </c:pt>
                <c:pt idx="91">
                  <c:v>29000</c:v>
                </c:pt>
                <c:pt idx="92">
                  <c:v>29000</c:v>
                </c:pt>
                <c:pt idx="93">
                  <c:v>#N/A</c:v>
                </c:pt>
                <c:pt idx="94">
                  <c:v>#N/A</c:v>
                </c:pt>
                <c:pt idx="95">
                  <c:v>#N/A</c:v>
                </c:pt>
                <c:pt idx="96">
                  <c:v>29000</c:v>
                </c:pt>
                <c:pt idx="97">
                  <c:v>29000</c:v>
                </c:pt>
                <c:pt idx="98">
                  <c:v>29000</c:v>
                </c:pt>
                <c:pt idx="99">
                  <c:v>29000</c:v>
                </c:pt>
                <c:pt idx="100">
                  <c:v>#N/A</c:v>
                </c:pt>
                <c:pt idx="101">
                  <c:v>#N/A</c:v>
                </c:pt>
                <c:pt idx="102">
                  <c:v>29000</c:v>
                </c:pt>
                <c:pt idx="103">
                  <c:v>29000</c:v>
                </c:pt>
                <c:pt idx="104">
                  <c:v>29000</c:v>
                </c:pt>
                <c:pt idx="105">
                  <c:v>29000</c:v>
                </c:pt>
                <c:pt idx="106">
                  <c:v>29000</c:v>
                </c:pt>
                <c:pt idx="107">
                  <c:v>#N/A</c:v>
                </c:pt>
                <c:pt idx="108">
                  <c:v>#N/A</c:v>
                </c:pt>
                <c:pt idx="109">
                  <c:v>29000</c:v>
                </c:pt>
                <c:pt idx="110">
                  <c:v>29000</c:v>
                </c:pt>
                <c:pt idx="111">
                  <c:v>29000</c:v>
                </c:pt>
                <c:pt idx="112">
                  <c:v>29000</c:v>
                </c:pt>
                <c:pt idx="113">
                  <c:v>29000</c:v>
                </c:pt>
                <c:pt idx="114">
                  <c:v>#N/A</c:v>
                </c:pt>
                <c:pt idx="115">
                  <c:v>29000</c:v>
                </c:pt>
                <c:pt idx="116">
                  <c:v>28500</c:v>
                </c:pt>
                <c:pt idx="117">
                  <c:v>28500</c:v>
                </c:pt>
                <c:pt idx="118">
                  <c:v>28500</c:v>
                </c:pt>
                <c:pt idx="119">
                  <c:v>28000</c:v>
                </c:pt>
                <c:pt idx="120">
                  <c:v>28000</c:v>
                </c:pt>
                <c:pt idx="121">
                  <c:v>#N/A</c:v>
                </c:pt>
                <c:pt idx="122">
                  <c:v>#N/A</c:v>
                </c:pt>
                <c:pt idx="123">
                  <c:v>#N/A</c:v>
                </c:pt>
                <c:pt idx="124">
                  <c:v>#N/A</c:v>
                </c:pt>
                <c:pt idx="125">
                  <c:v>#N/A</c:v>
                </c:pt>
                <c:pt idx="126">
                  <c:v>28000</c:v>
                </c:pt>
                <c:pt idx="127">
                  <c:v>26500</c:v>
                </c:pt>
                <c:pt idx="128">
                  <c:v>26000</c:v>
                </c:pt>
                <c:pt idx="129">
                  <c:v>#N/A</c:v>
                </c:pt>
                <c:pt idx="130">
                  <c:v>26000</c:v>
                </c:pt>
                <c:pt idx="131">
                  <c:v>26000</c:v>
                </c:pt>
                <c:pt idx="132">
                  <c:v>26000</c:v>
                </c:pt>
                <c:pt idx="133">
                  <c:v>26000</c:v>
                </c:pt>
                <c:pt idx="134">
                  <c:v>26000</c:v>
                </c:pt>
                <c:pt idx="135">
                  <c:v>#N/A</c:v>
                </c:pt>
                <c:pt idx="136">
                  <c:v>#N/A</c:v>
                </c:pt>
                <c:pt idx="137">
                  <c:v>26000</c:v>
                </c:pt>
                <c:pt idx="138">
                  <c:v>26500</c:v>
                </c:pt>
                <c:pt idx="139">
                  <c:v>26500</c:v>
                </c:pt>
                <c:pt idx="140">
                  <c:v>26500</c:v>
                </c:pt>
                <c:pt idx="141">
                  <c:v>26500</c:v>
                </c:pt>
                <c:pt idx="142">
                  <c:v>#N/A</c:v>
                </c:pt>
                <c:pt idx="143">
                  <c:v>#N/A</c:v>
                </c:pt>
                <c:pt idx="144">
                  <c:v>26500</c:v>
                </c:pt>
                <c:pt idx="145">
                  <c:v>26500</c:v>
                </c:pt>
                <c:pt idx="146">
                  <c:v>26500</c:v>
                </c:pt>
                <c:pt idx="147">
                  <c:v>26500</c:v>
                </c:pt>
                <c:pt idx="148">
                  <c:v>26500</c:v>
                </c:pt>
                <c:pt idx="149">
                  <c:v>#N/A</c:v>
                </c:pt>
                <c:pt idx="150">
                  <c:v>#N/A</c:v>
                </c:pt>
                <c:pt idx="151">
                  <c:v>26500</c:v>
                </c:pt>
                <c:pt idx="152">
                  <c:v>26500</c:v>
                </c:pt>
                <c:pt idx="153">
                  <c:v>26500</c:v>
                </c:pt>
                <c:pt idx="154">
                  <c:v>27000</c:v>
                </c:pt>
                <c:pt idx="155">
                  <c:v>27000</c:v>
                </c:pt>
                <c:pt idx="156">
                  <c:v>#N/A</c:v>
                </c:pt>
                <c:pt idx="157">
                  <c:v>#N/A</c:v>
                </c:pt>
                <c:pt idx="158">
                  <c:v>27000</c:v>
                </c:pt>
                <c:pt idx="159">
                  <c:v>27000</c:v>
                </c:pt>
                <c:pt idx="160">
                  <c:v>27000</c:v>
                </c:pt>
                <c:pt idx="161">
                  <c:v>27500</c:v>
                </c:pt>
                <c:pt idx="162">
                  <c:v>28000</c:v>
                </c:pt>
                <c:pt idx="163">
                  <c:v>#N/A</c:v>
                </c:pt>
                <c:pt idx="164">
                  <c:v>#N/A</c:v>
                </c:pt>
                <c:pt idx="165">
                  <c:v>#N/A</c:v>
                </c:pt>
                <c:pt idx="166">
                  <c:v>28000</c:v>
                </c:pt>
                <c:pt idx="167">
                  <c:v>30500</c:v>
                </c:pt>
                <c:pt idx="168">
                  <c:v>30500</c:v>
                </c:pt>
                <c:pt idx="169">
                  <c:v>30500</c:v>
                </c:pt>
                <c:pt idx="170">
                  <c:v>#N/A</c:v>
                </c:pt>
                <c:pt idx="171">
                  <c:v>#N/A</c:v>
                </c:pt>
                <c:pt idx="172">
                  <c:v>30500</c:v>
                </c:pt>
                <c:pt idx="173">
                  <c:v>30500</c:v>
                </c:pt>
                <c:pt idx="174">
                  <c:v>30500</c:v>
                </c:pt>
                <c:pt idx="175">
                  <c:v>30500</c:v>
                </c:pt>
                <c:pt idx="176">
                  <c:v>30500</c:v>
                </c:pt>
                <c:pt idx="177">
                  <c:v>#N/A</c:v>
                </c:pt>
                <c:pt idx="178">
                  <c:v>#N/A</c:v>
                </c:pt>
                <c:pt idx="179">
                  <c:v>30500</c:v>
                </c:pt>
                <c:pt idx="180">
                  <c:v>30500</c:v>
                </c:pt>
                <c:pt idx="181">
                  <c:v>30500</c:v>
                </c:pt>
                <c:pt idx="182">
                  <c:v>30500</c:v>
                </c:pt>
                <c:pt idx="183">
                  <c:v>30500</c:v>
                </c:pt>
                <c:pt idx="184">
                  <c:v>#N/A</c:v>
                </c:pt>
                <c:pt idx="185">
                  <c:v>#N/A</c:v>
                </c:pt>
                <c:pt idx="186">
                  <c:v>30500</c:v>
                </c:pt>
                <c:pt idx="187">
                  <c:v>30500</c:v>
                </c:pt>
                <c:pt idx="188">
                  <c:v>30500</c:v>
                </c:pt>
                <c:pt idx="189">
                  <c:v>30500</c:v>
                </c:pt>
                <c:pt idx="190">
                  <c:v>30500</c:v>
                </c:pt>
                <c:pt idx="191">
                  <c:v>#N/A</c:v>
                </c:pt>
                <c:pt idx="192">
                  <c:v>#N/A</c:v>
                </c:pt>
                <c:pt idx="193">
                  <c:v>30500</c:v>
                </c:pt>
                <c:pt idx="194">
                  <c:v>30500</c:v>
                </c:pt>
                <c:pt idx="195">
                  <c:v>30500</c:v>
                </c:pt>
                <c:pt idx="196">
                  <c:v>30500</c:v>
                </c:pt>
                <c:pt idx="197">
                  <c:v>30500</c:v>
                </c:pt>
                <c:pt idx="198">
                  <c:v>#N/A</c:v>
                </c:pt>
                <c:pt idx="199">
                  <c:v>#N/A</c:v>
                </c:pt>
                <c:pt idx="200">
                  <c:v>30500</c:v>
                </c:pt>
                <c:pt idx="201">
                  <c:v>30500</c:v>
                </c:pt>
                <c:pt idx="202">
                  <c:v>30500</c:v>
                </c:pt>
                <c:pt idx="203">
                  <c:v>30500</c:v>
                </c:pt>
                <c:pt idx="204">
                  <c:v>30500</c:v>
                </c:pt>
                <c:pt idx="205">
                  <c:v>#N/A</c:v>
                </c:pt>
                <c:pt idx="206">
                  <c:v>#N/A</c:v>
                </c:pt>
                <c:pt idx="207">
                  <c:v>30500</c:v>
                </c:pt>
                <c:pt idx="208">
                  <c:v>30500</c:v>
                </c:pt>
                <c:pt idx="209">
                  <c:v>30500</c:v>
                </c:pt>
                <c:pt idx="210">
                  <c:v>30500</c:v>
                </c:pt>
                <c:pt idx="211">
                  <c:v>30500</c:v>
                </c:pt>
                <c:pt idx="212">
                  <c:v>#N/A</c:v>
                </c:pt>
                <c:pt idx="213">
                  <c:v>#N/A</c:v>
                </c:pt>
                <c:pt idx="214">
                  <c:v>30500</c:v>
                </c:pt>
                <c:pt idx="215">
                  <c:v>30500</c:v>
                </c:pt>
                <c:pt idx="216">
                  <c:v>30500</c:v>
                </c:pt>
                <c:pt idx="217">
                  <c:v>30500</c:v>
                </c:pt>
                <c:pt idx="218">
                  <c:v>30500</c:v>
                </c:pt>
                <c:pt idx="219">
                  <c:v>#N/A</c:v>
                </c:pt>
                <c:pt idx="220">
                  <c:v>#N/A</c:v>
                </c:pt>
                <c:pt idx="221">
                  <c:v>30500</c:v>
                </c:pt>
                <c:pt idx="222">
                  <c:v>30700</c:v>
                </c:pt>
                <c:pt idx="223">
                  <c:v>30700</c:v>
                </c:pt>
                <c:pt idx="224">
                  <c:v>30700</c:v>
                </c:pt>
                <c:pt idx="225">
                  <c:v>30700</c:v>
                </c:pt>
                <c:pt idx="226">
                  <c:v>#N/A</c:v>
                </c:pt>
                <c:pt idx="227">
                  <c:v>#N/A</c:v>
                </c:pt>
                <c:pt idx="228">
                  <c:v>31500</c:v>
                </c:pt>
                <c:pt idx="229">
                  <c:v>31500</c:v>
                </c:pt>
                <c:pt idx="230">
                  <c:v>31500</c:v>
                </c:pt>
                <c:pt idx="231">
                  <c:v>33000</c:v>
                </c:pt>
                <c:pt idx="232">
                  <c:v>33000</c:v>
                </c:pt>
                <c:pt idx="233">
                  <c:v>#N/A</c:v>
                </c:pt>
                <c:pt idx="234">
                  <c:v>#N/A</c:v>
                </c:pt>
                <c:pt idx="235">
                  <c:v>33000</c:v>
                </c:pt>
                <c:pt idx="236">
                  <c:v>35000</c:v>
                </c:pt>
                <c:pt idx="237">
                  <c:v>36000</c:v>
                </c:pt>
                <c:pt idx="238">
                  <c:v>36000</c:v>
                </c:pt>
                <c:pt idx="239">
                  <c:v>36000</c:v>
                </c:pt>
                <c:pt idx="240">
                  <c:v>#N/A</c:v>
                </c:pt>
                <c:pt idx="241">
                  <c:v>#N/A</c:v>
                </c:pt>
                <c:pt idx="242">
                  <c:v>36000</c:v>
                </c:pt>
                <c:pt idx="243">
                  <c:v>36000</c:v>
                </c:pt>
                <c:pt idx="244">
                  <c:v>37500</c:v>
                </c:pt>
                <c:pt idx="245">
                  <c:v>37500</c:v>
                </c:pt>
                <c:pt idx="246">
                  <c:v>37500</c:v>
                </c:pt>
                <c:pt idx="247">
                  <c:v>#N/A</c:v>
                </c:pt>
                <c:pt idx="248">
                  <c:v>#N/A</c:v>
                </c:pt>
                <c:pt idx="249">
                  <c:v>37500</c:v>
                </c:pt>
                <c:pt idx="250">
                  <c:v>37500</c:v>
                </c:pt>
                <c:pt idx="251">
                  <c:v>37700</c:v>
                </c:pt>
                <c:pt idx="252">
                  <c:v>37700</c:v>
                </c:pt>
                <c:pt idx="253">
                  <c:v>37700</c:v>
                </c:pt>
                <c:pt idx="254">
                  <c:v>#N/A</c:v>
                </c:pt>
                <c:pt idx="255">
                  <c:v>#N/A</c:v>
                </c:pt>
                <c:pt idx="256">
                  <c:v>37700</c:v>
                </c:pt>
                <c:pt idx="257">
                  <c:v>38000</c:v>
                </c:pt>
                <c:pt idx="258">
                  <c:v>38000</c:v>
                </c:pt>
                <c:pt idx="259">
                  <c:v>38000</c:v>
                </c:pt>
                <c:pt idx="260">
                  <c:v>38000</c:v>
                </c:pt>
                <c:pt idx="261">
                  <c:v>38000</c:v>
                </c:pt>
                <c:pt idx="262">
                  <c:v>#N/A</c:v>
                </c:pt>
                <c:pt idx="263">
                  <c:v>#N/A</c:v>
                </c:pt>
                <c:pt idx="264">
                  <c:v>#N/A</c:v>
                </c:pt>
                <c:pt idx="265">
                  <c:v>43500</c:v>
                </c:pt>
                <c:pt idx="266">
                  <c:v>43500</c:v>
                </c:pt>
                <c:pt idx="267">
                  <c:v>43500</c:v>
                </c:pt>
                <c:pt idx="268">
                  <c:v>#N/A</c:v>
                </c:pt>
                <c:pt idx="269">
                  <c:v>60000</c:v>
                </c:pt>
                <c:pt idx="270">
                  <c:v>60000</c:v>
                </c:pt>
                <c:pt idx="271">
                  <c:v>60000</c:v>
                </c:pt>
                <c:pt idx="272">
                  <c:v>60000</c:v>
                </c:pt>
                <c:pt idx="273">
                  <c:v>60000</c:v>
                </c:pt>
                <c:pt idx="274">
                  <c:v>#N/A</c:v>
                </c:pt>
                <c:pt idx="275">
                  <c:v>#N/A</c:v>
                </c:pt>
                <c:pt idx="276">
                  <c:v>#N/A</c:v>
                </c:pt>
                <c:pt idx="277">
                  <c:v>#N/A</c:v>
                </c:pt>
                <c:pt idx="278">
                  <c:v>#N/A</c:v>
                </c:pt>
                <c:pt idx="279">
                  <c:v>#N/A</c:v>
                </c:pt>
                <c:pt idx="280">
                  <c:v>#N/A</c:v>
                </c:pt>
                <c:pt idx="281">
                  <c:v>60000</c:v>
                </c:pt>
                <c:pt idx="282">
                  <c:v>60000</c:v>
                </c:pt>
                <c:pt idx="283">
                  <c:v>#N/A</c:v>
                </c:pt>
                <c:pt idx="284">
                  <c:v>60000</c:v>
                </c:pt>
                <c:pt idx="285">
                  <c:v>60000</c:v>
                </c:pt>
                <c:pt idx="286">
                  <c:v>60000</c:v>
                </c:pt>
                <c:pt idx="287">
                  <c:v>60000</c:v>
                </c:pt>
                <c:pt idx="288">
                  <c:v>60000</c:v>
                </c:pt>
                <c:pt idx="289">
                  <c:v>#N/A</c:v>
                </c:pt>
                <c:pt idx="290">
                  <c:v>#N/A</c:v>
                </c:pt>
                <c:pt idx="291">
                  <c:v>60000</c:v>
                </c:pt>
                <c:pt idx="292">
                  <c:v>60000</c:v>
                </c:pt>
                <c:pt idx="293">
                  <c:v>60000</c:v>
                </c:pt>
                <c:pt idx="294">
                  <c:v>60000</c:v>
                </c:pt>
                <c:pt idx="295">
                  <c:v>60000</c:v>
                </c:pt>
                <c:pt idx="296">
                  <c:v>#N/A</c:v>
                </c:pt>
                <c:pt idx="297">
                  <c:v>#N/A</c:v>
                </c:pt>
                <c:pt idx="298">
                  <c:v>57000</c:v>
                </c:pt>
                <c:pt idx="299">
                  <c:v>57000</c:v>
                </c:pt>
                <c:pt idx="300">
                  <c:v>54000</c:v>
                </c:pt>
                <c:pt idx="301">
                  <c:v>54000</c:v>
                </c:pt>
                <c:pt idx="302">
                  <c:v>54000</c:v>
                </c:pt>
                <c:pt idx="303">
                  <c:v>#N/A</c:v>
                </c:pt>
                <c:pt idx="304">
                  <c:v>#N/A</c:v>
                </c:pt>
                <c:pt idx="305">
                  <c:v>54000</c:v>
                </c:pt>
                <c:pt idx="306">
                  <c:v>43000</c:v>
                </c:pt>
                <c:pt idx="307">
                  <c:v>43000</c:v>
                </c:pt>
                <c:pt idx="308">
                  <c:v>43000</c:v>
                </c:pt>
                <c:pt idx="309">
                  <c:v>34000</c:v>
                </c:pt>
                <c:pt idx="310">
                  <c:v>#N/A</c:v>
                </c:pt>
                <c:pt idx="311">
                  <c:v>#N/A</c:v>
                </c:pt>
                <c:pt idx="312">
                  <c:v>31000</c:v>
                </c:pt>
                <c:pt idx="313">
                  <c:v>31000</c:v>
                </c:pt>
                <c:pt idx="314">
                  <c:v>31000</c:v>
                </c:pt>
                <c:pt idx="315">
                  <c:v>31000</c:v>
                </c:pt>
                <c:pt idx="316">
                  <c:v>31000</c:v>
                </c:pt>
                <c:pt idx="317">
                  <c:v>#N/A</c:v>
                </c:pt>
                <c:pt idx="318">
                  <c:v>#N/A</c:v>
                </c:pt>
                <c:pt idx="319">
                  <c:v>31000</c:v>
                </c:pt>
                <c:pt idx="320">
                  <c:v>31000</c:v>
                </c:pt>
                <c:pt idx="321">
                  <c:v>31000</c:v>
                </c:pt>
                <c:pt idx="322">
                  <c:v>31000</c:v>
                </c:pt>
                <c:pt idx="323">
                  <c:v>31500</c:v>
                </c:pt>
                <c:pt idx="324">
                  <c:v>#N/A</c:v>
                </c:pt>
                <c:pt idx="325">
                  <c:v>#N/A</c:v>
                </c:pt>
                <c:pt idx="326">
                  <c:v>31500</c:v>
                </c:pt>
                <c:pt idx="327">
                  <c:v>31500</c:v>
                </c:pt>
                <c:pt idx="328">
                  <c:v>31500</c:v>
                </c:pt>
                <c:pt idx="329">
                  <c:v>31500</c:v>
                </c:pt>
                <c:pt idx="330">
                  <c:v>31500</c:v>
                </c:pt>
                <c:pt idx="331">
                  <c:v>#N/A</c:v>
                </c:pt>
                <c:pt idx="332">
                  <c:v>#N/A</c:v>
                </c:pt>
                <c:pt idx="333">
                  <c:v>31500</c:v>
                </c:pt>
                <c:pt idx="334">
                  <c:v>31000</c:v>
                </c:pt>
                <c:pt idx="335">
                  <c:v>31000</c:v>
                </c:pt>
                <c:pt idx="336">
                  <c:v>31000</c:v>
                </c:pt>
                <c:pt idx="337">
                  <c:v>31000</c:v>
                </c:pt>
                <c:pt idx="338">
                  <c:v>#N/A</c:v>
                </c:pt>
                <c:pt idx="339">
                  <c:v>#N/A</c:v>
                </c:pt>
                <c:pt idx="340">
                  <c:v>30000</c:v>
                </c:pt>
                <c:pt idx="341">
                  <c:v>30000</c:v>
                </c:pt>
                <c:pt idx="342">
                  <c:v>26500</c:v>
                </c:pt>
                <c:pt idx="343">
                  <c:v>26500</c:v>
                </c:pt>
                <c:pt idx="344">
                  <c:v>26500</c:v>
                </c:pt>
                <c:pt idx="345">
                  <c:v>#N/A</c:v>
                </c:pt>
                <c:pt idx="346">
                  <c:v>#N/A</c:v>
                </c:pt>
                <c:pt idx="347">
                  <c:v>26500</c:v>
                </c:pt>
                <c:pt idx="348">
                  <c:v>26500</c:v>
                </c:pt>
                <c:pt idx="349">
                  <c:v>23500</c:v>
                </c:pt>
                <c:pt idx="350">
                  <c:v>23500</c:v>
                </c:pt>
                <c:pt idx="351">
                  <c:v>23500</c:v>
                </c:pt>
                <c:pt idx="352">
                  <c:v>#N/A</c:v>
                </c:pt>
                <c:pt idx="353">
                  <c:v>#N/A</c:v>
                </c:pt>
                <c:pt idx="354">
                  <c:v>23500</c:v>
                </c:pt>
                <c:pt idx="355">
                  <c:v>24500</c:v>
                </c:pt>
                <c:pt idx="356">
                  <c:v>24500</c:v>
                </c:pt>
                <c:pt idx="357">
                  <c:v>24500</c:v>
                </c:pt>
                <c:pt idx="358">
                  <c:v>24500</c:v>
                </c:pt>
                <c:pt idx="359">
                  <c:v>#N/A</c:v>
                </c:pt>
                <c:pt idx="360">
                  <c:v>#N/A</c:v>
                </c:pt>
                <c:pt idx="361">
                  <c:v>24500</c:v>
                </c:pt>
                <c:pt idx="362">
                  <c:v>25000</c:v>
                </c:pt>
                <c:pt idx="363">
                  <c:v>25800</c:v>
                </c:pt>
                <c:pt idx="364">
                  <c:v>25800</c:v>
                </c:pt>
                <c:pt idx="365">
                  <c:v>25800</c:v>
                </c:pt>
              </c:numCache>
            </c:numRef>
          </c:val>
          <c:smooth val="0"/>
          <c:extLst>
            <c:ext xmlns:c16="http://schemas.microsoft.com/office/drawing/2014/chart" uri="{C3380CC4-5D6E-409C-BE32-E72D297353CC}">
              <c16:uniqueId val="{00000000-DE2E-4316-A713-3E407B26294A}"/>
            </c:ext>
          </c:extLst>
        </c:ser>
        <c:ser>
          <c:idx val="1"/>
          <c:order val="1"/>
          <c:tx>
            <c:strRef>
              <c:f>DMC价格!$R$3</c:f>
              <c:strCache>
                <c:ptCount val="1"/>
                <c:pt idx="0">
                  <c:v>2022</c:v>
                </c:pt>
              </c:strCache>
            </c:strRef>
          </c:tx>
          <c:spPr>
            <a:ln w="19050" cap="rnd">
              <a:solidFill>
                <a:schemeClr val="bg1">
                  <a:lumMod val="65000"/>
                </a:schemeClr>
              </a:solidFill>
              <a:round/>
            </a:ln>
            <a:effectLst/>
          </c:spPr>
          <c:marker>
            <c:symbol val="none"/>
          </c:marker>
          <c:cat>
            <c:strRef>
              <c:f>DMC价格!$O$4:$O$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DMC价格!$R$4:$R$369</c:f>
              <c:numCache>
                <c:formatCode>General</c:formatCode>
                <c:ptCount val="366"/>
                <c:pt idx="0">
                  <c:v>#N/A</c:v>
                </c:pt>
                <c:pt idx="1">
                  <c:v>#N/A</c:v>
                </c:pt>
                <c:pt idx="2">
                  <c:v>#N/A</c:v>
                </c:pt>
                <c:pt idx="3">
                  <c:v>26500</c:v>
                </c:pt>
                <c:pt idx="4">
                  <c:v>27000</c:v>
                </c:pt>
                <c:pt idx="5">
                  <c:v>27000</c:v>
                </c:pt>
                <c:pt idx="6">
                  <c:v>27000</c:v>
                </c:pt>
                <c:pt idx="7">
                  <c:v>#N/A</c:v>
                </c:pt>
                <c:pt idx="8">
                  <c:v>#N/A</c:v>
                </c:pt>
                <c:pt idx="9">
                  <c:v>28500</c:v>
                </c:pt>
                <c:pt idx="10">
                  <c:v>28500</c:v>
                </c:pt>
                <c:pt idx="11">
                  <c:v>30000</c:v>
                </c:pt>
                <c:pt idx="12">
                  <c:v>30000</c:v>
                </c:pt>
                <c:pt idx="13">
                  <c:v>30000</c:v>
                </c:pt>
                <c:pt idx="14">
                  <c:v>#N/A</c:v>
                </c:pt>
                <c:pt idx="15">
                  <c:v>#N/A</c:v>
                </c:pt>
                <c:pt idx="16">
                  <c:v>31500</c:v>
                </c:pt>
                <c:pt idx="17">
                  <c:v>31500</c:v>
                </c:pt>
                <c:pt idx="18">
                  <c:v>31500</c:v>
                </c:pt>
                <c:pt idx="19">
                  <c:v>31500</c:v>
                </c:pt>
                <c:pt idx="20">
                  <c:v>31500</c:v>
                </c:pt>
                <c:pt idx="21">
                  <c:v>#N/A</c:v>
                </c:pt>
                <c:pt idx="22">
                  <c:v>#N/A</c:v>
                </c:pt>
                <c:pt idx="23">
                  <c:v>31500</c:v>
                </c:pt>
                <c:pt idx="24">
                  <c:v>31500</c:v>
                </c:pt>
                <c:pt idx="25">
                  <c:v>31500</c:v>
                </c:pt>
                <c:pt idx="26">
                  <c:v>31500</c:v>
                </c:pt>
                <c:pt idx="27">
                  <c:v>31500</c:v>
                </c:pt>
                <c:pt idx="28">
                  <c:v>31500</c:v>
                </c:pt>
                <c:pt idx="29">
                  <c:v>31500</c:v>
                </c:pt>
                <c:pt idx="30">
                  <c:v>#N/A</c:v>
                </c:pt>
                <c:pt idx="31">
                  <c:v>#N/A</c:v>
                </c:pt>
                <c:pt idx="32">
                  <c:v>#N/A</c:v>
                </c:pt>
                <c:pt idx="33">
                  <c:v>#N/A</c:v>
                </c:pt>
                <c:pt idx="34">
                  <c:v>#N/A</c:v>
                </c:pt>
                <c:pt idx="35">
                  <c:v>#N/A</c:v>
                </c:pt>
                <c:pt idx="36">
                  <c:v>#N/A</c:v>
                </c:pt>
                <c:pt idx="37">
                  <c:v>31500</c:v>
                </c:pt>
                <c:pt idx="38">
                  <c:v>31500</c:v>
                </c:pt>
                <c:pt idx="39">
                  <c:v>31500</c:v>
                </c:pt>
                <c:pt idx="40">
                  <c:v>31500</c:v>
                </c:pt>
                <c:pt idx="41">
                  <c:v>31500</c:v>
                </c:pt>
                <c:pt idx="42">
                  <c:v>#N/A</c:v>
                </c:pt>
                <c:pt idx="43">
                  <c:v>#N/A</c:v>
                </c:pt>
                <c:pt idx="44">
                  <c:v>31800</c:v>
                </c:pt>
                <c:pt idx="45">
                  <c:v>31800</c:v>
                </c:pt>
                <c:pt idx="46">
                  <c:v>32500</c:v>
                </c:pt>
                <c:pt idx="47">
                  <c:v>32500</c:v>
                </c:pt>
                <c:pt idx="48">
                  <c:v>32500</c:v>
                </c:pt>
                <c:pt idx="49">
                  <c:v>#N/A</c:v>
                </c:pt>
                <c:pt idx="50">
                  <c:v>#N/A</c:v>
                </c:pt>
                <c:pt idx="51">
                  <c:v>32800</c:v>
                </c:pt>
                <c:pt idx="52">
                  <c:v>33500</c:v>
                </c:pt>
                <c:pt idx="53">
                  <c:v>34500</c:v>
                </c:pt>
                <c:pt idx="54">
                  <c:v>35000</c:v>
                </c:pt>
                <c:pt idx="55">
                  <c:v>35000</c:v>
                </c:pt>
                <c:pt idx="56">
                  <c:v>#N/A</c:v>
                </c:pt>
                <c:pt idx="57">
                  <c:v>#N/A</c:v>
                </c:pt>
                <c:pt idx="58">
                  <c:v>35000</c:v>
                </c:pt>
                <c:pt idx="60">
                  <c:v>35500</c:v>
                </c:pt>
                <c:pt idx="61">
                  <c:v>37500</c:v>
                </c:pt>
                <c:pt idx="62">
                  <c:v>37500</c:v>
                </c:pt>
                <c:pt idx="63">
                  <c:v>37500</c:v>
                </c:pt>
                <c:pt idx="64">
                  <c:v>#N/A</c:v>
                </c:pt>
                <c:pt idx="65">
                  <c:v>#N/A</c:v>
                </c:pt>
                <c:pt idx="66">
                  <c:v>38500</c:v>
                </c:pt>
                <c:pt idx="67">
                  <c:v>39000</c:v>
                </c:pt>
                <c:pt idx="68">
                  <c:v>39000</c:v>
                </c:pt>
                <c:pt idx="69">
                  <c:v>39000</c:v>
                </c:pt>
                <c:pt idx="70">
                  <c:v>39000</c:v>
                </c:pt>
                <c:pt idx="71">
                  <c:v>#N/A</c:v>
                </c:pt>
                <c:pt idx="72">
                  <c:v>#N/A</c:v>
                </c:pt>
                <c:pt idx="73">
                  <c:v>38000</c:v>
                </c:pt>
                <c:pt idx="74">
                  <c:v>38000</c:v>
                </c:pt>
                <c:pt idx="75">
                  <c:v>38000</c:v>
                </c:pt>
                <c:pt idx="76">
                  <c:v>38000</c:v>
                </c:pt>
                <c:pt idx="77">
                  <c:v>38000</c:v>
                </c:pt>
                <c:pt idx="78">
                  <c:v>#N/A</c:v>
                </c:pt>
                <c:pt idx="79">
                  <c:v>#N/A</c:v>
                </c:pt>
                <c:pt idx="80">
                  <c:v>37000</c:v>
                </c:pt>
                <c:pt idx="81">
                  <c:v>36000</c:v>
                </c:pt>
                <c:pt idx="82">
                  <c:v>36000</c:v>
                </c:pt>
                <c:pt idx="83">
                  <c:v>33000</c:v>
                </c:pt>
                <c:pt idx="84">
                  <c:v>32000</c:v>
                </c:pt>
                <c:pt idx="85">
                  <c:v>#N/A</c:v>
                </c:pt>
                <c:pt idx="86">
                  <c:v>#N/A</c:v>
                </c:pt>
                <c:pt idx="87">
                  <c:v>32000</c:v>
                </c:pt>
                <c:pt idx="88">
                  <c:v>30000</c:v>
                </c:pt>
                <c:pt idx="89">
                  <c:v>28000</c:v>
                </c:pt>
                <c:pt idx="90">
                  <c:v>27500</c:v>
                </c:pt>
                <c:pt idx="91">
                  <c:v>27500</c:v>
                </c:pt>
                <c:pt idx="92">
                  <c:v>27500</c:v>
                </c:pt>
                <c:pt idx="93">
                  <c:v>#N/A</c:v>
                </c:pt>
                <c:pt idx="94">
                  <c:v>#N/A</c:v>
                </c:pt>
                <c:pt idx="95">
                  <c:v>#N/A</c:v>
                </c:pt>
                <c:pt idx="96">
                  <c:v>27500</c:v>
                </c:pt>
                <c:pt idx="97">
                  <c:v>27500</c:v>
                </c:pt>
                <c:pt idx="98">
                  <c:v>27500</c:v>
                </c:pt>
                <c:pt idx="99">
                  <c:v>#N/A</c:v>
                </c:pt>
                <c:pt idx="100">
                  <c:v>#N/A</c:v>
                </c:pt>
                <c:pt idx="101">
                  <c:v>28000</c:v>
                </c:pt>
                <c:pt idx="102">
                  <c:v>28000</c:v>
                </c:pt>
                <c:pt idx="103">
                  <c:v>28000</c:v>
                </c:pt>
                <c:pt idx="104">
                  <c:v>28000</c:v>
                </c:pt>
                <c:pt idx="105">
                  <c:v>28000</c:v>
                </c:pt>
                <c:pt idx="106">
                  <c:v>#N/A</c:v>
                </c:pt>
                <c:pt idx="107">
                  <c:v>#N/A</c:v>
                </c:pt>
                <c:pt idx="108">
                  <c:v>28000</c:v>
                </c:pt>
                <c:pt idx="109">
                  <c:v>28000</c:v>
                </c:pt>
                <c:pt idx="110">
                  <c:v>28000</c:v>
                </c:pt>
                <c:pt idx="111">
                  <c:v>28000</c:v>
                </c:pt>
                <c:pt idx="112">
                  <c:v>28000</c:v>
                </c:pt>
                <c:pt idx="113">
                  <c:v>#N/A</c:v>
                </c:pt>
                <c:pt idx="114">
                  <c:v>28000</c:v>
                </c:pt>
                <c:pt idx="115">
                  <c:v>28000</c:v>
                </c:pt>
                <c:pt idx="116">
                  <c:v>27500</c:v>
                </c:pt>
                <c:pt idx="117">
                  <c:v>27500</c:v>
                </c:pt>
                <c:pt idx="118">
                  <c:v>27500</c:v>
                </c:pt>
                <c:pt idx="119">
                  <c:v>27500</c:v>
                </c:pt>
                <c:pt idx="120">
                  <c:v>#N/A</c:v>
                </c:pt>
                <c:pt idx="121">
                  <c:v>#N/A</c:v>
                </c:pt>
                <c:pt idx="122">
                  <c:v>#N/A</c:v>
                </c:pt>
                <c:pt idx="123">
                  <c:v>#N/A</c:v>
                </c:pt>
                <c:pt idx="124">
                  <c:v>#N/A</c:v>
                </c:pt>
                <c:pt idx="125">
                  <c:v>27000</c:v>
                </c:pt>
                <c:pt idx="126">
                  <c:v>26500</c:v>
                </c:pt>
                <c:pt idx="127">
                  <c:v>26500</c:v>
                </c:pt>
                <c:pt idx="128">
                  <c:v>#N/A</c:v>
                </c:pt>
                <c:pt idx="129">
                  <c:v>26500</c:v>
                </c:pt>
                <c:pt idx="130">
                  <c:v>26500</c:v>
                </c:pt>
                <c:pt idx="131">
                  <c:v>26500</c:v>
                </c:pt>
                <c:pt idx="132">
                  <c:v>26500</c:v>
                </c:pt>
                <c:pt idx="133">
                  <c:v>26500</c:v>
                </c:pt>
                <c:pt idx="134">
                  <c:v>#N/A</c:v>
                </c:pt>
                <c:pt idx="135">
                  <c:v>#N/A</c:v>
                </c:pt>
                <c:pt idx="136">
                  <c:v>26500</c:v>
                </c:pt>
                <c:pt idx="137">
                  <c:v>26300</c:v>
                </c:pt>
                <c:pt idx="138">
                  <c:v>26000</c:v>
                </c:pt>
                <c:pt idx="139">
                  <c:v>26000</c:v>
                </c:pt>
                <c:pt idx="140">
                  <c:v>25500</c:v>
                </c:pt>
                <c:pt idx="141">
                  <c:v>#N/A</c:v>
                </c:pt>
                <c:pt idx="142">
                  <c:v>#N/A</c:v>
                </c:pt>
                <c:pt idx="143">
                  <c:v>25500</c:v>
                </c:pt>
                <c:pt idx="144">
                  <c:v>24500</c:v>
                </c:pt>
                <c:pt idx="145">
                  <c:v>24500</c:v>
                </c:pt>
                <c:pt idx="146">
                  <c:v>24000</c:v>
                </c:pt>
                <c:pt idx="147">
                  <c:v>24000</c:v>
                </c:pt>
                <c:pt idx="148">
                  <c:v>#N/A</c:v>
                </c:pt>
                <c:pt idx="149">
                  <c:v>#N/A</c:v>
                </c:pt>
                <c:pt idx="150">
                  <c:v>23200</c:v>
                </c:pt>
                <c:pt idx="151">
                  <c:v>22000</c:v>
                </c:pt>
                <c:pt idx="152">
                  <c:v>22000</c:v>
                </c:pt>
                <c:pt idx="153">
                  <c:v>22000</c:v>
                </c:pt>
                <c:pt idx="154">
                  <c:v>#N/A</c:v>
                </c:pt>
                <c:pt idx="155">
                  <c:v>#N/A</c:v>
                </c:pt>
                <c:pt idx="156">
                  <c:v>#N/A</c:v>
                </c:pt>
                <c:pt idx="157">
                  <c:v>21000</c:v>
                </c:pt>
                <c:pt idx="158">
                  <c:v>20500</c:v>
                </c:pt>
                <c:pt idx="159">
                  <c:v>21500</c:v>
                </c:pt>
                <c:pt idx="160">
                  <c:v>22500</c:v>
                </c:pt>
                <c:pt idx="161">
                  <c:v>22500</c:v>
                </c:pt>
                <c:pt idx="162">
                  <c:v>#N/A</c:v>
                </c:pt>
                <c:pt idx="163">
                  <c:v>#N/A</c:v>
                </c:pt>
                <c:pt idx="164">
                  <c:v>22500</c:v>
                </c:pt>
                <c:pt idx="165">
                  <c:v>22500</c:v>
                </c:pt>
                <c:pt idx="166">
                  <c:v>22500</c:v>
                </c:pt>
                <c:pt idx="167">
                  <c:v>22500</c:v>
                </c:pt>
                <c:pt idx="168">
                  <c:v>21500</c:v>
                </c:pt>
                <c:pt idx="169">
                  <c:v>#N/A</c:v>
                </c:pt>
                <c:pt idx="170">
                  <c:v>#N/A</c:v>
                </c:pt>
                <c:pt idx="171">
                  <c:v>21500</c:v>
                </c:pt>
                <c:pt idx="172">
                  <c:v>20800</c:v>
                </c:pt>
                <c:pt idx="173">
                  <c:v>20800</c:v>
                </c:pt>
                <c:pt idx="174">
                  <c:v>20800</c:v>
                </c:pt>
                <c:pt idx="175">
                  <c:v>20800</c:v>
                </c:pt>
                <c:pt idx="176">
                  <c:v>#N/A</c:v>
                </c:pt>
                <c:pt idx="177">
                  <c:v>#N/A</c:v>
                </c:pt>
                <c:pt idx="178">
                  <c:v>20800</c:v>
                </c:pt>
                <c:pt idx="179">
                  <c:v>20000</c:v>
                </c:pt>
                <c:pt idx="180">
                  <c:v>20000</c:v>
                </c:pt>
                <c:pt idx="181">
                  <c:v>20000</c:v>
                </c:pt>
                <c:pt idx="182">
                  <c:v>19000</c:v>
                </c:pt>
                <c:pt idx="183">
                  <c:v>#N/A</c:v>
                </c:pt>
                <c:pt idx="184">
                  <c:v>#N/A</c:v>
                </c:pt>
                <c:pt idx="185">
                  <c:v>19500</c:v>
                </c:pt>
                <c:pt idx="186">
                  <c:v>19500</c:v>
                </c:pt>
                <c:pt idx="187">
                  <c:v>20000</c:v>
                </c:pt>
                <c:pt idx="188">
                  <c:v>20000</c:v>
                </c:pt>
                <c:pt idx="189">
                  <c:v>20500</c:v>
                </c:pt>
                <c:pt idx="190">
                  <c:v>#N/A</c:v>
                </c:pt>
                <c:pt idx="191">
                  <c:v>#N/A</c:v>
                </c:pt>
                <c:pt idx="192">
                  <c:v>21000</c:v>
                </c:pt>
                <c:pt idx="193">
                  <c:v>21000</c:v>
                </c:pt>
                <c:pt idx="194">
                  <c:v>21000</c:v>
                </c:pt>
                <c:pt idx="195">
                  <c:v>21000</c:v>
                </c:pt>
                <c:pt idx="196">
                  <c:v>21000</c:v>
                </c:pt>
                <c:pt idx="197">
                  <c:v>#N/A</c:v>
                </c:pt>
                <c:pt idx="198">
                  <c:v>#N/A</c:v>
                </c:pt>
                <c:pt idx="199">
                  <c:v>21000</c:v>
                </c:pt>
                <c:pt idx="200">
                  <c:v>21000</c:v>
                </c:pt>
                <c:pt idx="201">
                  <c:v>21000</c:v>
                </c:pt>
                <c:pt idx="202">
                  <c:v>20500</c:v>
                </c:pt>
                <c:pt idx="203">
                  <c:v>20500</c:v>
                </c:pt>
                <c:pt idx="204">
                  <c:v>#N/A</c:v>
                </c:pt>
                <c:pt idx="205">
                  <c:v>#N/A</c:v>
                </c:pt>
                <c:pt idx="206">
                  <c:v>20500</c:v>
                </c:pt>
                <c:pt idx="207">
                  <c:v>20500</c:v>
                </c:pt>
                <c:pt idx="208">
                  <c:v>20500</c:v>
                </c:pt>
                <c:pt idx="209">
                  <c:v>20000</c:v>
                </c:pt>
                <c:pt idx="210">
                  <c:v>20000</c:v>
                </c:pt>
                <c:pt idx="211">
                  <c:v>#N/A</c:v>
                </c:pt>
                <c:pt idx="212">
                  <c:v>#N/A</c:v>
                </c:pt>
                <c:pt idx="213">
                  <c:v>19500</c:v>
                </c:pt>
                <c:pt idx="214">
                  <c:v>19500</c:v>
                </c:pt>
                <c:pt idx="215">
                  <c:v>19500</c:v>
                </c:pt>
                <c:pt idx="216">
                  <c:v>19500</c:v>
                </c:pt>
                <c:pt idx="217">
                  <c:v>19000</c:v>
                </c:pt>
                <c:pt idx="218">
                  <c:v>#N/A</c:v>
                </c:pt>
                <c:pt idx="219">
                  <c:v>#N/A</c:v>
                </c:pt>
                <c:pt idx="220">
                  <c:v>19000</c:v>
                </c:pt>
                <c:pt idx="221">
                  <c:v>19000</c:v>
                </c:pt>
                <c:pt idx="222">
                  <c:v>19000</c:v>
                </c:pt>
                <c:pt idx="223">
                  <c:v>19000</c:v>
                </c:pt>
                <c:pt idx="224">
                  <c:v>19000</c:v>
                </c:pt>
                <c:pt idx="225">
                  <c:v>#N/A</c:v>
                </c:pt>
                <c:pt idx="226">
                  <c:v>#N/A</c:v>
                </c:pt>
                <c:pt idx="227">
                  <c:v>19300</c:v>
                </c:pt>
                <c:pt idx="228">
                  <c:v>20000</c:v>
                </c:pt>
                <c:pt idx="229">
                  <c:v>20500</c:v>
                </c:pt>
                <c:pt idx="230">
                  <c:v>21000</c:v>
                </c:pt>
                <c:pt idx="231">
                  <c:v>21000</c:v>
                </c:pt>
                <c:pt idx="232">
                  <c:v>#N/A</c:v>
                </c:pt>
                <c:pt idx="233">
                  <c:v>#N/A</c:v>
                </c:pt>
                <c:pt idx="234">
                  <c:v>21000</c:v>
                </c:pt>
                <c:pt idx="235">
                  <c:v>21300</c:v>
                </c:pt>
                <c:pt idx="236">
                  <c:v>21300</c:v>
                </c:pt>
                <c:pt idx="237">
                  <c:v>21300</c:v>
                </c:pt>
                <c:pt idx="238">
                  <c:v>20500</c:v>
                </c:pt>
                <c:pt idx="239">
                  <c:v>#N/A</c:v>
                </c:pt>
                <c:pt idx="240">
                  <c:v>#N/A</c:v>
                </c:pt>
                <c:pt idx="241">
                  <c:v>19800</c:v>
                </c:pt>
                <c:pt idx="242">
                  <c:v>19800</c:v>
                </c:pt>
                <c:pt idx="243">
                  <c:v>19800</c:v>
                </c:pt>
                <c:pt idx="244">
                  <c:v>19800</c:v>
                </c:pt>
                <c:pt idx="245">
                  <c:v>19800</c:v>
                </c:pt>
                <c:pt idx="246">
                  <c:v>#N/A</c:v>
                </c:pt>
                <c:pt idx="247">
                  <c:v>#N/A</c:v>
                </c:pt>
                <c:pt idx="248">
                  <c:v>19800</c:v>
                </c:pt>
                <c:pt idx="249">
                  <c:v>19800</c:v>
                </c:pt>
                <c:pt idx="250">
                  <c:v>19800</c:v>
                </c:pt>
                <c:pt idx="251">
                  <c:v>19800</c:v>
                </c:pt>
                <c:pt idx="252">
                  <c:v>19800</c:v>
                </c:pt>
                <c:pt idx="253">
                  <c:v>#N/A</c:v>
                </c:pt>
                <c:pt idx="254">
                  <c:v>#N/A</c:v>
                </c:pt>
                <c:pt idx="255">
                  <c:v>#N/A</c:v>
                </c:pt>
                <c:pt idx="256">
                  <c:v>19800</c:v>
                </c:pt>
                <c:pt idx="257">
                  <c:v>19800</c:v>
                </c:pt>
                <c:pt idx="258">
                  <c:v>19500</c:v>
                </c:pt>
                <c:pt idx="259">
                  <c:v>19500</c:v>
                </c:pt>
                <c:pt idx="260">
                  <c:v>#N/A</c:v>
                </c:pt>
                <c:pt idx="261">
                  <c:v>#N/A</c:v>
                </c:pt>
                <c:pt idx="262">
                  <c:v>19500</c:v>
                </c:pt>
                <c:pt idx="263">
                  <c:v>19500</c:v>
                </c:pt>
                <c:pt idx="264">
                  <c:v>19500</c:v>
                </c:pt>
                <c:pt idx="265">
                  <c:v>19200</c:v>
                </c:pt>
                <c:pt idx="266">
                  <c:v>19000</c:v>
                </c:pt>
                <c:pt idx="267">
                  <c:v>#N/A</c:v>
                </c:pt>
                <c:pt idx="268">
                  <c:v>#N/A</c:v>
                </c:pt>
                <c:pt idx="269">
                  <c:v>18800</c:v>
                </c:pt>
                <c:pt idx="270">
                  <c:v>18800</c:v>
                </c:pt>
                <c:pt idx="271">
                  <c:v>18500</c:v>
                </c:pt>
                <c:pt idx="272">
                  <c:v>18500</c:v>
                </c:pt>
                <c:pt idx="273">
                  <c:v>18500</c:v>
                </c:pt>
                <c:pt idx="274">
                  <c:v>#N/A</c:v>
                </c:pt>
                <c:pt idx="275">
                  <c:v>#N/A</c:v>
                </c:pt>
                <c:pt idx="276">
                  <c:v>#N/A</c:v>
                </c:pt>
                <c:pt idx="277">
                  <c:v>#N/A</c:v>
                </c:pt>
                <c:pt idx="278">
                  <c:v>#N/A</c:v>
                </c:pt>
                <c:pt idx="279">
                  <c:v>#N/A</c:v>
                </c:pt>
                <c:pt idx="280">
                  <c:v>#N/A</c:v>
                </c:pt>
                <c:pt idx="281">
                  <c:v>18500</c:v>
                </c:pt>
                <c:pt idx="282">
                  <c:v>18000</c:v>
                </c:pt>
                <c:pt idx="283">
                  <c:v>18000</c:v>
                </c:pt>
                <c:pt idx="284">
                  <c:v>18000</c:v>
                </c:pt>
                <c:pt idx="285">
                  <c:v>18000</c:v>
                </c:pt>
                <c:pt idx="286">
                  <c:v>18000</c:v>
                </c:pt>
                <c:pt idx="287">
                  <c:v>18000</c:v>
                </c:pt>
                <c:pt idx="288">
                  <c:v>#N/A</c:v>
                </c:pt>
                <c:pt idx="289">
                  <c:v>#N/A</c:v>
                </c:pt>
                <c:pt idx="290">
                  <c:v>18000</c:v>
                </c:pt>
                <c:pt idx="291">
                  <c:v>18000</c:v>
                </c:pt>
                <c:pt idx="292">
                  <c:v>18000</c:v>
                </c:pt>
                <c:pt idx="293">
                  <c:v>18000</c:v>
                </c:pt>
                <c:pt idx="294">
                  <c:v>18000</c:v>
                </c:pt>
                <c:pt idx="295">
                  <c:v>#N/A</c:v>
                </c:pt>
                <c:pt idx="296">
                  <c:v>#N/A</c:v>
                </c:pt>
                <c:pt idx="297">
                  <c:v>18000</c:v>
                </c:pt>
                <c:pt idx="298">
                  <c:v>18000</c:v>
                </c:pt>
                <c:pt idx="299">
                  <c:v>18000</c:v>
                </c:pt>
                <c:pt idx="300">
                  <c:v>18000</c:v>
                </c:pt>
                <c:pt idx="301">
                  <c:v>18000</c:v>
                </c:pt>
                <c:pt idx="302">
                  <c:v>#N/A</c:v>
                </c:pt>
                <c:pt idx="303">
                  <c:v>#N/A</c:v>
                </c:pt>
                <c:pt idx="304">
                  <c:v>18000</c:v>
                </c:pt>
                <c:pt idx="305">
                  <c:v>18000</c:v>
                </c:pt>
                <c:pt idx="306">
                  <c:v>18000</c:v>
                </c:pt>
                <c:pt idx="307">
                  <c:v>18000</c:v>
                </c:pt>
                <c:pt idx="308">
                  <c:v>18000</c:v>
                </c:pt>
                <c:pt idx="309">
                  <c:v>#N/A</c:v>
                </c:pt>
                <c:pt idx="310">
                  <c:v>#N/A</c:v>
                </c:pt>
                <c:pt idx="311">
                  <c:v>18000</c:v>
                </c:pt>
                <c:pt idx="312">
                  <c:v>18000</c:v>
                </c:pt>
                <c:pt idx="313">
                  <c:v>17800</c:v>
                </c:pt>
                <c:pt idx="314">
                  <c:v>17800</c:v>
                </c:pt>
                <c:pt idx="315">
                  <c:v>17800</c:v>
                </c:pt>
                <c:pt idx="316">
                  <c:v>#N/A</c:v>
                </c:pt>
                <c:pt idx="317">
                  <c:v>#N/A</c:v>
                </c:pt>
                <c:pt idx="318">
                  <c:v>17800</c:v>
                </c:pt>
                <c:pt idx="319">
                  <c:v>17800</c:v>
                </c:pt>
                <c:pt idx="320">
                  <c:v>17800</c:v>
                </c:pt>
                <c:pt idx="321">
                  <c:v>17800</c:v>
                </c:pt>
                <c:pt idx="322">
                  <c:v>17800</c:v>
                </c:pt>
                <c:pt idx="323">
                  <c:v>#N/A</c:v>
                </c:pt>
                <c:pt idx="324">
                  <c:v>#N/A</c:v>
                </c:pt>
                <c:pt idx="325">
                  <c:v>17500</c:v>
                </c:pt>
                <c:pt idx="326">
                  <c:v>17500</c:v>
                </c:pt>
                <c:pt idx="327">
                  <c:v>17500</c:v>
                </c:pt>
                <c:pt idx="328">
                  <c:v>17500</c:v>
                </c:pt>
                <c:pt idx="329">
                  <c:v>17500</c:v>
                </c:pt>
                <c:pt idx="330">
                  <c:v>#N/A</c:v>
                </c:pt>
                <c:pt idx="331">
                  <c:v>#N/A</c:v>
                </c:pt>
                <c:pt idx="332">
                  <c:v>17300</c:v>
                </c:pt>
                <c:pt idx="333">
                  <c:v>17300</c:v>
                </c:pt>
                <c:pt idx="334">
                  <c:v>17300</c:v>
                </c:pt>
                <c:pt idx="335">
                  <c:v>17300</c:v>
                </c:pt>
                <c:pt idx="336">
                  <c:v>17300</c:v>
                </c:pt>
                <c:pt idx="337">
                  <c:v>#N/A</c:v>
                </c:pt>
                <c:pt idx="338">
                  <c:v>#N/A</c:v>
                </c:pt>
                <c:pt idx="339">
                  <c:v>17300</c:v>
                </c:pt>
                <c:pt idx="340">
                  <c:v>17300</c:v>
                </c:pt>
                <c:pt idx="341">
                  <c:v>17300</c:v>
                </c:pt>
                <c:pt idx="342">
                  <c:v>17300</c:v>
                </c:pt>
                <c:pt idx="343">
                  <c:v>17300</c:v>
                </c:pt>
                <c:pt idx="344">
                  <c:v>#N/A</c:v>
                </c:pt>
                <c:pt idx="345">
                  <c:v>#N/A</c:v>
                </c:pt>
                <c:pt idx="346">
                  <c:v>17000</c:v>
                </c:pt>
                <c:pt idx="347">
                  <c:v>17000</c:v>
                </c:pt>
                <c:pt idx="348">
                  <c:v>17000</c:v>
                </c:pt>
                <c:pt idx="349">
                  <c:v>17000</c:v>
                </c:pt>
                <c:pt idx="350">
                  <c:v>17000</c:v>
                </c:pt>
                <c:pt idx="351">
                  <c:v>#N/A</c:v>
                </c:pt>
                <c:pt idx="352">
                  <c:v>#N/A</c:v>
                </c:pt>
                <c:pt idx="353">
                  <c:v>17000</c:v>
                </c:pt>
                <c:pt idx="354">
                  <c:v>17000</c:v>
                </c:pt>
                <c:pt idx="355">
                  <c:v>17000</c:v>
                </c:pt>
                <c:pt idx="356">
                  <c:v>17000</c:v>
                </c:pt>
                <c:pt idx="357">
                  <c:v>17000</c:v>
                </c:pt>
                <c:pt idx="358">
                  <c:v>#N/A</c:v>
                </c:pt>
                <c:pt idx="359">
                  <c:v>#N/A</c:v>
                </c:pt>
                <c:pt idx="360">
                  <c:v>16800</c:v>
                </c:pt>
                <c:pt idx="361">
                  <c:v>16800</c:v>
                </c:pt>
                <c:pt idx="362">
                  <c:v>16800</c:v>
                </c:pt>
                <c:pt idx="363">
                  <c:v>16800</c:v>
                </c:pt>
                <c:pt idx="364">
                  <c:v>16800</c:v>
                </c:pt>
                <c:pt idx="365">
                  <c:v>#N/A</c:v>
                </c:pt>
              </c:numCache>
            </c:numRef>
          </c:val>
          <c:smooth val="0"/>
          <c:extLst>
            <c:ext xmlns:c16="http://schemas.microsoft.com/office/drawing/2014/chart" uri="{C3380CC4-5D6E-409C-BE32-E72D297353CC}">
              <c16:uniqueId val="{00000001-DE2E-4316-A713-3E407B26294A}"/>
            </c:ext>
          </c:extLst>
        </c:ser>
        <c:ser>
          <c:idx val="2"/>
          <c:order val="2"/>
          <c:tx>
            <c:strRef>
              <c:f>DMC价格!$S$3</c:f>
              <c:strCache>
                <c:ptCount val="1"/>
                <c:pt idx="0">
                  <c:v>2023</c:v>
                </c:pt>
              </c:strCache>
            </c:strRef>
          </c:tx>
          <c:spPr>
            <a:ln w="19050" cap="rnd">
              <a:solidFill>
                <a:srgbClr val="308D94">
                  <a:alpha val="60000"/>
                </a:srgbClr>
              </a:solidFill>
              <a:round/>
            </a:ln>
            <a:effectLst/>
          </c:spPr>
          <c:marker>
            <c:symbol val="none"/>
          </c:marker>
          <c:cat>
            <c:strRef>
              <c:f>DMC价格!$O$4:$O$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DMC价格!$S$4:$S$369</c:f>
              <c:numCache>
                <c:formatCode>General</c:formatCode>
                <c:ptCount val="366"/>
                <c:pt idx="0">
                  <c:v>#N/A</c:v>
                </c:pt>
                <c:pt idx="1">
                  <c:v>#N/A</c:v>
                </c:pt>
                <c:pt idx="2">
                  <c:v>16800</c:v>
                </c:pt>
                <c:pt idx="3">
                  <c:v>16800</c:v>
                </c:pt>
                <c:pt idx="4">
                  <c:v>16800</c:v>
                </c:pt>
                <c:pt idx="5">
                  <c:v>16800</c:v>
                </c:pt>
                <c:pt idx="6">
                  <c:v>#N/A</c:v>
                </c:pt>
                <c:pt idx="7">
                  <c:v>#N/A</c:v>
                </c:pt>
                <c:pt idx="8">
                  <c:v>16800</c:v>
                </c:pt>
                <c:pt idx="9">
                  <c:v>16800</c:v>
                </c:pt>
                <c:pt idx="10">
                  <c:v>16800</c:v>
                </c:pt>
                <c:pt idx="11">
                  <c:v>16800</c:v>
                </c:pt>
                <c:pt idx="12">
                  <c:v>16800</c:v>
                </c:pt>
                <c:pt idx="13">
                  <c:v>#N/A</c:v>
                </c:pt>
                <c:pt idx="14">
                  <c:v>#N/A</c:v>
                </c:pt>
                <c:pt idx="15">
                  <c:v>16800</c:v>
                </c:pt>
                <c:pt idx="16">
                  <c:v>16800</c:v>
                </c:pt>
                <c:pt idx="17">
                  <c:v>16800</c:v>
                </c:pt>
                <c:pt idx="18">
                  <c:v>16800</c:v>
                </c:pt>
                <c:pt idx="19">
                  <c:v>16800</c:v>
                </c:pt>
                <c:pt idx="20">
                  <c:v>#N/A</c:v>
                </c:pt>
                <c:pt idx="21">
                  <c:v>#N/A</c:v>
                </c:pt>
                <c:pt idx="22">
                  <c:v>#N/A</c:v>
                </c:pt>
                <c:pt idx="23">
                  <c:v>#N/A</c:v>
                </c:pt>
                <c:pt idx="24">
                  <c:v>#N/A</c:v>
                </c:pt>
                <c:pt idx="25">
                  <c:v>#N/A</c:v>
                </c:pt>
                <c:pt idx="26">
                  <c:v>#N/A</c:v>
                </c:pt>
                <c:pt idx="27">
                  <c:v>16800</c:v>
                </c:pt>
                <c:pt idx="28">
                  <c:v>16800</c:v>
                </c:pt>
                <c:pt idx="29">
                  <c:v>16800</c:v>
                </c:pt>
                <c:pt idx="30">
                  <c:v>16800</c:v>
                </c:pt>
                <c:pt idx="31">
                  <c:v>16800</c:v>
                </c:pt>
                <c:pt idx="32">
                  <c:v>17000</c:v>
                </c:pt>
                <c:pt idx="33">
                  <c:v>17000</c:v>
                </c:pt>
                <c:pt idx="34">
                  <c:v>#N/A</c:v>
                </c:pt>
                <c:pt idx="35">
                  <c:v>#N/A</c:v>
                </c:pt>
                <c:pt idx="36">
                  <c:v>17000</c:v>
                </c:pt>
                <c:pt idx="37">
                  <c:v>17200</c:v>
                </c:pt>
                <c:pt idx="38">
                  <c:v>17400</c:v>
                </c:pt>
                <c:pt idx="39">
                  <c:v>17400</c:v>
                </c:pt>
                <c:pt idx="40">
                  <c:v>17400</c:v>
                </c:pt>
                <c:pt idx="41">
                  <c:v>#N/A</c:v>
                </c:pt>
                <c:pt idx="42">
                  <c:v>#N/A</c:v>
                </c:pt>
                <c:pt idx="43">
                  <c:v>17400</c:v>
                </c:pt>
                <c:pt idx="44">
                  <c:v>17500</c:v>
                </c:pt>
                <c:pt idx="45">
                  <c:v>17500</c:v>
                </c:pt>
                <c:pt idx="46">
                  <c:v>17500</c:v>
                </c:pt>
                <c:pt idx="47">
                  <c:v>17500</c:v>
                </c:pt>
                <c:pt idx="48">
                  <c:v>#N/A</c:v>
                </c:pt>
                <c:pt idx="49">
                  <c:v>#N/A</c:v>
                </c:pt>
                <c:pt idx="50">
                  <c:v>17500</c:v>
                </c:pt>
                <c:pt idx="51">
                  <c:v>17700</c:v>
                </c:pt>
                <c:pt idx="52">
                  <c:v>17800</c:v>
                </c:pt>
                <c:pt idx="53">
                  <c:v>17800</c:v>
                </c:pt>
                <c:pt idx="54">
                  <c:v>17800</c:v>
                </c:pt>
                <c:pt idx="55">
                  <c:v>#N/A</c:v>
                </c:pt>
                <c:pt idx="56">
                  <c:v>#N/A</c:v>
                </c:pt>
                <c:pt idx="57">
                  <c:v>17800</c:v>
                </c:pt>
                <c:pt idx="58">
                  <c:v>17600</c:v>
                </c:pt>
                <c:pt idx="60">
                  <c:v>17500</c:v>
                </c:pt>
                <c:pt idx="61">
                  <c:v>17500</c:v>
                </c:pt>
                <c:pt idx="62">
                  <c:v>17500</c:v>
                </c:pt>
                <c:pt idx="63">
                  <c:v>#N/A</c:v>
                </c:pt>
                <c:pt idx="64">
                  <c:v>#N/A</c:v>
                </c:pt>
                <c:pt idx="65">
                  <c:v>17500</c:v>
                </c:pt>
                <c:pt idx="66">
                  <c:v>17100</c:v>
                </c:pt>
                <c:pt idx="67">
                  <c:v>17100</c:v>
                </c:pt>
                <c:pt idx="68">
                  <c:v>17100</c:v>
                </c:pt>
                <c:pt idx="69">
                  <c:v>17100</c:v>
                </c:pt>
                <c:pt idx="70">
                  <c:v>#N/A</c:v>
                </c:pt>
                <c:pt idx="71">
                  <c:v>#N/A</c:v>
                </c:pt>
                <c:pt idx="72">
                  <c:v>17100</c:v>
                </c:pt>
                <c:pt idx="73">
                  <c:v>17100</c:v>
                </c:pt>
                <c:pt idx="74">
                  <c:v>16800</c:v>
                </c:pt>
                <c:pt idx="75">
                  <c:v>16800</c:v>
                </c:pt>
                <c:pt idx="76">
                  <c:v>16800</c:v>
                </c:pt>
                <c:pt idx="77">
                  <c:v>#N/A</c:v>
                </c:pt>
                <c:pt idx="78">
                  <c:v>#N/A</c:v>
                </c:pt>
                <c:pt idx="79">
                  <c:v>16500</c:v>
                </c:pt>
                <c:pt idx="80">
                  <c:v>16500</c:v>
                </c:pt>
                <c:pt idx="81">
                  <c:v>16500</c:v>
                </c:pt>
                <c:pt idx="82">
                  <c:v>16500</c:v>
                </c:pt>
                <c:pt idx="83">
                  <c:v>16500</c:v>
                </c:pt>
                <c:pt idx="84">
                  <c:v>#N/A</c:v>
                </c:pt>
                <c:pt idx="85">
                  <c:v>#N/A</c:v>
                </c:pt>
                <c:pt idx="86">
                  <c:v>16200</c:v>
                </c:pt>
                <c:pt idx="87">
                  <c:v>16000</c:v>
                </c:pt>
                <c:pt idx="88">
                  <c:v>16000</c:v>
                </c:pt>
                <c:pt idx="89">
                  <c:v>16000</c:v>
                </c:pt>
                <c:pt idx="90">
                  <c:v>16000</c:v>
                </c:pt>
                <c:pt idx="91">
                  <c:v>#N/A</c:v>
                </c:pt>
                <c:pt idx="92">
                  <c:v>#N/A</c:v>
                </c:pt>
                <c:pt idx="93">
                  <c:v>16000</c:v>
                </c:pt>
                <c:pt idx="94">
                  <c:v>15500</c:v>
                </c:pt>
                <c:pt idx="95">
                  <c:v>#N/A</c:v>
                </c:pt>
                <c:pt idx="96">
                  <c:v>15500</c:v>
                </c:pt>
                <c:pt idx="97">
                  <c:v>15500</c:v>
                </c:pt>
                <c:pt idx="98">
                  <c:v>#N/A</c:v>
                </c:pt>
                <c:pt idx="99">
                  <c:v>#N/A</c:v>
                </c:pt>
                <c:pt idx="100">
                  <c:v>15500</c:v>
                </c:pt>
                <c:pt idx="101">
                  <c:v>15500</c:v>
                </c:pt>
                <c:pt idx="102">
                  <c:v>15500</c:v>
                </c:pt>
                <c:pt idx="103">
                  <c:v>15500</c:v>
                </c:pt>
                <c:pt idx="104">
                  <c:v>15500</c:v>
                </c:pt>
                <c:pt idx="105">
                  <c:v>#N/A</c:v>
                </c:pt>
                <c:pt idx="106">
                  <c:v>#N/A</c:v>
                </c:pt>
                <c:pt idx="107">
                  <c:v>15500</c:v>
                </c:pt>
                <c:pt idx="108">
                  <c:v>15500</c:v>
                </c:pt>
                <c:pt idx="109">
                  <c:v>15500</c:v>
                </c:pt>
                <c:pt idx="110">
                  <c:v>15500</c:v>
                </c:pt>
                <c:pt idx="111">
                  <c:v>15500</c:v>
                </c:pt>
                <c:pt idx="112">
                  <c:v>#N/A</c:v>
                </c:pt>
                <c:pt idx="113">
                  <c:v>15500</c:v>
                </c:pt>
                <c:pt idx="114">
                  <c:v>15500</c:v>
                </c:pt>
                <c:pt idx="115">
                  <c:v>15500</c:v>
                </c:pt>
                <c:pt idx="116">
                  <c:v>15500</c:v>
                </c:pt>
                <c:pt idx="117">
                  <c:v>15500</c:v>
                </c:pt>
                <c:pt idx="118">
                  <c:v>15500</c:v>
                </c:pt>
                <c:pt idx="119">
                  <c:v>#N/A</c:v>
                </c:pt>
                <c:pt idx="120">
                  <c:v>#N/A</c:v>
                </c:pt>
                <c:pt idx="121">
                  <c:v>#N/A</c:v>
                </c:pt>
                <c:pt idx="122">
                  <c:v>#N/A</c:v>
                </c:pt>
                <c:pt idx="123">
                  <c:v>#N/A</c:v>
                </c:pt>
                <c:pt idx="124">
                  <c:v>15500</c:v>
                </c:pt>
                <c:pt idx="125">
                  <c:v>15500</c:v>
                </c:pt>
                <c:pt idx="126">
                  <c:v>15500</c:v>
                </c:pt>
                <c:pt idx="127">
                  <c:v>#N/A</c:v>
                </c:pt>
                <c:pt idx="128">
                  <c:v>15500</c:v>
                </c:pt>
                <c:pt idx="129">
                  <c:v>14800</c:v>
                </c:pt>
                <c:pt idx="130">
                  <c:v>14800</c:v>
                </c:pt>
                <c:pt idx="131">
                  <c:v>14800</c:v>
                </c:pt>
                <c:pt idx="132">
                  <c:v>14800</c:v>
                </c:pt>
                <c:pt idx="133">
                  <c:v>#N/A</c:v>
                </c:pt>
                <c:pt idx="134">
                  <c:v>#N/A</c:v>
                </c:pt>
                <c:pt idx="135">
                  <c:v>14800</c:v>
                </c:pt>
                <c:pt idx="136">
                  <c:v>14500</c:v>
                </c:pt>
                <c:pt idx="137">
                  <c:v>14500</c:v>
                </c:pt>
                <c:pt idx="138">
                  <c:v>14500</c:v>
                </c:pt>
                <c:pt idx="139">
                  <c:v>14500</c:v>
                </c:pt>
                <c:pt idx="140">
                  <c:v>#N/A</c:v>
                </c:pt>
                <c:pt idx="141">
                  <c:v>#N/A</c:v>
                </c:pt>
                <c:pt idx="142">
                  <c:v>14500</c:v>
                </c:pt>
                <c:pt idx="143">
                  <c:v>14500</c:v>
                </c:pt>
                <c:pt idx="144">
                  <c:v>14500</c:v>
                </c:pt>
                <c:pt idx="145">
                  <c:v>14500</c:v>
                </c:pt>
                <c:pt idx="146">
                  <c:v>14500</c:v>
                </c:pt>
                <c:pt idx="147">
                  <c:v>#N/A</c:v>
                </c:pt>
                <c:pt idx="148">
                  <c:v>#N/A</c:v>
                </c:pt>
                <c:pt idx="149">
                  <c:v>14500</c:v>
                </c:pt>
                <c:pt idx="150">
                  <c:v>14500</c:v>
                </c:pt>
                <c:pt idx="151">
                  <c:v>14500</c:v>
                </c:pt>
                <c:pt idx="152">
                  <c:v>14500</c:v>
                </c:pt>
                <c:pt idx="153">
                  <c:v>14500</c:v>
                </c:pt>
                <c:pt idx="154">
                  <c:v>#N/A</c:v>
                </c:pt>
                <c:pt idx="155">
                  <c:v>#N/A</c:v>
                </c:pt>
                <c:pt idx="156">
                  <c:v>14200</c:v>
                </c:pt>
                <c:pt idx="157">
                  <c:v>14200</c:v>
                </c:pt>
                <c:pt idx="158">
                  <c:v>14200</c:v>
                </c:pt>
                <c:pt idx="159">
                  <c:v>14200</c:v>
                </c:pt>
                <c:pt idx="160">
                  <c:v>14200</c:v>
                </c:pt>
                <c:pt idx="161">
                  <c:v>#N/A</c:v>
                </c:pt>
                <c:pt idx="162">
                  <c:v>#N/A</c:v>
                </c:pt>
                <c:pt idx="163">
                  <c:v>14200</c:v>
                </c:pt>
                <c:pt idx="164">
                  <c:v>14200</c:v>
                </c:pt>
                <c:pt idx="165">
                  <c:v>14000</c:v>
                </c:pt>
                <c:pt idx="166">
                  <c:v>14000</c:v>
                </c:pt>
                <c:pt idx="167">
                  <c:v>14000</c:v>
                </c:pt>
                <c:pt idx="168">
                  <c:v>#N/A</c:v>
                </c:pt>
                <c:pt idx="169">
                  <c:v>#N/A</c:v>
                </c:pt>
                <c:pt idx="170">
                  <c:v>14000</c:v>
                </c:pt>
                <c:pt idx="171">
                  <c:v>14000</c:v>
                </c:pt>
                <c:pt idx="172">
                  <c:v>14000</c:v>
                </c:pt>
                <c:pt idx="173">
                  <c:v>#N/A</c:v>
                </c:pt>
                <c:pt idx="174">
                  <c:v>#N/A</c:v>
                </c:pt>
                <c:pt idx="175">
                  <c:v>#N/A</c:v>
                </c:pt>
                <c:pt idx="176">
                  <c:v>14000</c:v>
                </c:pt>
                <c:pt idx="177">
                  <c:v>14000</c:v>
                </c:pt>
                <c:pt idx="178">
                  <c:v>14000</c:v>
                </c:pt>
                <c:pt idx="179">
                  <c:v>14000</c:v>
                </c:pt>
                <c:pt idx="180">
                  <c:v>14000</c:v>
                </c:pt>
                <c:pt idx="181">
                  <c:v>14000</c:v>
                </c:pt>
                <c:pt idx="182">
                  <c:v>#N/A</c:v>
                </c:pt>
                <c:pt idx="183">
                  <c:v>#N/A</c:v>
                </c:pt>
                <c:pt idx="184">
                  <c:v>14000</c:v>
                </c:pt>
                <c:pt idx="185">
                  <c:v>14000</c:v>
                </c:pt>
                <c:pt idx="186">
                  <c:v>14000</c:v>
                </c:pt>
                <c:pt idx="187">
                  <c:v>13700</c:v>
                </c:pt>
                <c:pt idx="188">
                  <c:v>13500</c:v>
                </c:pt>
                <c:pt idx="189">
                  <c:v>#N/A</c:v>
                </c:pt>
                <c:pt idx="190">
                  <c:v>#N/A</c:v>
                </c:pt>
                <c:pt idx="191">
                  <c:v>13500</c:v>
                </c:pt>
                <c:pt idx="192">
                  <c:v>13500</c:v>
                </c:pt>
                <c:pt idx="193">
                  <c:v>13500</c:v>
                </c:pt>
                <c:pt idx="194">
                  <c:v>13500</c:v>
                </c:pt>
                <c:pt idx="195">
                  <c:v>13500</c:v>
                </c:pt>
                <c:pt idx="196">
                  <c:v>#N/A</c:v>
                </c:pt>
                <c:pt idx="197">
                  <c:v>#N/A</c:v>
                </c:pt>
                <c:pt idx="198">
                  <c:v>13500</c:v>
                </c:pt>
                <c:pt idx="199">
                  <c:v>13500</c:v>
                </c:pt>
                <c:pt idx="200">
                  <c:v>13500</c:v>
                </c:pt>
                <c:pt idx="201">
                  <c:v>13500</c:v>
                </c:pt>
                <c:pt idx="202">
                  <c:v>13500</c:v>
                </c:pt>
                <c:pt idx="203">
                  <c:v>#N/A</c:v>
                </c:pt>
                <c:pt idx="204">
                  <c:v>#N/A</c:v>
                </c:pt>
                <c:pt idx="205">
                  <c:v>13200</c:v>
                </c:pt>
                <c:pt idx="206">
                  <c:v>13000</c:v>
                </c:pt>
                <c:pt idx="207">
                  <c:v>13000</c:v>
                </c:pt>
                <c:pt idx="208">
                  <c:v>13000</c:v>
                </c:pt>
                <c:pt idx="209">
                  <c:v>13000</c:v>
                </c:pt>
                <c:pt idx="210">
                  <c:v>#N/A</c:v>
                </c:pt>
                <c:pt idx="211">
                  <c:v>#N/A</c:v>
                </c:pt>
                <c:pt idx="212">
                  <c:v>13000</c:v>
                </c:pt>
                <c:pt idx="213">
                  <c:v>13000</c:v>
                </c:pt>
                <c:pt idx="214">
                  <c:v>13000</c:v>
                </c:pt>
                <c:pt idx="215">
                  <c:v>12800</c:v>
                </c:pt>
                <c:pt idx="216">
                  <c:v>12800</c:v>
                </c:pt>
                <c:pt idx="217">
                  <c:v>#N/A</c:v>
                </c:pt>
                <c:pt idx="218">
                  <c:v>#N/A</c:v>
                </c:pt>
                <c:pt idx="219">
                  <c:v>13000</c:v>
                </c:pt>
                <c:pt idx="220">
                  <c:v>13200</c:v>
                </c:pt>
                <c:pt idx="221">
                  <c:v>13400</c:v>
                </c:pt>
                <c:pt idx="222">
                  <c:v>13600</c:v>
                </c:pt>
                <c:pt idx="223">
                  <c:v>13600</c:v>
                </c:pt>
                <c:pt idx="224">
                  <c:v>#N/A</c:v>
                </c:pt>
                <c:pt idx="225">
                  <c:v>#N/A</c:v>
                </c:pt>
                <c:pt idx="226">
                  <c:v>13600</c:v>
                </c:pt>
                <c:pt idx="227">
                  <c:v>13600</c:v>
                </c:pt>
                <c:pt idx="228">
                  <c:v>13600</c:v>
                </c:pt>
                <c:pt idx="229">
                  <c:v>13600</c:v>
                </c:pt>
                <c:pt idx="230">
                  <c:v>13600</c:v>
                </c:pt>
                <c:pt idx="231">
                  <c:v>#N/A</c:v>
                </c:pt>
                <c:pt idx="232">
                  <c:v>#N/A</c:v>
                </c:pt>
                <c:pt idx="233">
                  <c:v>13600</c:v>
                </c:pt>
                <c:pt idx="234">
                  <c:v>13600</c:v>
                </c:pt>
                <c:pt idx="235">
                  <c:v>13600</c:v>
                </c:pt>
                <c:pt idx="236">
                  <c:v>13500</c:v>
                </c:pt>
                <c:pt idx="237">
                  <c:v>13500</c:v>
                </c:pt>
                <c:pt idx="238">
                  <c:v>#N/A</c:v>
                </c:pt>
                <c:pt idx="239">
                  <c:v>#N/A</c:v>
                </c:pt>
                <c:pt idx="240">
                  <c:v>13400</c:v>
                </c:pt>
                <c:pt idx="241">
                  <c:v>13400</c:v>
                </c:pt>
                <c:pt idx="242">
                  <c:v>13400</c:v>
                </c:pt>
                <c:pt idx="243">
                  <c:v>13200</c:v>
                </c:pt>
                <c:pt idx="244">
                  <c:v>13200</c:v>
                </c:pt>
                <c:pt idx="245">
                  <c:v>#N/A</c:v>
                </c:pt>
                <c:pt idx="246">
                  <c:v>#N/A</c:v>
                </c:pt>
                <c:pt idx="247">
                  <c:v>13200</c:v>
                </c:pt>
                <c:pt idx="248">
                  <c:v>13200</c:v>
                </c:pt>
                <c:pt idx="249">
                  <c:v>13200</c:v>
                </c:pt>
                <c:pt idx="250">
                  <c:v>13200</c:v>
                </c:pt>
                <c:pt idx="251">
                  <c:v>13200</c:v>
                </c:pt>
                <c:pt idx="252">
                  <c:v>#N/A</c:v>
                </c:pt>
                <c:pt idx="253">
                  <c:v>#N/A</c:v>
                </c:pt>
                <c:pt idx="254">
                  <c:v>13200</c:v>
                </c:pt>
                <c:pt idx="255">
                  <c:v>13500</c:v>
                </c:pt>
                <c:pt idx="256">
                  <c:v>13800</c:v>
                </c:pt>
                <c:pt idx="257">
                  <c:v>14900</c:v>
                </c:pt>
                <c:pt idx="258">
                  <c:v>14900</c:v>
                </c:pt>
                <c:pt idx="259">
                  <c:v>#N/A</c:v>
                </c:pt>
                <c:pt idx="260">
                  <c:v>#N/A</c:v>
                </c:pt>
                <c:pt idx="261">
                  <c:v>14900</c:v>
                </c:pt>
                <c:pt idx="262">
                  <c:v>14900</c:v>
                </c:pt>
                <c:pt idx="263">
                  <c:v>14900</c:v>
                </c:pt>
                <c:pt idx="264">
                  <c:v>14900</c:v>
                </c:pt>
                <c:pt idx="265">
                  <c:v>14900</c:v>
                </c:pt>
                <c:pt idx="266">
                  <c:v>#N/A</c:v>
                </c:pt>
                <c:pt idx="267">
                  <c:v>#N/A</c:v>
                </c:pt>
                <c:pt idx="268">
                  <c:v>14900</c:v>
                </c:pt>
                <c:pt idx="269">
                  <c:v>14500</c:v>
                </c:pt>
                <c:pt idx="270">
                  <c:v>14500</c:v>
                </c:pt>
                <c:pt idx="271">
                  <c:v>14500</c:v>
                </c:pt>
                <c:pt idx="272">
                  <c:v>#N/A</c:v>
                </c:pt>
                <c:pt idx="273">
                  <c:v>#N/A</c:v>
                </c:pt>
                <c:pt idx="274">
                  <c:v>#N/A</c:v>
                </c:pt>
                <c:pt idx="275">
                  <c:v>#N/A</c:v>
                </c:pt>
                <c:pt idx="276">
                  <c:v>#N/A</c:v>
                </c:pt>
                <c:pt idx="277">
                  <c:v>#N/A</c:v>
                </c:pt>
                <c:pt idx="278">
                  <c:v>#N/A</c:v>
                </c:pt>
                <c:pt idx="279">
                  <c:v>#N/A</c:v>
                </c:pt>
                <c:pt idx="280">
                  <c:v>14500</c:v>
                </c:pt>
                <c:pt idx="281">
                  <c:v>14500</c:v>
                </c:pt>
                <c:pt idx="282">
                  <c:v>14200</c:v>
                </c:pt>
                <c:pt idx="283">
                  <c:v>14200</c:v>
                </c:pt>
                <c:pt idx="284">
                  <c:v>14200</c:v>
                </c:pt>
                <c:pt idx="285">
                  <c:v>14200</c:v>
                </c:pt>
                <c:pt idx="286">
                  <c:v>14200</c:v>
                </c:pt>
                <c:pt idx="287">
                  <c:v>#N/A</c:v>
                </c:pt>
                <c:pt idx="288">
                  <c:v>#N/A</c:v>
                </c:pt>
                <c:pt idx="289">
                  <c:v>14400</c:v>
                </c:pt>
                <c:pt idx="290">
                  <c:v>14800</c:v>
                </c:pt>
                <c:pt idx="291">
                  <c:v>14800</c:v>
                </c:pt>
                <c:pt idx="292">
                  <c:v>14800</c:v>
                </c:pt>
                <c:pt idx="293">
                  <c:v>14800</c:v>
                </c:pt>
                <c:pt idx="294">
                  <c:v>#N/A</c:v>
                </c:pt>
                <c:pt idx="295">
                  <c:v>#N/A</c:v>
                </c:pt>
                <c:pt idx="296">
                  <c:v>14800</c:v>
                </c:pt>
                <c:pt idx="297">
                  <c:v>14800</c:v>
                </c:pt>
                <c:pt idx="298">
                  <c:v>14800</c:v>
                </c:pt>
                <c:pt idx="299">
                  <c:v>14800</c:v>
                </c:pt>
                <c:pt idx="300">
                  <c:v>14800</c:v>
                </c:pt>
                <c:pt idx="301">
                  <c:v>#N/A</c:v>
                </c:pt>
                <c:pt idx="302">
                  <c:v>#N/A</c:v>
                </c:pt>
                <c:pt idx="303">
                  <c:v>14800</c:v>
                </c:pt>
                <c:pt idx="304">
                  <c:v>14800</c:v>
                </c:pt>
                <c:pt idx="305">
                  <c:v>14800</c:v>
                </c:pt>
                <c:pt idx="306">
                  <c:v>14800</c:v>
                </c:pt>
                <c:pt idx="307">
                  <c:v>14800</c:v>
                </c:pt>
                <c:pt idx="308">
                  <c:v>#N/A</c:v>
                </c:pt>
                <c:pt idx="309">
                  <c:v>#N/A</c:v>
                </c:pt>
                <c:pt idx="310">
                  <c:v>14600</c:v>
                </c:pt>
                <c:pt idx="311">
                  <c:v>14600</c:v>
                </c:pt>
                <c:pt idx="312">
                  <c:v>14600</c:v>
                </c:pt>
                <c:pt idx="313">
                  <c:v>14600</c:v>
                </c:pt>
                <c:pt idx="314">
                  <c:v>14600</c:v>
                </c:pt>
                <c:pt idx="315">
                  <c:v>#N/A</c:v>
                </c:pt>
                <c:pt idx="316">
                  <c:v>#N/A</c:v>
                </c:pt>
                <c:pt idx="317">
                  <c:v>14600</c:v>
                </c:pt>
                <c:pt idx="318">
                  <c:v>14600</c:v>
                </c:pt>
                <c:pt idx="319">
                  <c:v>14600</c:v>
                </c:pt>
                <c:pt idx="320">
                  <c:v>14600</c:v>
                </c:pt>
                <c:pt idx="321">
                  <c:v>14600</c:v>
                </c:pt>
                <c:pt idx="322">
                  <c:v>#N/A</c:v>
                </c:pt>
                <c:pt idx="323">
                  <c:v>#N/A</c:v>
                </c:pt>
                <c:pt idx="324">
                  <c:v>14500</c:v>
                </c:pt>
                <c:pt idx="325">
                  <c:v>14500</c:v>
                </c:pt>
                <c:pt idx="326">
                  <c:v>14500</c:v>
                </c:pt>
                <c:pt idx="327">
                  <c:v>14500</c:v>
                </c:pt>
                <c:pt idx="328">
                  <c:v>14500</c:v>
                </c:pt>
                <c:pt idx="329">
                  <c:v>#N/A</c:v>
                </c:pt>
                <c:pt idx="330">
                  <c:v>#N/A</c:v>
                </c:pt>
                <c:pt idx="331">
                  <c:v>14500</c:v>
                </c:pt>
                <c:pt idx="332">
                  <c:v>14400</c:v>
                </c:pt>
                <c:pt idx="333">
                  <c:v>14400</c:v>
                </c:pt>
                <c:pt idx="334">
                  <c:v>14400</c:v>
                </c:pt>
                <c:pt idx="335">
                  <c:v>14400</c:v>
                </c:pt>
                <c:pt idx="336">
                  <c:v>#N/A</c:v>
                </c:pt>
                <c:pt idx="337">
                  <c:v>#N/A</c:v>
                </c:pt>
                <c:pt idx="338">
                  <c:v>14400</c:v>
                </c:pt>
                <c:pt idx="339">
                  <c:v>14200</c:v>
                </c:pt>
                <c:pt idx="340">
                  <c:v>14200</c:v>
                </c:pt>
                <c:pt idx="341">
                  <c:v>14200</c:v>
                </c:pt>
                <c:pt idx="342">
                  <c:v>14200</c:v>
                </c:pt>
                <c:pt idx="343">
                  <c:v>#N/A</c:v>
                </c:pt>
                <c:pt idx="344">
                  <c:v>#N/A</c:v>
                </c:pt>
                <c:pt idx="345">
                  <c:v>14000</c:v>
                </c:pt>
                <c:pt idx="346">
                  <c:v>14000</c:v>
                </c:pt>
                <c:pt idx="347">
                  <c:v>14000</c:v>
                </c:pt>
                <c:pt idx="348">
                  <c:v>14000</c:v>
                </c:pt>
                <c:pt idx="349">
                  <c:v>14000</c:v>
                </c:pt>
                <c:pt idx="350">
                  <c:v>#N/A</c:v>
                </c:pt>
                <c:pt idx="351">
                  <c:v>#N/A</c:v>
                </c:pt>
                <c:pt idx="352">
                  <c:v>14000</c:v>
                </c:pt>
                <c:pt idx="353">
                  <c:v>14000</c:v>
                </c:pt>
                <c:pt idx="354">
                  <c:v>13800</c:v>
                </c:pt>
                <c:pt idx="355">
                  <c:v>13800</c:v>
                </c:pt>
                <c:pt idx="356">
                  <c:v>13800</c:v>
                </c:pt>
                <c:pt idx="357">
                  <c:v>#N/A</c:v>
                </c:pt>
                <c:pt idx="358">
                  <c:v>#N/A</c:v>
                </c:pt>
                <c:pt idx="359">
                  <c:v>13900</c:v>
                </c:pt>
                <c:pt idx="360">
                  <c:v>13900</c:v>
                </c:pt>
                <c:pt idx="361">
                  <c:v>13900</c:v>
                </c:pt>
                <c:pt idx="362">
                  <c:v>13900</c:v>
                </c:pt>
                <c:pt idx="363">
                  <c:v>14100</c:v>
                </c:pt>
                <c:pt idx="364">
                  <c:v>#N/A</c:v>
                </c:pt>
                <c:pt idx="365">
                  <c:v>#N/A</c:v>
                </c:pt>
              </c:numCache>
            </c:numRef>
          </c:val>
          <c:smooth val="0"/>
          <c:extLst>
            <c:ext xmlns:c16="http://schemas.microsoft.com/office/drawing/2014/chart" uri="{C3380CC4-5D6E-409C-BE32-E72D297353CC}">
              <c16:uniqueId val="{00000002-DE2E-4316-A713-3E407B26294A}"/>
            </c:ext>
          </c:extLst>
        </c:ser>
        <c:ser>
          <c:idx val="3"/>
          <c:order val="3"/>
          <c:tx>
            <c:strRef>
              <c:f>DMC价格!$T$3</c:f>
              <c:strCache>
                <c:ptCount val="1"/>
                <c:pt idx="0">
                  <c:v>2024</c:v>
                </c:pt>
              </c:strCache>
            </c:strRef>
          </c:tx>
          <c:spPr>
            <a:ln w="28575" cap="rnd">
              <a:solidFill>
                <a:schemeClr val="tx1"/>
              </a:solidFill>
              <a:round/>
            </a:ln>
            <a:effectLst/>
          </c:spPr>
          <c:marker>
            <c:symbol val="none"/>
          </c:marker>
          <c:cat>
            <c:strRef>
              <c:f>DMC价格!$O$4:$O$369</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DMC价格!$T$4:$T$369</c:f>
              <c:numCache>
                <c:formatCode>General</c:formatCode>
                <c:ptCount val="366"/>
                <c:pt idx="0">
                  <c:v>#N/A</c:v>
                </c:pt>
                <c:pt idx="1">
                  <c:v>14200</c:v>
                </c:pt>
                <c:pt idx="2">
                  <c:v>14200</c:v>
                </c:pt>
                <c:pt idx="3">
                  <c:v>14200</c:v>
                </c:pt>
                <c:pt idx="4">
                  <c:v>14200</c:v>
                </c:pt>
                <c:pt idx="5">
                  <c:v>#N/A</c:v>
                </c:pt>
                <c:pt idx="6">
                  <c:v>#N/A</c:v>
                </c:pt>
                <c:pt idx="7">
                  <c:v>14700</c:v>
                </c:pt>
                <c:pt idx="8">
                  <c:v>14700</c:v>
                </c:pt>
                <c:pt idx="9">
                  <c:v>14700</c:v>
                </c:pt>
                <c:pt idx="10">
                  <c:v>14700</c:v>
                </c:pt>
                <c:pt idx="11">
                  <c:v>14700</c:v>
                </c:pt>
                <c:pt idx="12">
                  <c:v>#N/A</c:v>
                </c:pt>
                <c:pt idx="13">
                  <c:v>#N/A</c:v>
                </c:pt>
                <c:pt idx="14">
                  <c:v>14700</c:v>
                </c:pt>
                <c:pt idx="15">
                  <c:v>14700</c:v>
                </c:pt>
                <c:pt idx="16">
                  <c:v>14700</c:v>
                </c:pt>
                <c:pt idx="17">
                  <c:v>14700</c:v>
                </c:pt>
                <c:pt idx="18">
                  <c:v>14700</c:v>
                </c:pt>
                <c:pt idx="19">
                  <c:v>#N/A</c:v>
                </c:pt>
                <c:pt idx="20">
                  <c:v>#N/A</c:v>
                </c:pt>
                <c:pt idx="21">
                  <c:v>15500</c:v>
                </c:pt>
                <c:pt idx="22">
                  <c:v>15500</c:v>
                </c:pt>
                <c:pt idx="23">
                  <c:v>15500</c:v>
                </c:pt>
                <c:pt idx="24">
                  <c:v>15500</c:v>
                </c:pt>
                <c:pt idx="25">
                  <c:v>15500</c:v>
                </c:pt>
                <c:pt idx="26">
                  <c:v>#N/A</c:v>
                </c:pt>
                <c:pt idx="27">
                  <c:v>#N/A</c:v>
                </c:pt>
                <c:pt idx="28">
                  <c:v>15300</c:v>
                </c:pt>
                <c:pt idx="29">
                  <c:v>15300</c:v>
                </c:pt>
                <c:pt idx="30">
                  <c:v>15300</c:v>
                </c:pt>
                <c:pt idx="31">
                  <c:v>15200</c:v>
                </c:pt>
                <c:pt idx="32">
                  <c:v>15200</c:v>
                </c:pt>
                <c:pt idx="33">
                  <c:v>#N/A</c:v>
                </c:pt>
                <c:pt idx="34">
                  <c:v>15200</c:v>
                </c:pt>
                <c:pt idx="35">
                  <c:v>15200</c:v>
                </c:pt>
                <c:pt idx="36">
                  <c:v>15200</c:v>
                </c:pt>
                <c:pt idx="37">
                  <c:v>15200</c:v>
                </c:pt>
                <c:pt idx="38">
                  <c:v>15200</c:v>
                </c:pt>
                <c:pt idx="39">
                  <c:v>#N/A</c:v>
                </c:pt>
                <c:pt idx="40">
                  <c:v>#N/A</c:v>
                </c:pt>
                <c:pt idx="41">
                  <c:v>#N/A</c:v>
                </c:pt>
                <c:pt idx="42">
                  <c:v>#N/A</c:v>
                </c:pt>
                <c:pt idx="43">
                  <c:v>#N/A</c:v>
                </c:pt>
                <c:pt idx="44">
                  <c:v>#N/A</c:v>
                </c:pt>
                <c:pt idx="45">
                  <c:v>#N/A</c:v>
                </c:pt>
                <c:pt idx="46">
                  <c:v>#N/A</c:v>
                </c:pt>
                <c:pt idx="47">
                  <c:v>#N/A</c:v>
                </c:pt>
                <c:pt idx="48">
                  <c:v>15200</c:v>
                </c:pt>
                <c:pt idx="49">
                  <c:v>15200</c:v>
                </c:pt>
                <c:pt idx="50">
                  <c:v>15300</c:v>
                </c:pt>
                <c:pt idx="51">
                  <c:v>15400</c:v>
                </c:pt>
                <c:pt idx="52">
                  <c:v>15400</c:v>
                </c:pt>
                <c:pt idx="53">
                  <c:v>15400</c:v>
                </c:pt>
                <c:pt idx="54">
                  <c:v>#N/A</c:v>
                </c:pt>
                <c:pt idx="55">
                  <c:v>#N/A</c:v>
                </c:pt>
                <c:pt idx="56">
                  <c:v>15400</c:v>
                </c:pt>
                <c:pt idx="57">
                  <c:v>15500</c:v>
                </c:pt>
                <c:pt idx="58">
                  <c:v>15600</c:v>
                </c:pt>
                <c:pt idx="59">
                  <c:v>16400</c:v>
                </c:pt>
                <c:pt idx="60">
                  <c:v>16700</c:v>
                </c:pt>
                <c:pt idx="61">
                  <c:v>#N/A</c:v>
                </c:pt>
                <c:pt idx="62">
                  <c:v>#N/A</c:v>
                </c:pt>
                <c:pt idx="63">
                  <c:v>17000</c:v>
                </c:pt>
                <c:pt idx="64">
                  <c:v>17000</c:v>
                </c:pt>
                <c:pt idx="65">
                  <c:v>17000</c:v>
                </c:pt>
                <c:pt idx="66">
                  <c:v>17000</c:v>
                </c:pt>
                <c:pt idx="67">
                  <c:v>17000</c:v>
                </c:pt>
                <c:pt idx="68">
                  <c:v>#N/A</c:v>
                </c:pt>
                <c:pt idx="69">
                  <c:v>#N/A</c:v>
                </c:pt>
                <c:pt idx="70">
                  <c:v>17000</c:v>
                </c:pt>
                <c:pt idx="71">
                  <c:v>16700</c:v>
                </c:pt>
                <c:pt idx="72">
                  <c:v>16700</c:v>
                </c:pt>
                <c:pt idx="73">
                  <c:v>16700</c:v>
                </c:pt>
                <c:pt idx="74">
                  <c:v>16700</c:v>
                </c:pt>
                <c:pt idx="75">
                  <c:v>#N/A</c:v>
                </c:pt>
                <c:pt idx="76">
                  <c:v>#N/A</c:v>
                </c:pt>
                <c:pt idx="77">
                  <c:v>16700</c:v>
                </c:pt>
                <c:pt idx="78">
                  <c:v>16700</c:v>
                </c:pt>
                <c:pt idx="79">
                  <c:v>16500</c:v>
                </c:pt>
                <c:pt idx="80">
                  <c:v>16500</c:v>
                </c:pt>
                <c:pt idx="81">
                  <c:v>16500</c:v>
                </c:pt>
                <c:pt idx="82">
                  <c:v>#N/A</c:v>
                </c:pt>
                <c:pt idx="83">
                  <c:v>#N/A</c:v>
                </c:pt>
                <c:pt idx="84">
                  <c:v>16300</c:v>
                </c:pt>
                <c:pt idx="85">
                  <c:v>16300</c:v>
                </c:pt>
                <c:pt idx="86">
                  <c:v>16000</c:v>
                </c:pt>
                <c:pt idx="87">
                  <c:v>15200</c:v>
                </c:pt>
                <c:pt idx="88">
                  <c:v>15000</c:v>
                </c:pt>
                <c:pt idx="89">
                  <c:v>#N/A</c:v>
                </c:pt>
                <c:pt idx="90">
                  <c:v>#N/A</c:v>
                </c:pt>
                <c:pt idx="91">
                  <c:v>15000</c:v>
                </c:pt>
                <c:pt idx="92">
                  <c:v>15000</c:v>
                </c:pt>
                <c:pt idx="93">
                  <c:v>14500</c:v>
                </c:pt>
                <c:pt idx="94">
                  <c:v>#N/A</c:v>
                </c:pt>
                <c:pt idx="95">
                  <c:v>#N/A</c:v>
                </c:pt>
                <c:pt idx="96">
                  <c:v>#N/A</c:v>
                </c:pt>
                <c:pt idx="97">
                  <c:v>14300</c:v>
                </c:pt>
                <c:pt idx="98">
                  <c:v>14300</c:v>
                </c:pt>
                <c:pt idx="99">
                  <c:v>14300</c:v>
                </c:pt>
                <c:pt idx="100">
                  <c:v>14300</c:v>
                </c:pt>
                <c:pt idx="101">
                  <c:v>14300</c:v>
                </c:pt>
                <c:pt idx="102">
                  <c:v>14000</c:v>
                </c:pt>
                <c:pt idx="103">
                  <c:v>#N/A</c:v>
                </c:pt>
                <c:pt idx="104">
                  <c:v>#N/A</c:v>
                </c:pt>
                <c:pt idx="105">
                  <c:v>14000</c:v>
                </c:pt>
                <c:pt idx="106">
                  <c:v>13800</c:v>
                </c:pt>
                <c:pt idx="107">
                  <c:v>13800</c:v>
                </c:pt>
                <c:pt idx="108">
                  <c:v>13800</c:v>
                </c:pt>
                <c:pt idx="109">
                  <c:v>13800</c:v>
                </c:pt>
                <c:pt idx="110">
                  <c:v>#N/A</c:v>
                </c:pt>
                <c:pt idx="111">
                  <c:v>#N/A</c:v>
                </c:pt>
                <c:pt idx="112">
                  <c:v>13600</c:v>
                </c:pt>
                <c:pt idx="113">
                  <c:v>13600</c:v>
                </c:pt>
                <c:pt idx="114">
                  <c:v>13500</c:v>
                </c:pt>
                <c:pt idx="115">
                  <c:v>13500</c:v>
                </c:pt>
                <c:pt idx="116">
                  <c:v>13500</c:v>
                </c:pt>
                <c:pt idx="117">
                  <c:v>#N/A</c:v>
                </c:pt>
                <c:pt idx="118">
                  <c:v>13500</c:v>
                </c:pt>
                <c:pt idx="119">
                  <c:v>13500</c:v>
                </c:pt>
                <c:pt idx="120">
                  <c:v>13400</c:v>
                </c:pt>
                <c:pt idx="121">
                  <c:v>#N/A</c:v>
                </c:pt>
                <c:pt idx="122">
                  <c:v>#N/A</c:v>
                </c:pt>
                <c:pt idx="123">
                  <c:v>#N/A</c:v>
                </c:pt>
                <c:pt idx="124">
                  <c:v>#N/A</c:v>
                </c:pt>
                <c:pt idx="125">
                  <c:v>#N/A</c:v>
                </c:pt>
                <c:pt idx="126">
                  <c:v>13400</c:v>
                </c:pt>
                <c:pt idx="127">
                  <c:v>13300</c:v>
                </c:pt>
                <c:pt idx="128">
                  <c:v>13300</c:v>
                </c:pt>
                <c:pt idx="129">
                  <c:v>13400</c:v>
                </c:pt>
                <c:pt idx="130">
                  <c:v>13500</c:v>
                </c:pt>
                <c:pt idx="131">
                  <c:v>13500</c:v>
                </c:pt>
                <c:pt idx="132">
                  <c:v>#N/A</c:v>
                </c:pt>
                <c:pt idx="133">
                  <c:v>13500</c:v>
                </c:pt>
                <c:pt idx="134">
                  <c:v>13500</c:v>
                </c:pt>
                <c:pt idx="135">
                  <c:v>13500</c:v>
                </c:pt>
                <c:pt idx="136">
                  <c:v>13500</c:v>
                </c:pt>
                <c:pt idx="137">
                  <c:v>13600</c:v>
                </c:pt>
                <c:pt idx="138">
                  <c:v>#N/A</c:v>
                </c:pt>
                <c:pt idx="139">
                  <c:v>#N/A</c:v>
                </c:pt>
                <c:pt idx="140">
                  <c:v>13600</c:v>
                </c:pt>
                <c:pt idx="141">
                  <c:v>13600</c:v>
                </c:pt>
                <c:pt idx="142">
                  <c:v>13500</c:v>
                </c:pt>
                <c:pt idx="143">
                  <c:v>13500</c:v>
                </c:pt>
                <c:pt idx="144">
                  <c:v>13500</c:v>
                </c:pt>
                <c:pt idx="145">
                  <c:v>#N/A</c:v>
                </c:pt>
                <c:pt idx="146">
                  <c:v>#N/A</c:v>
                </c:pt>
                <c:pt idx="147">
                  <c:v>13500</c:v>
                </c:pt>
                <c:pt idx="148">
                  <c:v>13600</c:v>
                </c:pt>
                <c:pt idx="149">
                  <c:v>13600</c:v>
                </c:pt>
                <c:pt idx="150">
                  <c:v>13600</c:v>
                </c:pt>
                <c:pt idx="151">
                  <c:v>13600</c:v>
                </c:pt>
                <c:pt idx="152">
                  <c:v>#N/A</c:v>
                </c:pt>
                <c:pt idx="153">
                  <c:v>#N/A</c:v>
                </c:pt>
                <c:pt idx="154">
                  <c:v>13600</c:v>
                </c:pt>
                <c:pt idx="155">
                  <c:v>13600</c:v>
                </c:pt>
                <c:pt idx="156">
                  <c:v>13600</c:v>
                </c:pt>
                <c:pt idx="157">
                  <c:v>13600</c:v>
                </c:pt>
                <c:pt idx="158">
                  <c:v>13600</c:v>
                </c:pt>
                <c:pt idx="159">
                  <c:v>#N/A</c:v>
                </c:pt>
                <c:pt idx="160">
                  <c:v>#N/A</c:v>
                </c:pt>
                <c:pt idx="161">
                  <c:v>#N/A</c:v>
                </c:pt>
                <c:pt idx="162">
                  <c:v>13600</c:v>
                </c:pt>
                <c:pt idx="163">
                  <c:v>13600</c:v>
                </c:pt>
                <c:pt idx="164">
                  <c:v>13600</c:v>
                </c:pt>
                <c:pt idx="165">
                  <c:v>13600</c:v>
                </c:pt>
                <c:pt idx="166">
                  <c:v>#N/A</c:v>
                </c:pt>
                <c:pt idx="167">
                  <c:v>#N/A</c:v>
                </c:pt>
                <c:pt idx="168">
                  <c:v>13600</c:v>
                </c:pt>
                <c:pt idx="169">
                  <c:v>13600</c:v>
                </c:pt>
                <c:pt idx="170">
                  <c:v>13600</c:v>
                </c:pt>
                <c:pt idx="171">
                  <c:v>13600</c:v>
                </c:pt>
                <c:pt idx="172">
                  <c:v>13600</c:v>
                </c:pt>
                <c:pt idx="173">
                  <c:v>#N/A</c:v>
                </c:pt>
                <c:pt idx="174">
                  <c:v>#N/A</c:v>
                </c:pt>
                <c:pt idx="175">
                  <c:v>13700</c:v>
                </c:pt>
                <c:pt idx="176">
                  <c:v>13700</c:v>
                </c:pt>
                <c:pt idx="177">
                  <c:v>13700</c:v>
                </c:pt>
                <c:pt idx="178">
                  <c:v>13700</c:v>
                </c:pt>
                <c:pt idx="179">
                  <c:v>13700</c:v>
                </c:pt>
                <c:pt idx="180">
                  <c:v>#N/A</c:v>
                </c:pt>
                <c:pt idx="181">
                  <c:v>#N/A</c:v>
                </c:pt>
                <c:pt idx="182">
                  <c:v>13700</c:v>
                </c:pt>
                <c:pt idx="183">
                  <c:v>13700</c:v>
                </c:pt>
                <c:pt idx="184">
                  <c:v>13700</c:v>
                </c:pt>
                <c:pt idx="185">
                  <c:v>13700</c:v>
                </c:pt>
                <c:pt idx="186">
                  <c:v>1370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3-DE2E-4316-A713-3E407B26294A}"/>
            </c:ext>
          </c:extLst>
        </c:ser>
        <c:dLbls>
          <c:showLegendKey val="0"/>
          <c:showVal val="0"/>
          <c:showCatName val="0"/>
          <c:showSerName val="0"/>
          <c:showPercent val="0"/>
          <c:showBubbleSize val="0"/>
        </c:dLbls>
        <c:smooth val="0"/>
        <c:axId val="793051727"/>
        <c:axId val="299622143"/>
      </c:lineChart>
      <c:catAx>
        <c:axId val="7930517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299622143"/>
        <c:crosses val="autoZero"/>
        <c:auto val="1"/>
        <c:lblAlgn val="ctr"/>
        <c:lblOffset val="100"/>
        <c:noMultiLvlLbl val="0"/>
      </c:catAx>
      <c:valAx>
        <c:axId val="299622143"/>
        <c:scaling>
          <c:orientation val="minMax"/>
          <c:max val="60000"/>
          <c:min val="10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7930517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r>
              <a:rPr lang="zh-CN" sz="1400"/>
              <a:t>有机中间体开工率</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有机硅开工!$K$2</c:f>
              <c:strCache>
                <c:ptCount val="1"/>
                <c:pt idx="0">
                  <c:v>2021</c:v>
                </c:pt>
              </c:strCache>
            </c:strRef>
          </c:tx>
          <c:spPr>
            <a:ln w="19050" cap="rnd">
              <a:solidFill>
                <a:srgbClr val="B57222">
                  <a:alpha val="60000"/>
                </a:srgbClr>
              </a:solidFill>
              <a:round/>
            </a:ln>
            <a:effectLst/>
          </c:spPr>
          <c:marker>
            <c:symbol val="none"/>
          </c:marker>
          <c:cat>
            <c:strRef>
              <c:f>有机硅开工!$I$3:$I$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K$3:$K$368</c:f>
              <c:numCache>
                <c:formatCode>General</c:formatCode>
                <c:ptCount val="366"/>
                <c:pt idx="0">
                  <c:v>78.23</c:v>
                </c:pt>
                <c:pt idx="1">
                  <c:v>#N/A</c:v>
                </c:pt>
                <c:pt idx="2">
                  <c:v>#N/A</c:v>
                </c:pt>
                <c:pt idx="3">
                  <c:v>#N/A</c:v>
                </c:pt>
                <c:pt idx="4">
                  <c:v>#N/A</c:v>
                </c:pt>
                <c:pt idx="5">
                  <c:v>#N/A</c:v>
                </c:pt>
                <c:pt idx="6">
                  <c:v>#N/A</c:v>
                </c:pt>
                <c:pt idx="7">
                  <c:v>78.23</c:v>
                </c:pt>
                <c:pt idx="8">
                  <c:v>#N/A</c:v>
                </c:pt>
                <c:pt idx="9">
                  <c:v>#N/A</c:v>
                </c:pt>
                <c:pt idx="10">
                  <c:v>#N/A</c:v>
                </c:pt>
                <c:pt idx="11">
                  <c:v>#N/A</c:v>
                </c:pt>
                <c:pt idx="12">
                  <c:v>#N/A</c:v>
                </c:pt>
                <c:pt idx="13">
                  <c:v>#N/A</c:v>
                </c:pt>
                <c:pt idx="14">
                  <c:v>78.23</c:v>
                </c:pt>
                <c:pt idx="15">
                  <c:v>#N/A</c:v>
                </c:pt>
                <c:pt idx="16">
                  <c:v>#N/A</c:v>
                </c:pt>
                <c:pt idx="17">
                  <c:v>#N/A</c:v>
                </c:pt>
                <c:pt idx="18">
                  <c:v>#N/A</c:v>
                </c:pt>
                <c:pt idx="19">
                  <c:v>#N/A</c:v>
                </c:pt>
                <c:pt idx="20">
                  <c:v>#N/A</c:v>
                </c:pt>
                <c:pt idx="21">
                  <c:v>85.68</c:v>
                </c:pt>
                <c:pt idx="22">
                  <c:v>#N/A</c:v>
                </c:pt>
                <c:pt idx="23">
                  <c:v>#N/A</c:v>
                </c:pt>
                <c:pt idx="24">
                  <c:v>#N/A</c:v>
                </c:pt>
                <c:pt idx="25">
                  <c:v>#N/A</c:v>
                </c:pt>
                <c:pt idx="26">
                  <c:v>#N/A</c:v>
                </c:pt>
                <c:pt idx="27">
                  <c:v>#N/A</c:v>
                </c:pt>
                <c:pt idx="28">
                  <c:v>86.3</c:v>
                </c:pt>
                <c:pt idx="29">
                  <c:v>#N/A</c:v>
                </c:pt>
                <c:pt idx="30">
                  <c:v>#N/A</c:v>
                </c:pt>
                <c:pt idx="31">
                  <c:v>#N/A</c:v>
                </c:pt>
                <c:pt idx="32">
                  <c:v>#N/A</c:v>
                </c:pt>
                <c:pt idx="33">
                  <c:v>#N/A</c:v>
                </c:pt>
                <c:pt idx="34">
                  <c:v>#N/A</c:v>
                </c:pt>
                <c:pt idx="35">
                  <c:v>87.24</c:v>
                </c:pt>
                <c:pt idx="36">
                  <c:v>#N/A</c:v>
                </c:pt>
                <c:pt idx="37">
                  <c:v>#N/A</c:v>
                </c:pt>
                <c:pt idx="38">
                  <c:v>#N/A</c:v>
                </c:pt>
                <c:pt idx="39">
                  <c:v>#N/A</c:v>
                </c:pt>
                <c:pt idx="40">
                  <c:v>#N/A</c:v>
                </c:pt>
                <c:pt idx="41">
                  <c:v>#N/A</c:v>
                </c:pt>
                <c:pt idx="42">
                  <c:v>73.89</c:v>
                </c:pt>
                <c:pt idx="43">
                  <c:v>#N/A</c:v>
                </c:pt>
                <c:pt idx="44">
                  <c:v>#N/A</c:v>
                </c:pt>
                <c:pt idx="45">
                  <c:v>#N/A</c:v>
                </c:pt>
                <c:pt idx="46">
                  <c:v>#N/A</c:v>
                </c:pt>
                <c:pt idx="47">
                  <c:v>#N/A</c:v>
                </c:pt>
                <c:pt idx="48">
                  <c:v>#N/A</c:v>
                </c:pt>
                <c:pt idx="49">
                  <c:v>76.37</c:v>
                </c:pt>
                <c:pt idx="50">
                  <c:v>#N/A</c:v>
                </c:pt>
                <c:pt idx="51">
                  <c:v>#N/A</c:v>
                </c:pt>
                <c:pt idx="52">
                  <c:v>#N/A</c:v>
                </c:pt>
                <c:pt idx="53">
                  <c:v>#N/A</c:v>
                </c:pt>
                <c:pt idx="54">
                  <c:v>#N/A</c:v>
                </c:pt>
                <c:pt idx="55">
                  <c:v>#N/A</c:v>
                </c:pt>
                <c:pt idx="56">
                  <c:v>76.989999999999995</c:v>
                </c:pt>
                <c:pt idx="57">
                  <c:v>#N/A</c:v>
                </c:pt>
                <c:pt idx="58">
                  <c:v>#N/A</c:v>
                </c:pt>
                <c:pt idx="60">
                  <c:v>#N/A</c:v>
                </c:pt>
                <c:pt idx="61">
                  <c:v>#N/A</c:v>
                </c:pt>
                <c:pt idx="62">
                  <c:v>#N/A</c:v>
                </c:pt>
                <c:pt idx="63">
                  <c:v>#N/A</c:v>
                </c:pt>
                <c:pt idx="64">
                  <c:v>78.349999999999994</c:v>
                </c:pt>
                <c:pt idx="65">
                  <c:v>#N/A</c:v>
                </c:pt>
                <c:pt idx="66">
                  <c:v>#N/A</c:v>
                </c:pt>
                <c:pt idx="67">
                  <c:v>#N/A</c:v>
                </c:pt>
                <c:pt idx="68">
                  <c:v>#N/A</c:v>
                </c:pt>
                <c:pt idx="69">
                  <c:v>#N/A</c:v>
                </c:pt>
                <c:pt idx="70">
                  <c:v>#N/A</c:v>
                </c:pt>
                <c:pt idx="71">
                  <c:v>81.67</c:v>
                </c:pt>
                <c:pt idx="72">
                  <c:v>#N/A</c:v>
                </c:pt>
                <c:pt idx="73">
                  <c:v>#N/A</c:v>
                </c:pt>
                <c:pt idx="74">
                  <c:v>#N/A</c:v>
                </c:pt>
                <c:pt idx="75">
                  <c:v>#N/A</c:v>
                </c:pt>
                <c:pt idx="76">
                  <c:v>#N/A</c:v>
                </c:pt>
                <c:pt idx="77">
                  <c:v>#N/A</c:v>
                </c:pt>
                <c:pt idx="78">
                  <c:v>82.09</c:v>
                </c:pt>
                <c:pt idx="79">
                  <c:v>#N/A</c:v>
                </c:pt>
                <c:pt idx="80">
                  <c:v>#N/A</c:v>
                </c:pt>
                <c:pt idx="81">
                  <c:v>#N/A</c:v>
                </c:pt>
                <c:pt idx="82">
                  <c:v>#N/A</c:v>
                </c:pt>
                <c:pt idx="83">
                  <c:v>#N/A</c:v>
                </c:pt>
                <c:pt idx="84">
                  <c:v>#N/A</c:v>
                </c:pt>
                <c:pt idx="85">
                  <c:v>79.87</c:v>
                </c:pt>
                <c:pt idx="86">
                  <c:v>#N/A</c:v>
                </c:pt>
                <c:pt idx="87">
                  <c:v>#N/A</c:v>
                </c:pt>
                <c:pt idx="88">
                  <c:v>#N/A</c:v>
                </c:pt>
                <c:pt idx="89">
                  <c:v>#N/A</c:v>
                </c:pt>
                <c:pt idx="90">
                  <c:v>#N/A</c:v>
                </c:pt>
                <c:pt idx="91">
                  <c:v>#N/A</c:v>
                </c:pt>
                <c:pt idx="92">
                  <c:v>82.09</c:v>
                </c:pt>
                <c:pt idx="93">
                  <c:v>#N/A</c:v>
                </c:pt>
                <c:pt idx="94">
                  <c:v>#N/A</c:v>
                </c:pt>
                <c:pt idx="95">
                  <c:v>#N/A</c:v>
                </c:pt>
                <c:pt idx="96">
                  <c:v>#N/A</c:v>
                </c:pt>
                <c:pt idx="97">
                  <c:v>#N/A</c:v>
                </c:pt>
                <c:pt idx="98">
                  <c:v>#N/A</c:v>
                </c:pt>
                <c:pt idx="99">
                  <c:v>84.31</c:v>
                </c:pt>
                <c:pt idx="100">
                  <c:v>#N/A</c:v>
                </c:pt>
                <c:pt idx="101">
                  <c:v>#N/A</c:v>
                </c:pt>
                <c:pt idx="102">
                  <c:v>#N/A</c:v>
                </c:pt>
                <c:pt idx="103">
                  <c:v>#N/A</c:v>
                </c:pt>
                <c:pt idx="104">
                  <c:v>#N/A</c:v>
                </c:pt>
                <c:pt idx="105">
                  <c:v>#N/A</c:v>
                </c:pt>
                <c:pt idx="106">
                  <c:v>78.489999999999995</c:v>
                </c:pt>
                <c:pt idx="107">
                  <c:v>#N/A</c:v>
                </c:pt>
                <c:pt idx="108">
                  <c:v>#N/A</c:v>
                </c:pt>
                <c:pt idx="109">
                  <c:v>#N/A</c:v>
                </c:pt>
                <c:pt idx="110">
                  <c:v>#N/A</c:v>
                </c:pt>
                <c:pt idx="111">
                  <c:v>#N/A</c:v>
                </c:pt>
                <c:pt idx="112">
                  <c:v>#N/A</c:v>
                </c:pt>
                <c:pt idx="113">
                  <c:v>80.7</c:v>
                </c:pt>
                <c:pt idx="114">
                  <c:v>#N/A</c:v>
                </c:pt>
                <c:pt idx="115">
                  <c:v>#N/A</c:v>
                </c:pt>
                <c:pt idx="116">
                  <c:v>#N/A</c:v>
                </c:pt>
                <c:pt idx="117">
                  <c:v>#N/A</c:v>
                </c:pt>
                <c:pt idx="118">
                  <c:v>#N/A</c:v>
                </c:pt>
                <c:pt idx="119">
                  <c:v>#N/A</c:v>
                </c:pt>
                <c:pt idx="120">
                  <c:v>81.540000000000006</c:v>
                </c:pt>
                <c:pt idx="121">
                  <c:v>#N/A</c:v>
                </c:pt>
                <c:pt idx="122">
                  <c:v>#N/A</c:v>
                </c:pt>
                <c:pt idx="123">
                  <c:v>#N/A</c:v>
                </c:pt>
                <c:pt idx="124">
                  <c:v>#N/A</c:v>
                </c:pt>
                <c:pt idx="125">
                  <c:v>#N/A</c:v>
                </c:pt>
                <c:pt idx="126">
                  <c:v>#N/A</c:v>
                </c:pt>
                <c:pt idx="127">
                  <c:v>82.92</c:v>
                </c:pt>
                <c:pt idx="128">
                  <c:v>#N/A</c:v>
                </c:pt>
                <c:pt idx="129">
                  <c:v>#N/A</c:v>
                </c:pt>
                <c:pt idx="130">
                  <c:v>#N/A</c:v>
                </c:pt>
                <c:pt idx="131">
                  <c:v>#N/A</c:v>
                </c:pt>
                <c:pt idx="132">
                  <c:v>#N/A</c:v>
                </c:pt>
                <c:pt idx="133">
                  <c:v>#N/A</c:v>
                </c:pt>
                <c:pt idx="134">
                  <c:v>80.7</c:v>
                </c:pt>
                <c:pt idx="135">
                  <c:v>#N/A</c:v>
                </c:pt>
                <c:pt idx="136">
                  <c:v>#N/A</c:v>
                </c:pt>
                <c:pt idx="137">
                  <c:v>#N/A</c:v>
                </c:pt>
                <c:pt idx="138">
                  <c:v>#N/A</c:v>
                </c:pt>
                <c:pt idx="139">
                  <c:v>#N/A</c:v>
                </c:pt>
                <c:pt idx="140">
                  <c:v>#N/A</c:v>
                </c:pt>
                <c:pt idx="141">
                  <c:v>77.099999999999994</c:v>
                </c:pt>
                <c:pt idx="142">
                  <c:v>#N/A</c:v>
                </c:pt>
                <c:pt idx="143">
                  <c:v>#N/A</c:v>
                </c:pt>
                <c:pt idx="144">
                  <c:v>#N/A</c:v>
                </c:pt>
                <c:pt idx="145">
                  <c:v>#N/A</c:v>
                </c:pt>
                <c:pt idx="146">
                  <c:v>#N/A</c:v>
                </c:pt>
                <c:pt idx="147">
                  <c:v>#N/A</c:v>
                </c:pt>
                <c:pt idx="148">
                  <c:v>91.24</c:v>
                </c:pt>
                <c:pt idx="149">
                  <c:v>#N/A</c:v>
                </c:pt>
                <c:pt idx="150">
                  <c:v>#N/A</c:v>
                </c:pt>
                <c:pt idx="151">
                  <c:v>#N/A</c:v>
                </c:pt>
                <c:pt idx="152">
                  <c:v>#N/A</c:v>
                </c:pt>
                <c:pt idx="153">
                  <c:v>#N/A</c:v>
                </c:pt>
                <c:pt idx="154">
                  <c:v>#N/A</c:v>
                </c:pt>
                <c:pt idx="155">
                  <c:v>84.59</c:v>
                </c:pt>
                <c:pt idx="156">
                  <c:v>#N/A</c:v>
                </c:pt>
                <c:pt idx="157">
                  <c:v>#N/A</c:v>
                </c:pt>
                <c:pt idx="158">
                  <c:v>#N/A</c:v>
                </c:pt>
                <c:pt idx="159">
                  <c:v>#N/A</c:v>
                </c:pt>
                <c:pt idx="160">
                  <c:v>#N/A</c:v>
                </c:pt>
                <c:pt idx="161">
                  <c:v>#N/A</c:v>
                </c:pt>
                <c:pt idx="162">
                  <c:v>85.42</c:v>
                </c:pt>
                <c:pt idx="163">
                  <c:v>#N/A</c:v>
                </c:pt>
                <c:pt idx="164">
                  <c:v>#N/A</c:v>
                </c:pt>
                <c:pt idx="165">
                  <c:v>#N/A</c:v>
                </c:pt>
                <c:pt idx="166">
                  <c:v>#N/A</c:v>
                </c:pt>
                <c:pt idx="167">
                  <c:v>#N/A</c:v>
                </c:pt>
                <c:pt idx="168">
                  <c:v>#N/A</c:v>
                </c:pt>
                <c:pt idx="169">
                  <c:v>85.7</c:v>
                </c:pt>
                <c:pt idx="170">
                  <c:v>#N/A</c:v>
                </c:pt>
                <c:pt idx="171">
                  <c:v>#N/A</c:v>
                </c:pt>
                <c:pt idx="172">
                  <c:v>#N/A</c:v>
                </c:pt>
                <c:pt idx="173">
                  <c:v>#N/A</c:v>
                </c:pt>
                <c:pt idx="174">
                  <c:v>#N/A</c:v>
                </c:pt>
                <c:pt idx="175">
                  <c:v>#N/A</c:v>
                </c:pt>
                <c:pt idx="176">
                  <c:v>89.02</c:v>
                </c:pt>
                <c:pt idx="177">
                  <c:v>#N/A</c:v>
                </c:pt>
                <c:pt idx="178">
                  <c:v>#N/A</c:v>
                </c:pt>
                <c:pt idx="179">
                  <c:v>#N/A</c:v>
                </c:pt>
                <c:pt idx="180">
                  <c:v>#N/A</c:v>
                </c:pt>
                <c:pt idx="181">
                  <c:v>#N/A</c:v>
                </c:pt>
                <c:pt idx="182">
                  <c:v>#N/A</c:v>
                </c:pt>
                <c:pt idx="183">
                  <c:v>92.07</c:v>
                </c:pt>
                <c:pt idx="184">
                  <c:v>#N/A</c:v>
                </c:pt>
                <c:pt idx="185">
                  <c:v>#N/A</c:v>
                </c:pt>
                <c:pt idx="186">
                  <c:v>#N/A</c:v>
                </c:pt>
                <c:pt idx="187">
                  <c:v>#N/A</c:v>
                </c:pt>
                <c:pt idx="188">
                  <c:v>#N/A</c:v>
                </c:pt>
                <c:pt idx="189">
                  <c:v>#N/A</c:v>
                </c:pt>
                <c:pt idx="190">
                  <c:v>89.86</c:v>
                </c:pt>
                <c:pt idx="191">
                  <c:v>#N/A</c:v>
                </c:pt>
                <c:pt idx="192">
                  <c:v>#N/A</c:v>
                </c:pt>
                <c:pt idx="193">
                  <c:v>#N/A</c:v>
                </c:pt>
                <c:pt idx="194">
                  <c:v>#N/A</c:v>
                </c:pt>
                <c:pt idx="195">
                  <c:v>#N/A</c:v>
                </c:pt>
                <c:pt idx="196">
                  <c:v>#N/A</c:v>
                </c:pt>
                <c:pt idx="197">
                  <c:v>89.3</c:v>
                </c:pt>
                <c:pt idx="198">
                  <c:v>#N/A</c:v>
                </c:pt>
                <c:pt idx="199">
                  <c:v>#N/A</c:v>
                </c:pt>
                <c:pt idx="200">
                  <c:v>#N/A</c:v>
                </c:pt>
                <c:pt idx="201">
                  <c:v>#N/A</c:v>
                </c:pt>
                <c:pt idx="202">
                  <c:v>#N/A</c:v>
                </c:pt>
                <c:pt idx="203">
                  <c:v>#N/A</c:v>
                </c:pt>
                <c:pt idx="204">
                  <c:v>92.63</c:v>
                </c:pt>
                <c:pt idx="205">
                  <c:v>#N/A</c:v>
                </c:pt>
                <c:pt idx="206">
                  <c:v>#N/A</c:v>
                </c:pt>
                <c:pt idx="207">
                  <c:v>#N/A</c:v>
                </c:pt>
                <c:pt idx="208">
                  <c:v>#N/A</c:v>
                </c:pt>
                <c:pt idx="209">
                  <c:v>#N/A</c:v>
                </c:pt>
                <c:pt idx="210">
                  <c:v>#N/A</c:v>
                </c:pt>
                <c:pt idx="211">
                  <c:v>94.02</c:v>
                </c:pt>
                <c:pt idx="212">
                  <c:v>#N/A</c:v>
                </c:pt>
                <c:pt idx="213">
                  <c:v>#N/A</c:v>
                </c:pt>
                <c:pt idx="214">
                  <c:v>#N/A</c:v>
                </c:pt>
                <c:pt idx="215">
                  <c:v>#N/A</c:v>
                </c:pt>
                <c:pt idx="216">
                  <c:v>#N/A</c:v>
                </c:pt>
                <c:pt idx="217">
                  <c:v>#N/A</c:v>
                </c:pt>
                <c:pt idx="218">
                  <c:v>95.13</c:v>
                </c:pt>
                <c:pt idx="219">
                  <c:v>#N/A</c:v>
                </c:pt>
                <c:pt idx="220">
                  <c:v>#N/A</c:v>
                </c:pt>
                <c:pt idx="221">
                  <c:v>#N/A</c:v>
                </c:pt>
                <c:pt idx="222">
                  <c:v>#N/A</c:v>
                </c:pt>
                <c:pt idx="223">
                  <c:v>#N/A</c:v>
                </c:pt>
                <c:pt idx="224">
                  <c:v>#N/A</c:v>
                </c:pt>
                <c:pt idx="225">
                  <c:v>92.35</c:v>
                </c:pt>
                <c:pt idx="226">
                  <c:v>#N/A</c:v>
                </c:pt>
                <c:pt idx="227">
                  <c:v>#N/A</c:v>
                </c:pt>
                <c:pt idx="228">
                  <c:v>#N/A</c:v>
                </c:pt>
                <c:pt idx="229">
                  <c:v>#N/A</c:v>
                </c:pt>
                <c:pt idx="230">
                  <c:v>#N/A</c:v>
                </c:pt>
                <c:pt idx="231">
                  <c:v>#N/A</c:v>
                </c:pt>
                <c:pt idx="232">
                  <c:v>89.58</c:v>
                </c:pt>
                <c:pt idx="233">
                  <c:v>#N/A</c:v>
                </c:pt>
                <c:pt idx="234">
                  <c:v>#N/A</c:v>
                </c:pt>
                <c:pt idx="235">
                  <c:v>#N/A</c:v>
                </c:pt>
                <c:pt idx="236">
                  <c:v>#N/A</c:v>
                </c:pt>
                <c:pt idx="237">
                  <c:v>#N/A</c:v>
                </c:pt>
                <c:pt idx="238">
                  <c:v>#N/A</c:v>
                </c:pt>
                <c:pt idx="239">
                  <c:v>91.52</c:v>
                </c:pt>
                <c:pt idx="240">
                  <c:v>#N/A</c:v>
                </c:pt>
                <c:pt idx="241">
                  <c:v>#N/A</c:v>
                </c:pt>
                <c:pt idx="242">
                  <c:v>#N/A</c:v>
                </c:pt>
                <c:pt idx="243">
                  <c:v>#N/A</c:v>
                </c:pt>
                <c:pt idx="244">
                  <c:v>#N/A</c:v>
                </c:pt>
                <c:pt idx="245">
                  <c:v>#N/A</c:v>
                </c:pt>
                <c:pt idx="246">
                  <c:v>93.18</c:v>
                </c:pt>
                <c:pt idx="247">
                  <c:v>#N/A</c:v>
                </c:pt>
                <c:pt idx="248">
                  <c:v>#N/A</c:v>
                </c:pt>
                <c:pt idx="249">
                  <c:v>#N/A</c:v>
                </c:pt>
                <c:pt idx="250">
                  <c:v>#N/A</c:v>
                </c:pt>
                <c:pt idx="251">
                  <c:v>#N/A</c:v>
                </c:pt>
                <c:pt idx="252">
                  <c:v>#N/A</c:v>
                </c:pt>
                <c:pt idx="253">
                  <c:v>91.24</c:v>
                </c:pt>
                <c:pt idx="254">
                  <c:v>#N/A</c:v>
                </c:pt>
                <c:pt idx="255">
                  <c:v>#N/A</c:v>
                </c:pt>
                <c:pt idx="256">
                  <c:v>#N/A</c:v>
                </c:pt>
                <c:pt idx="257">
                  <c:v>#N/A</c:v>
                </c:pt>
                <c:pt idx="258">
                  <c:v>#N/A</c:v>
                </c:pt>
                <c:pt idx="259">
                  <c:v>#N/A</c:v>
                </c:pt>
                <c:pt idx="260">
                  <c:v>89.86</c:v>
                </c:pt>
                <c:pt idx="261">
                  <c:v>#N/A</c:v>
                </c:pt>
                <c:pt idx="262">
                  <c:v>#N/A</c:v>
                </c:pt>
                <c:pt idx="263">
                  <c:v>#N/A</c:v>
                </c:pt>
                <c:pt idx="264">
                  <c:v>#N/A</c:v>
                </c:pt>
                <c:pt idx="265">
                  <c:v>#N/A</c:v>
                </c:pt>
                <c:pt idx="266">
                  <c:v>#N/A</c:v>
                </c:pt>
                <c:pt idx="267">
                  <c:v>83.2</c:v>
                </c:pt>
                <c:pt idx="268">
                  <c:v>#N/A</c:v>
                </c:pt>
                <c:pt idx="269">
                  <c:v>#N/A</c:v>
                </c:pt>
                <c:pt idx="270">
                  <c:v>#N/A</c:v>
                </c:pt>
                <c:pt idx="271">
                  <c:v>#N/A</c:v>
                </c:pt>
                <c:pt idx="272">
                  <c:v>#N/A</c:v>
                </c:pt>
                <c:pt idx="273">
                  <c:v>#N/A</c:v>
                </c:pt>
                <c:pt idx="274">
                  <c:v>86.53</c:v>
                </c:pt>
                <c:pt idx="275">
                  <c:v>#N/A</c:v>
                </c:pt>
                <c:pt idx="276">
                  <c:v>#N/A</c:v>
                </c:pt>
                <c:pt idx="277">
                  <c:v>#N/A</c:v>
                </c:pt>
                <c:pt idx="278">
                  <c:v>#N/A</c:v>
                </c:pt>
                <c:pt idx="279">
                  <c:v>#N/A</c:v>
                </c:pt>
                <c:pt idx="280">
                  <c:v>#N/A</c:v>
                </c:pt>
                <c:pt idx="281">
                  <c:v>84.59</c:v>
                </c:pt>
                <c:pt idx="282">
                  <c:v>#N/A</c:v>
                </c:pt>
                <c:pt idx="283">
                  <c:v>#N/A</c:v>
                </c:pt>
                <c:pt idx="284">
                  <c:v>#N/A</c:v>
                </c:pt>
                <c:pt idx="285">
                  <c:v>#N/A</c:v>
                </c:pt>
                <c:pt idx="286">
                  <c:v>#N/A</c:v>
                </c:pt>
                <c:pt idx="287">
                  <c:v>#N/A</c:v>
                </c:pt>
                <c:pt idx="288">
                  <c:v>89.58</c:v>
                </c:pt>
                <c:pt idx="289">
                  <c:v>#N/A</c:v>
                </c:pt>
                <c:pt idx="290">
                  <c:v>#N/A</c:v>
                </c:pt>
                <c:pt idx="291">
                  <c:v>#N/A</c:v>
                </c:pt>
                <c:pt idx="292">
                  <c:v>#N/A</c:v>
                </c:pt>
                <c:pt idx="293">
                  <c:v>#N/A</c:v>
                </c:pt>
                <c:pt idx="294">
                  <c:v>#N/A</c:v>
                </c:pt>
                <c:pt idx="295">
                  <c:v>95.13</c:v>
                </c:pt>
                <c:pt idx="296">
                  <c:v>#N/A</c:v>
                </c:pt>
                <c:pt idx="297">
                  <c:v>#N/A</c:v>
                </c:pt>
                <c:pt idx="298">
                  <c:v>#N/A</c:v>
                </c:pt>
                <c:pt idx="299">
                  <c:v>#N/A</c:v>
                </c:pt>
                <c:pt idx="300">
                  <c:v>#N/A</c:v>
                </c:pt>
                <c:pt idx="301">
                  <c:v>#N/A</c:v>
                </c:pt>
                <c:pt idx="302">
                  <c:v>95.13</c:v>
                </c:pt>
                <c:pt idx="303">
                  <c:v>#N/A</c:v>
                </c:pt>
                <c:pt idx="304">
                  <c:v>#N/A</c:v>
                </c:pt>
                <c:pt idx="305">
                  <c:v>#N/A</c:v>
                </c:pt>
                <c:pt idx="306">
                  <c:v>#N/A</c:v>
                </c:pt>
                <c:pt idx="307">
                  <c:v>#N/A</c:v>
                </c:pt>
                <c:pt idx="308">
                  <c:v>#N/A</c:v>
                </c:pt>
                <c:pt idx="309">
                  <c:v>97.9</c:v>
                </c:pt>
                <c:pt idx="310">
                  <c:v>#N/A</c:v>
                </c:pt>
                <c:pt idx="311">
                  <c:v>#N/A</c:v>
                </c:pt>
                <c:pt idx="312">
                  <c:v>#N/A</c:v>
                </c:pt>
                <c:pt idx="313">
                  <c:v>#N/A</c:v>
                </c:pt>
                <c:pt idx="314">
                  <c:v>#N/A</c:v>
                </c:pt>
                <c:pt idx="315">
                  <c:v>#N/A</c:v>
                </c:pt>
                <c:pt idx="316">
                  <c:v>100.12</c:v>
                </c:pt>
                <c:pt idx="317">
                  <c:v>#N/A</c:v>
                </c:pt>
                <c:pt idx="318">
                  <c:v>#N/A</c:v>
                </c:pt>
                <c:pt idx="319">
                  <c:v>#N/A</c:v>
                </c:pt>
                <c:pt idx="320">
                  <c:v>#N/A</c:v>
                </c:pt>
                <c:pt idx="321">
                  <c:v>#N/A</c:v>
                </c:pt>
                <c:pt idx="322">
                  <c:v>#N/A</c:v>
                </c:pt>
                <c:pt idx="323">
                  <c:v>97.9</c:v>
                </c:pt>
                <c:pt idx="324">
                  <c:v>#N/A</c:v>
                </c:pt>
                <c:pt idx="325">
                  <c:v>#N/A</c:v>
                </c:pt>
                <c:pt idx="326">
                  <c:v>#N/A</c:v>
                </c:pt>
                <c:pt idx="327">
                  <c:v>#N/A</c:v>
                </c:pt>
                <c:pt idx="328">
                  <c:v>#N/A</c:v>
                </c:pt>
                <c:pt idx="329">
                  <c:v>#N/A</c:v>
                </c:pt>
                <c:pt idx="330">
                  <c:v>99.01</c:v>
                </c:pt>
                <c:pt idx="331">
                  <c:v>#N/A</c:v>
                </c:pt>
                <c:pt idx="332">
                  <c:v>#N/A</c:v>
                </c:pt>
                <c:pt idx="333">
                  <c:v>#N/A</c:v>
                </c:pt>
                <c:pt idx="334">
                  <c:v>#N/A</c:v>
                </c:pt>
                <c:pt idx="335">
                  <c:v>#N/A</c:v>
                </c:pt>
                <c:pt idx="336">
                  <c:v>#N/A</c:v>
                </c:pt>
                <c:pt idx="337">
                  <c:v>93.18</c:v>
                </c:pt>
                <c:pt idx="338">
                  <c:v>#N/A</c:v>
                </c:pt>
                <c:pt idx="339">
                  <c:v>#N/A</c:v>
                </c:pt>
                <c:pt idx="340">
                  <c:v>#N/A</c:v>
                </c:pt>
                <c:pt idx="341">
                  <c:v>#N/A</c:v>
                </c:pt>
                <c:pt idx="342">
                  <c:v>#N/A</c:v>
                </c:pt>
                <c:pt idx="343">
                  <c:v>#N/A</c:v>
                </c:pt>
                <c:pt idx="344">
                  <c:v>90.97</c:v>
                </c:pt>
                <c:pt idx="345">
                  <c:v>#N/A</c:v>
                </c:pt>
                <c:pt idx="346">
                  <c:v>#N/A</c:v>
                </c:pt>
                <c:pt idx="347">
                  <c:v>#N/A</c:v>
                </c:pt>
                <c:pt idx="348">
                  <c:v>#N/A</c:v>
                </c:pt>
                <c:pt idx="349">
                  <c:v>#N/A</c:v>
                </c:pt>
                <c:pt idx="350">
                  <c:v>#N/A</c:v>
                </c:pt>
                <c:pt idx="351">
                  <c:v>88.75</c:v>
                </c:pt>
                <c:pt idx="352">
                  <c:v>#N/A</c:v>
                </c:pt>
                <c:pt idx="353">
                  <c:v>#N/A</c:v>
                </c:pt>
                <c:pt idx="354">
                  <c:v>#N/A</c:v>
                </c:pt>
                <c:pt idx="355">
                  <c:v>#N/A</c:v>
                </c:pt>
                <c:pt idx="356">
                  <c:v>#N/A</c:v>
                </c:pt>
                <c:pt idx="357">
                  <c:v>#N/A</c:v>
                </c:pt>
                <c:pt idx="358">
                  <c:v>84.59</c:v>
                </c:pt>
                <c:pt idx="359">
                  <c:v>#N/A</c:v>
                </c:pt>
                <c:pt idx="360">
                  <c:v>#N/A</c:v>
                </c:pt>
                <c:pt idx="361">
                  <c:v>#N/A</c:v>
                </c:pt>
                <c:pt idx="362">
                  <c:v>#N/A</c:v>
                </c:pt>
                <c:pt idx="363">
                  <c:v>#N/A</c:v>
                </c:pt>
                <c:pt idx="364">
                  <c:v>#N/A</c:v>
                </c:pt>
                <c:pt idx="365">
                  <c:v>82.37</c:v>
                </c:pt>
              </c:numCache>
            </c:numRef>
          </c:val>
          <c:smooth val="0"/>
          <c:extLst>
            <c:ext xmlns:c16="http://schemas.microsoft.com/office/drawing/2014/chart" uri="{C3380CC4-5D6E-409C-BE32-E72D297353CC}">
              <c16:uniqueId val="{00000000-20E5-41D9-9332-027FD61982EF}"/>
            </c:ext>
          </c:extLst>
        </c:ser>
        <c:ser>
          <c:idx val="1"/>
          <c:order val="1"/>
          <c:tx>
            <c:strRef>
              <c:f>有机硅开工!$L$2</c:f>
              <c:strCache>
                <c:ptCount val="1"/>
                <c:pt idx="0">
                  <c:v>2022</c:v>
                </c:pt>
              </c:strCache>
            </c:strRef>
          </c:tx>
          <c:spPr>
            <a:ln w="19050" cap="rnd">
              <a:solidFill>
                <a:schemeClr val="bg1">
                  <a:lumMod val="65000"/>
                </a:schemeClr>
              </a:solidFill>
              <a:round/>
            </a:ln>
            <a:effectLst/>
          </c:spPr>
          <c:marker>
            <c:symbol val="none"/>
          </c:marker>
          <c:cat>
            <c:strRef>
              <c:f>有机硅开工!$I$3:$I$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L$3:$L$368</c:f>
              <c:numCache>
                <c:formatCode>General</c:formatCode>
                <c:ptCount val="366"/>
                <c:pt idx="0">
                  <c:v>#N/A</c:v>
                </c:pt>
                <c:pt idx="1">
                  <c:v>#N/A</c:v>
                </c:pt>
                <c:pt idx="2">
                  <c:v>#N/A</c:v>
                </c:pt>
                <c:pt idx="3">
                  <c:v>#N/A</c:v>
                </c:pt>
                <c:pt idx="4">
                  <c:v>#N/A</c:v>
                </c:pt>
                <c:pt idx="5">
                  <c:v>#N/A</c:v>
                </c:pt>
                <c:pt idx="6">
                  <c:v>85.7</c:v>
                </c:pt>
                <c:pt idx="7">
                  <c:v>#N/A</c:v>
                </c:pt>
                <c:pt idx="8">
                  <c:v>#N/A</c:v>
                </c:pt>
                <c:pt idx="9">
                  <c:v>#N/A</c:v>
                </c:pt>
                <c:pt idx="10">
                  <c:v>#N/A</c:v>
                </c:pt>
                <c:pt idx="11">
                  <c:v>#N/A</c:v>
                </c:pt>
                <c:pt idx="12">
                  <c:v>#N/A</c:v>
                </c:pt>
                <c:pt idx="13">
                  <c:v>87.08</c:v>
                </c:pt>
                <c:pt idx="14">
                  <c:v>#N/A</c:v>
                </c:pt>
                <c:pt idx="15">
                  <c:v>#N/A</c:v>
                </c:pt>
                <c:pt idx="16">
                  <c:v>#N/A</c:v>
                </c:pt>
                <c:pt idx="17">
                  <c:v>#N/A</c:v>
                </c:pt>
                <c:pt idx="18">
                  <c:v>#N/A</c:v>
                </c:pt>
                <c:pt idx="19">
                  <c:v>#N/A</c:v>
                </c:pt>
                <c:pt idx="20">
                  <c:v>89.58</c:v>
                </c:pt>
                <c:pt idx="21">
                  <c:v>#N/A</c:v>
                </c:pt>
                <c:pt idx="22">
                  <c:v>#N/A</c:v>
                </c:pt>
                <c:pt idx="23">
                  <c:v>#N/A</c:v>
                </c:pt>
                <c:pt idx="24">
                  <c:v>#N/A</c:v>
                </c:pt>
                <c:pt idx="25">
                  <c:v>#N/A</c:v>
                </c:pt>
                <c:pt idx="26">
                  <c:v>#N/A</c:v>
                </c:pt>
                <c:pt idx="27">
                  <c:v>85.97</c:v>
                </c:pt>
                <c:pt idx="28">
                  <c:v>#N/A</c:v>
                </c:pt>
                <c:pt idx="29">
                  <c:v>#N/A</c:v>
                </c:pt>
                <c:pt idx="30">
                  <c:v>#N/A</c:v>
                </c:pt>
                <c:pt idx="31">
                  <c:v>#N/A</c:v>
                </c:pt>
                <c:pt idx="32">
                  <c:v>#N/A</c:v>
                </c:pt>
                <c:pt idx="33">
                  <c:v>#N/A</c:v>
                </c:pt>
                <c:pt idx="34">
                  <c:v>78.459999999999994</c:v>
                </c:pt>
                <c:pt idx="35">
                  <c:v>#N/A</c:v>
                </c:pt>
                <c:pt idx="36">
                  <c:v>#N/A</c:v>
                </c:pt>
                <c:pt idx="37">
                  <c:v>#N/A</c:v>
                </c:pt>
                <c:pt idx="38">
                  <c:v>#N/A</c:v>
                </c:pt>
                <c:pt idx="39">
                  <c:v>#N/A</c:v>
                </c:pt>
                <c:pt idx="40">
                  <c:v>#N/A</c:v>
                </c:pt>
                <c:pt idx="41">
                  <c:v>84.78</c:v>
                </c:pt>
                <c:pt idx="42">
                  <c:v>#N/A</c:v>
                </c:pt>
                <c:pt idx="43">
                  <c:v>#N/A</c:v>
                </c:pt>
                <c:pt idx="44">
                  <c:v>#N/A</c:v>
                </c:pt>
                <c:pt idx="45">
                  <c:v>#N/A</c:v>
                </c:pt>
                <c:pt idx="46">
                  <c:v>#N/A</c:v>
                </c:pt>
                <c:pt idx="47">
                  <c:v>#N/A</c:v>
                </c:pt>
                <c:pt idx="48">
                  <c:v>90.84</c:v>
                </c:pt>
                <c:pt idx="49">
                  <c:v>#N/A</c:v>
                </c:pt>
                <c:pt idx="50">
                  <c:v>#N/A</c:v>
                </c:pt>
                <c:pt idx="51">
                  <c:v>#N/A</c:v>
                </c:pt>
                <c:pt idx="52">
                  <c:v>#N/A</c:v>
                </c:pt>
                <c:pt idx="53">
                  <c:v>#N/A</c:v>
                </c:pt>
                <c:pt idx="54">
                  <c:v>#N/A</c:v>
                </c:pt>
                <c:pt idx="55">
                  <c:v>89.52</c:v>
                </c:pt>
                <c:pt idx="56">
                  <c:v>#N/A</c:v>
                </c:pt>
                <c:pt idx="57">
                  <c:v>#N/A</c:v>
                </c:pt>
                <c:pt idx="58">
                  <c:v>#N/A</c:v>
                </c:pt>
                <c:pt idx="60">
                  <c:v>#N/A</c:v>
                </c:pt>
                <c:pt idx="61">
                  <c:v>#N/A</c:v>
                </c:pt>
                <c:pt idx="62">
                  <c:v>#N/A</c:v>
                </c:pt>
                <c:pt idx="63">
                  <c:v>78.349999999999994</c:v>
                </c:pt>
                <c:pt idx="64">
                  <c:v>#N/A</c:v>
                </c:pt>
                <c:pt idx="65">
                  <c:v>#N/A</c:v>
                </c:pt>
                <c:pt idx="66">
                  <c:v>#N/A</c:v>
                </c:pt>
                <c:pt idx="67">
                  <c:v>#N/A</c:v>
                </c:pt>
                <c:pt idx="68">
                  <c:v>#N/A</c:v>
                </c:pt>
                <c:pt idx="69">
                  <c:v>#N/A</c:v>
                </c:pt>
                <c:pt idx="70">
                  <c:v>80.2</c:v>
                </c:pt>
                <c:pt idx="71">
                  <c:v>#N/A</c:v>
                </c:pt>
                <c:pt idx="72">
                  <c:v>#N/A</c:v>
                </c:pt>
                <c:pt idx="73">
                  <c:v>#N/A</c:v>
                </c:pt>
                <c:pt idx="74">
                  <c:v>#N/A</c:v>
                </c:pt>
                <c:pt idx="75">
                  <c:v>#N/A</c:v>
                </c:pt>
                <c:pt idx="76">
                  <c:v>#N/A</c:v>
                </c:pt>
                <c:pt idx="77">
                  <c:v>79.959999999999994</c:v>
                </c:pt>
                <c:pt idx="78">
                  <c:v>#N/A</c:v>
                </c:pt>
                <c:pt idx="79">
                  <c:v>#N/A</c:v>
                </c:pt>
                <c:pt idx="80">
                  <c:v>#N/A</c:v>
                </c:pt>
                <c:pt idx="81">
                  <c:v>#N/A</c:v>
                </c:pt>
                <c:pt idx="82">
                  <c:v>#N/A</c:v>
                </c:pt>
                <c:pt idx="83">
                  <c:v>#N/A</c:v>
                </c:pt>
                <c:pt idx="84">
                  <c:v>82.28</c:v>
                </c:pt>
                <c:pt idx="85">
                  <c:v>#N/A</c:v>
                </c:pt>
                <c:pt idx="86">
                  <c:v>#N/A</c:v>
                </c:pt>
                <c:pt idx="87">
                  <c:v>#N/A</c:v>
                </c:pt>
                <c:pt idx="88">
                  <c:v>#N/A</c:v>
                </c:pt>
                <c:pt idx="89">
                  <c:v>#N/A</c:v>
                </c:pt>
                <c:pt idx="90">
                  <c:v>#N/A</c:v>
                </c:pt>
                <c:pt idx="91">
                  <c:v>82.74</c:v>
                </c:pt>
                <c:pt idx="92">
                  <c:v>#N/A</c:v>
                </c:pt>
                <c:pt idx="93">
                  <c:v>#N/A</c:v>
                </c:pt>
                <c:pt idx="94">
                  <c:v>#N/A</c:v>
                </c:pt>
                <c:pt idx="95">
                  <c:v>#N/A</c:v>
                </c:pt>
                <c:pt idx="96">
                  <c:v>#N/A</c:v>
                </c:pt>
                <c:pt idx="97">
                  <c:v>#N/A</c:v>
                </c:pt>
                <c:pt idx="98">
                  <c:v>84.12</c:v>
                </c:pt>
                <c:pt idx="99">
                  <c:v>#N/A</c:v>
                </c:pt>
                <c:pt idx="100">
                  <c:v>#N/A</c:v>
                </c:pt>
                <c:pt idx="101">
                  <c:v>#N/A</c:v>
                </c:pt>
                <c:pt idx="102">
                  <c:v>#N/A</c:v>
                </c:pt>
                <c:pt idx="103">
                  <c:v>#N/A</c:v>
                </c:pt>
                <c:pt idx="104">
                  <c:v>#N/A</c:v>
                </c:pt>
                <c:pt idx="105">
                  <c:v>78.58</c:v>
                </c:pt>
                <c:pt idx="106">
                  <c:v>#N/A</c:v>
                </c:pt>
                <c:pt idx="107">
                  <c:v>#N/A</c:v>
                </c:pt>
                <c:pt idx="108">
                  <c:v>#N/A</c:v>
                </c:pt>
                <c:pt idx="109">
                  <c:v>#N/A</c:v>
                </c:pt>
                <c:pt idx="110">
                  <c:v>#N/A</c:v>
                </c:pt>
                <c:pt idx="111">
                  <c:v>#N/A</c:v>
                </c:pt>
                <c:pt idx="112">
                  <c:v>76.959999999999994</c:v>
                </c:pt>
                <c:pt idx="113">
                  <c:v>#N/A</c:v>
                </c:pt>
                <c:pt idx="114">
                  <c:v>#N/A</c:v>
                </c:pt>
                <c:pt idx="115">
                  <c:v>#N/A</c:v>
                </c:pt>
                <c:pt idx="116">
                  <c:v>#N/A</c:v>
                </c:pt>
                <c:pt idx="117">
                  <c:v>#N/A</c:v>
                </c:pt>
                <c:pt idx="118">
                  <c:v>#N/A</c:v>
                </c:pt>
                <c:pt idx="119">
                  <c:v>85.05</c:v>
                </c:pt>
                <c:pt idx="120">
                  <c:v>#N/A</c:v>
                </c:pt>
                <c:pt idx="121">
                  <c:v>#N/A</c:v>
                </c:pt>
                <c:pt idx="122">
                  <c:v>#N/A</c:v>
                </c:pt>
                <c:pt idx="123">
                  <c:v>#N/A</c:v>
                </c:pt>
                <c:pt idx="124">
                  <c:v>#N/A</c:v>
                </c:pt>
                <c:pt idx="125">
                  <c:v>#N/A</c:v>
                </c:pt>
                <c:pt idx="126">
                  <c:v>83.41</c:v>
                </c:pt>
                <c:pt idx="127">
                  <c:v>#N/A</c:v>
                </c:pt>
                <c:pt idx="128">
                  <c:v>#N/A</c:v>
                </c:pt>
                <c:pt idx="129">
                  <c:v>#N/A</c:v>
                </c:pt>
                <c:pt idx="130">
                  <c:v>#N/A</c:v>
                </c:pt>
                <c:pt idx="131">
                  <c:v>#N/A</c:v>
                </c:pt>
                <c:pt idx="132">
                  <c:v>#N/A</c:v>
                </c:pt>
                <c:pt idx="133">
                  <c:v>85.96</c:v>
                </c:pt>
                <c:pt idx="134">
                  <c:v>#N/A</c:v>
                </c:pt>
                <c:pt idx="135">
                  <c:v>#N/A</c:v>
                </c:pt>
                <c:pt idx="136">
                  <c:v>#N/A</c:v>
                </c:pt>
                <c:pt idx="137">
                  <c:v>#N/A</c:v>
                </c:pt>
                <c:pt idx="138">
                  <c:v>#N/A</c:v>
                </c:pt>
                <c:pt idx="139">
                  <c:v>#N/A</c:v>
                </c:pt>
                <c:pt idx="140">
                  <c:v>84.9</c:v>
                </c:pt>
                <c:pt idx="141">
                  <c:v>#N/A</c:v>
                </c:pt>
                <c:pt idx="142">
                  <c:v>#N/A</c:v>
                </c:pt>
                <c:pt idx="143">
                  <c:v>#N/A</c:v>
                </c:pt>
                <c:pt idx="144">
                  <c:v>#N/A</c:v>
                </c:pt>
                <c:pt idx="145">
                  <c:v>#N/A</c:v>
                </c:pt>
                <c:pt idx="146">
                  <c:v>#N/A</c:v>
                </c:pt>
                <c:pt idx="147">
                  <c:v>88.93</c:v>
                </c:pt>
                <c:pt idx="148">
                  <c:v>#N/A</c:v>
                </c:pt>
                <c:pt idx="149">
                  <c:v>#N/A</c:v>
                </c:pt>
                <c:pt idx="150">
                  <c:v>#N/A</c:v>
                </c:pt>
                <c:pt idx="151">
                  <c:v>#N/A</c:v>
                </c:pt>
                <c:pt idx="152">
                  <c:v>#N/A</c:v>
                </c:pt>
                <c:pt idx="153">
                  <c:v>#N/A</c:v>
                </c:pt>
                <c:pt idx="154">
                  <c:v>87.02</c:v>
                </c:pt>
                <c:pt idx="155">
                  <c:v>#N/A</c:v>
                </c:pt>
                <c:pt idx="156">
                  <c:v>#N/A</c:v>
                </c:pt>
                <c:pt idx="157">
                  <c:v>#N/A</c:v>
                </c:pt>
                <c:pt idx="158">
                  <c:v>#N/A</c:v>
                </c:pt>
                <c:pt idx="159">
                  <c:v>#N/A</c:v>
                </c:pt>
                <c:pt idx="160">
                  <c:v>#N/A</c:v>
                </c:pt>
                <c:pt idx="161">
                  <c:v>81.5</c:v>
                </c:pt>
                <c:pt idx="162">
                  <c:v>#N/A</c:v>
                </c:pt>
                <c:pt idx="163">
                  <c:v>#N/A</c:v>
                </c:pt>
                <c:pt idx="164">
                  <c:v>#N/A</c:v>
                </c:pt>
                <c:pt idx="165">
                  <c:v>#N/A</c:v>
                </c:pt>
                <c:pt idx="166">
                  <c:v>#N/A</c:v>
                </c:pt>
                <c:pt idx="167">
                  <c:v>#N/A</c:v>
                </c:pt>
                <c:pt idx="168">
                  <c:v>79.38</c:v>
                </c:pt>
                <c:pt idx="169">
                  <c:v>#N/A</c:v>
                </c:pt>
                <c:pt idx="170">
                  <c:v>#N/A</c:v>
                </c:pt>
                <c:pt idx="171">
                  <c:v>#N/A</c:v>
                </c:pt>
                <c:pt idx="172">
                  <c:v>#N/A</c:v>
                </c:pt>
                <c:pt idx="173">
                  <c:v>#N/A</c:v>
                </c:pt>
                <c:pt idx="174">
                  <c:v>#N/A</c:v>
                </c:pt>
                <c:pt idx="175">
                  <c:v>78.53</c:v>
                </c:pt>
                <c:pt idx="176">
                  <c:v>#N/A</c:v>
                </c:pt>
                <c:pt idx="177">
                  <c:v>#N/A</c:v>
                </c:pt>
                <c:pt idx="178">
                  <c:v>#N/A</c:v>
                </c:pt>
                <c:pt idx="179">
                  <c:v>#N/A</c:v>
                </c:pt>
                <c:pt idx="180">
                  <c:v>#N/A</c:v>
                </c:pt>
                <c:pt idx="181">
                  <c:v>#N/A</c:v>
                </c:pt>
                <c:pt idx="182">
                  <c:v>80.44</c:v>
                </c:pt>
                <c:pt idx="183">
                  <c:v>#N/A</c:v>
                </c:pt>
                <c:pt idx="184">
                  <c:v>#N/A</c:v>
                </c:pt>
                <c:pt idx="185">
                  <c:v>#N/A</c:v>
                </c:pt>
                <c:pt idx="186">
                  <c:v>#N/A</c:v>
                </c:pt>
                <c:pt idx="187">
                  <c:v>#N/A</c:v>
                </c:pt>
                <c:pt idx="188">
                  <c:v>#N/A</c:v>
                </c:pt>
                <c:pt idx="189">
                  <c:v>78.959999999999994</c:v>
                </c:pt>
                <c:pt idx="190">
                  <c:v>#N/A</c:v>
                </c:pt>
                <c:pt idx="191">
                  <c:v>#N/A</c:v>
                </c:pt>
                <c:pt idx="192">
                  <c:v>#N/A</c:v>
                </c:pt>
                <c:pt idx="193">
                  <c:v>#N/A</c:v>
                </c:pt>
                <c:pt idx="194">
                  <c:v>#N/A</c:v>
                </c:pt>
                <c:pt idx="195">
                  <c:v>#N/A</c:v>
                </c:pt>
                <c:pt idx="196">
                  <c:v>75.13</c:v>
                </c:pt>
                <c:pt idx="197">
                  <c:v>#N/A</c:v>
                </c:pt>
                <c:pt idx="198">
                  <c:v>#N/A</c:v>
                </c:pt>
                <c:pt idx="199">
                  <c:v>#N/A</c:v>
                </c:pt>
                <c:pt idx="200">
                  <c:v>#N/A</c:v>
                </c:pt>
                <c:pt idx="201">
                  <c:v>#N/A</c:v>
                </c:pt>
                <c:pt idx="202">
                  <c:v>#N/A</c:v>
                </c:pt>
                <c:pt idx="203">
                  <c:v>75.98</c:v>
                </c:pt>
                <c:pt idx="204">
                  <c:v>#N/A</c:v>
                </c:pt>
                <c:pt idx="205">
                  <c:v>#N/A</c:v>
                </c:pt>
                <c:pt idx="206">
                  <c:v>#N/A</c:v>
                </c:pt>
                <c:pt idx="207">
                  <c:v>#N/A</c:v>
                </c:pt>
                <c:pt idx="208">
                  <c:v>#N/A</c:v>
                </c:pt>
                <c:pt idx="209">
                  <c:v>#N/A</c:v>
                </c:pt>
                <c:pt idx="210">
                  <c:v>79.8</c:v>
                </c:pt>
                <c:pt idx="211">
                  <c:v>#N/A</c:v>
                </c:pt>
                <c:pt idx="212">
                  <c:v>#N/A</c:v>
                </c:pt>
                <c:pt idx="213">
                  <c:v>#N/A</c:v>
                </c:pt>
                <c:pt idx="214">
                  <c:v>#N/A</c:v>
                </c:pt>
                <c:pt idx="215">
                  <c:v>#N/A</c:v>
                </c:pt>
                <c:pt idx="216">
                  <c:v>#N/A</c:v>
                </c:pt>
                <c:pt idx="217">
                  <c:v>80.23</c:v>
                </c:pt>
                <c:pt idx="218">
                  <c:v>#N/A</c:v>
                </c:pt>
                <c:pt idx="219">
                  <c:v>#N/A</c:v>
                </c:pt>
                <c:pt idx="220">
                  <c:v>#N/A</c:v>
                </c:pt>
                <c:pt idx="221">
                  <c:v>#N/A</c:v>
                </c:pt>
                <c:pt idx="222">
                  <c:v>#N/A</c:v>
                </c:pt>
                <c:pt idx="223">
                  <c:v>#N/A</c:v>
                </c:pt>
                <c:pt idx="224">
                  <c:v>78.739999999999995</c:v>
                </c:pt>
                <c:pt idx="225">
                  <c:v>#N/A</c:v>
                </c:pt>
                <c:pt idx="226">
                  <c:v>#N/A</c:v>
                </c:pt>
                <c:pt idx="227">
                  <c:v>#N/A</c:v>
                </c:pt>
                <c:pt idx="228">
                  <c:v>#N/A</c:v>
                </c:pt>
                <c:pt idx="229">
                  <c:v>#N/A</c:v>
                </c:pt>
                <c:pt idx="230">
                  <c:v>#N/A</c:v>
                </c:pt>
                <c:pt idx="231">
                  <c:v>75.13</c:v>
                </c:pt>
                <c:pt idx="232">
                  <c:v>#N/A</c:v>
                </c:pt>
                <c:pt idx="233">
                  <c:v>#N/A</c:v>
                </c:pt>
                <c:pt idx="234">
                  <c:v>#N/A</c:v>
                </c:pt>
                <c:pt idx="235">
                  <c:v>#N/A</c:v>
                </c:pt>
                <c:pt idx="236">
                  <c:v>#N/A</c:v>
                </c:pt>
                <c:pt idx="237">
                  <c:v>#N/A</c:v>
                </c:pt>
                <c:pt idx="238">
                  <c:v>77.47</c:v>
                </c:pt>
                <c:pt idx="239">
                  <c:v>#N/A</c:v>
                </c:pt>
                <c:pt idx="240">
                  <c:v>#N/A</c:v>
                </c:pt>
                <c:pt idx="241">
                  <c:v>#N/A</c:v>
                </c:pt>
                <c:pt idx="242">
                  <c:v>#N/A</c:v>
                </c:pt>
                <c:pt idx="243">
                  <c:v>#N/A</c:v>
                </c:pt>
                <c:pt idx="244">
                  <c:v>#N/A</c:v>
                </c:pt>
                <c:pt idx="245">
                  <c:v>78.11</c:v>
                </c:pt>
                <c:pt idx="246">
                  <c:v>#N/A</c:v>
                </c:pt>
                <c:pt idx="247">
                  <c:v>#N/A</c:v>
                </c:pt>
                <c:pt idx="248">
                  <c:v>#N/A</c:v>
                </c:pt>
                <c:pt idx="249">
                  <c:v>#N/A</c:v>
                </c:pt>
                <c:pt idx="250">
                  <c:v>#N/A</c:v>
                </c:pt>
                <c:pt idx="251">
                  <c:v>#N/A</c:v>
                </c:pt>
                <c:pt idx="252">
                  <c:v>80.02</c:v>
                </c:pt>
                <c:pt idx="253">
                  <c:v>#N/A</c:v>
                </c:pt>
                <c:pt idx="254">
                  <c:v>#N/A</c:v>
                </c:pt>
                <c:pt idx="255">
                  <c:v>#N/A</c:v>
                </c:pt>
                <c:pt idx="256">
                  <c:v>#N/A</c:v>
                </c:pt>
                <c:pt idx="257">
                  <c:v>#N/A</c:v>
                </c:pt>
                <c:pt idx="258">
                  <c:v>#N/A</c:v>
                </c:pt>
                <c:pt idx="259">
                  <c:v>78.53</c:v>
                </c:pt>
                <c:pt idx="260">
                  <c:v>#N/A</c:v>
                </c:pt>
                <c:pt idx="261">
                  <c:v>#N/A</c:v>
                </c:pt>
                <c:pt idx="262">
                  <c:v>#N/A</c:v>
                </c:pt>
                <c:pt idx="263">
                  <c:v>#N/A</c:v>
                </c:pt>
                <c:pt idx="264">
                  <c:v>#N/A</c:v>
                </c:pt>
                <c:pt idx="265">
                  <c:v>#N/A</c:v>
                </c:pt>
                <c:pt idx="266">
                  <c:v>79.59</c:v>
                </c:pt>
                <c:pt idx="267">
                  <c:v>#N/A</c:v>
                </c:pt>
                <c:pt idx="268">
                  <c:v>#N/A</c:v>
                </c:pt>
                <c:pt idx="269">
                  <c:v>#N/A</c:v>
                </c:pt>
                <c:pt idx="270">
                  <c:v>#N/A</c:v>
                </c:pt>
                <c:pt idx="271">
                  <c:v>#N/A</c:v>
                </c:pt>
                <c:pt idx="272">
                  <c:v>#N/A</c:v>
                </c:pt>
                <c:pt idx="273">
                  <c:v>81.290000000000006</c:v>
                </c:pt>
                <c:pt idx="274">
                  <c:v>#N/A</c:v>
                </c:pt>
                <c:pt idx="275">
                  <c:v>#N/A</c:v>
                </c:pt>
                <c:pt idx="276">
                  <c:v>#N/A</c:v>
                </c:pt>
                <c:pt idx="277">
                  <c:v>#N/A</c:v>
                </c:pt>
                <c:pt idx="278">
                  <c:v>#N/A</c:v>
                </c:pt>
                <c:pt idx="279">
                  <c:v>#N/A</c:v>
                </c:pt>
                <c:pt idx="280">
                  <c:v>79.17</c:v>
                </c:pt>
                <c:pt idx="281">
                  <c:v>#N/A</c:v>
                </c:pt>
                <c:pt idx="282">
                  <c:v>#N/A</c:v>
                </c:pt>
                <c:pt idx="283">
                  <c:v>#N/A</c:v>
                </c:pt>
                <c:pt idx="284">
                  <c:v>#N/A</c:v>
                </c:pt>
                <c:pt idx="285">
                  <c:v>#N/A</c:v>
                </c:pt>
                <c:pt idx="286">
                  <c:v>#N/A</c:v>
                </c:pt>
                <c:pt idx="287">
                  <c:v>75.13</c:v>
                </c:pt>
                <c:pt idx="288">
                  <c:v>#N/A</c:v>
                </c:pt>
                <c:pt idx="289">
                  <c:v>#N/A</c:v>
                </c:pt>
                <c:pt idx="290">
                  <c:v>#N/A</c:v>
                </c:pt>
                <c:pt idx="291">
                  <c:v>#N/A</c:v>
                </c:pt>
                <c:pt idx="292">
                  <c:v>#N/A</c:v>
                </c:pt>
                <c:pt idx="293">
                  <c:v>#N/A</c:v>
                </c:pt>
                <c:pt idx="294">
                  <c:v>73.44</c:v>
                </c:pt>
                <c:pt idx="295">
                  <c:v>#N/A</c:v>
                </c:pt>
                <c:pt idx="296">
                  <c:v>#N/A</c:v>
                </c:pt>
                <c:pt idx="297">
                  <c:v>#N/A</c:v>
                </c:pt>
                <c:pt idx="298">
                  <c:v>#N/A</c:v>
                </c:pt>
                <c:pt idx="299">
                  <c:v>#N/A</c:v>
                </c:pt>
                <c:pt idx="300">
                  <c:v>#N/A</c:v>
                </c:pt>
                <c:pt idx="301">
                  <c:v>68.34</c:v>
                </c:pt>
                <c:pt idx="302">
                  <c:v>#N/A</c:v>
                </c:pt>
                <c:pt idx="303">
                  <c:v>#N/A</c:v>
                </c:pt>
                <c:pt idx="304">
                  <c:v>#N/A</c:v>
                </c:pt>
                <c:pt idx="305">
                  <c:v>#N/A</c:v>
                </c:pt>
                <c:pt idx="306">
                  <c:v>#N/A</c:v>
                </c:pt>
                <c:pt idx="307">
                  <c:v>#N/A</c:v>
                </c:pt>
                <c:pt idx="308">
                  <c:v>47.88</c:v>
                </c:pt>
                <c:pt idx="309">
                  <c:v>#N/A</c:v>
                </c:pt>
                <c:pt idx="310">
                  <c:v>#N/A</c:v>
                </c:pt>
                <c:pt idx="311">
                  <c:v>#N/A</c:v>
                </c:pt>
                <c:pt idx="312">
                  <c:v>#N/A</c:v>
                </c:pt>
                <c:pt idx="313">
                  <c:v>#N/A</c:v>
                </c:pt>
                <c:pt idx="314">
                  <c:v>#N/A</c:v>
                </c:pt>
                <c:pt idx="315">
                  <c:v>56.32</c:v>
                </c:pt>
                <c:pt idx="316">
                  <c:v>#N/A</c:v>
                </c:pt>
                <c:pt idx="317">
                  <c:v>#N/A</c:v>
                </c:pt>
                <c:pt idx="318">
                  <c:v>#N/A</c:v>
                </c:pt>
                <c:pt idx="319">
                  <c:v>#N/A</c:v>
                </c:pt>
                <c:pt idx="320">
                  <c:v>#N/A</c:v>
                </c:pt>
                <c:pt idx="321">
                  <c:v>#N/A</c:v>
                </c:pt>
                <c:pt idx="322">
                  <c:v>60.44</c:v>
                </c:pt>
                <c:pt idx="323">
                  <c:v>#N/A</c:v>
                </c:pt>
                <c:pt idx="324">
                  <c:v>#N/A</c:v>
                </c:pt>
                <c:pt idx="325">
                  <c:v>#N/A</c:v>
                </c:pt>
                <c:pt idx="326">
                  <c:v>#N/A</c:v>
                </c:pt>
                <c:pt idx="327">
                  <c:v>#N/A</c:v>
                </c:pt>
                <c:pt idx="328">
                  <c:v>#N/A</c:v>
                </c:pt>
                <c:pt idx="329">
                  <c:v>57.3</c:v>
                </c:pt>
                <c:pt idx="330">
                  <c:v>#N/A</c:v>
                </c:pt>
                <c:pt idx="331">
                  <c:v>#N/A</c:v>
                </c:pt>
                <c:pt idx="332">
                  <c:v>#N/A</c:v>
                </c:pt>
                <c:pt idx="333">
                  <c:v>#N/A</c:v>
                </c:pt>
                <c:pt idx="334">
                  <c:v>#N/A</c:v>
                </c:pt>
                <c:pt idx="335">
                  <c:v>#N/A</c:v>
                </c:pt>
                <c:pt idx="336">
                  <c:v>58.67</c:v>
                </c:pt>
                <c:pt idx="337">
                  <c:v>#N/A</c:v>
                </c:pt>
                <c:pt idx="338">
                  <c:v>#N/A</c:v>
                </c:pt>
                <c:pt idx="339">
                  <c:v>#N/A</c:v>
                </c:pt>
                <c:pt idx="340">
                  <c:v>#N/A</c:v>
                </c:pt>
                <c:pt idx="341">
                  <c:v>#N/A</c:v>
                </c:pt>
                <c:pt idx="342">
                  <c:v>#N/A</c:v>
                </c:pt>
                <c:pt idx="343">
                  <c:v>57.49</c:v>
                </c:pt>
                <c:pt idx="344">
                  <c:v>#N/A</c:v>
                </c:pt>
                <c:pt idx="345">
                  <c:v>#N/A</c:v>
                </c:pt>
                <c:pt idx="346">
                  <c:v>#N/A</c:v>
                </c:pt>
                <c:pt idx="347">
                  <c:v>#N/A</c:v>
                </c:pt>
                <c:pt idx="348">
                  <c:v>#N/A</c:v>
                </c:pt>
                <c:pt idx="349">
                  <c:v>#N/A</c:v>
                </c:pt>
                <c:pt idx="350">
                  <c:v>59.06</c:v>
                </c:pt>
                <c:pt idx="351">
                  <c:v>#N/A</c:v>
                </c:pt>
                <c:pt idx="352">
                  <c:v>#N/A</c:v>
                </c:pt>
                <c:pt idx="353">
                  <c:v>#N/A</c:v>
                </c:pt>
                <c:pt idx="354">
                  <c:v>#N/A</c:v>
                </c:pt>
                <c:pt idx="355">
                  <c:v>#N/A</c:v>
                </c:pt>
                <c:pt idx="356">
                  <c:v>#N/A</c:v>
                </c:pt>
                <c:pt idx="357">
                  <c:v>65.540000000000006</c:v>
                </c:pt>
                <c:pt idx="358">
                  <c:v>#N/A</c:v>
                </c:pt>
                <c:pt idx="359">
                  <c:v>#N/A</c:v>
                </c:pt>
                <c:pt idx="360">
                  <c:v>#N/A</c:v>
                </c:pt>
                <c:pt idx="361">
                  <c:v>#N/A</c:v>
                </c:pt>
                <c:pt idx="362">
                  <c:v>#N/A</c:v>
                </c:pt>
                <c:pt idx="363">
                  <c:v>#N/A</c:v>
                </c:pt>
                <c:pt idx="364">
                  <c:v>65.150000000000006</c:v>
                </c:pt>
                <c:pt idx="365">
                  <c:v>#N/A</c:v>
                </c:pt>
              </c:numCache>
            </c:numRef>
          </c:val>
          <c:smooth val="0"/>
          <c:extLst>
            <c:ext xmlns:c16="http://schemas.microsoft.com/office/drawing/2014/chart" uri="{C3380CC4-5D6E-409C-BE32-E72D297353CC}">
              <c16:uniqueId val="{00000001-20E5-41D9-9332-027FD61982EF}"/>
            </c:ext>
          </c:extLst>
        </c:ser>
        <c:ser>
          <c:idx val="2"/>
          <c:order val="2"/>
          <c:tx>
            <c:strRef>
              <c:f>有机硅开工!$M$2</c:f>
              <c:strCache>
                <c:ptCount val="1"/>
                <c:pt idx="0">
                  <c:v>2023</c:v>
                </c:pt>
              </c:strCache>
            </c:strRef>
          </c:tx>
          <c:spPr>
            <a:ln w="19050" cap="rnd">
              <a:solidFill>
                <a:srgbClr val="308D94">
                  <a:alpha val="60000"/>
                </a:srgbClr>
              </a:solidFill>
              <a:round/>
            </a:ln>
            <a:effectLst/>
          </c:spPr>
          <c:marker>
            <c:symbol val="none"/>
          </c:marker>
          <c:cat>
            <c:strRef>
              <c:f>有机硅开工!$I$3:$I$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M$3:$M$368</c:f>
              <c:numCache>
                <c:formatCode>General</c:formatCode>
                <c:ptCount val="366"/>
                <c:pt idx="0">
                  <c:v>#N/A</c:v>
                </c:pt>
                <c:pt idx="1">
                  <c:v>#N/A</c:v>
                </c:pt>
                <c:pt idx="2">
                  <c:v>#N/A</c:v>
                </c:pt>
                <c:pt idx="3">
                  <c:v>#N/A</c:v>
                </c:pt>
                <c:pt idx="4">
                  <c:v>#N/A</c:v>
                </c:pt>
                <c:pt idx="5">
                  <c:v>63.58</c:v>
                </c:pt>
                <c:pt idx="6">
                  <c:v>#N/A</c:v>
                </c:pt>
                <c:pt idx="7">
                  <c:v>#N/A</c:v>
                </c:pt>
                <c:pt idx="8">
                  <c:v>#N/A</c:v>
                </c:pt>
                <c:pt idx="9">
                  <c:v>#N/A</c:v>
                </c:pt>
                <c:pt idx="10">
                  <c:v>#N/A</c:v>
                </c:pt>
                <c:pt idx="11">
                  <c:v>#N/A</c:v>
                </c:pt>
                <c:pt idx="12">
                  <c:v>62.01</c:v>
                </c:pt>
                <c:pt idx="13">
                  <c:v>#N/A</c:v>
                </c:pt>
                <c:pt idx="14">
                  <c:v>#N/A</c:v>
                </c:pt>
                <c:pt idx="15">
                  <c:v>#N/A</c:v>
                </c:pt>
                <c:pt idx="16">
                  <c:v>#N/A</c:v>
                </c:pt>
                <c:pt idx="17">
                  <c:v>#N/A</c:v>
                </c:pt>
                <c:pt idx="18">
                  <c:v>#N/A</c:v>
                </c:pt>
                <c:pt idx="19">
                  <c:v>61.42</c:v>
                </c:pt>
                <c:pt idx="20">
                  <c:v>#N/A</c:v>
                </c:pt>
                <c:pt idx="21">
                  <c:v>#N/A</c:v>
                </c:pt>
                <c:pt idx="22">
                  <c:v>#N/A</c:v>
                </c:pt>
                <c:pt idx="23">
                  <c:v>#N/A</c:v>
                </c:pt>
                <c:pt idx="24">
                  <c:v>#N/A</c:v>
                </c:pt>
                <c:pt idx="25">
                  <c:v>#N/A</c:v>
                </c:pt>
                <c:pt idx="26">
                  <c:v>62.99</c:v>
                </c:pt>
                <c:pt idx="27">
                  <c:v>#N/A</c:v>
                </c:pt>
                <c:pt idx="28">
                  <c:v>#N/A</c:v>
                </c:pt>
                <c:pt idx="29">
                  <c:v>#N/A</c:v>
                </c:pt>
                <c:pt idx="30">
                  <c:v>#N/A</c:v>
                </c:pt>
                <c:pt idx="31">
                  <c:v>#N/A</c:v>
                </c:pt>
                <c:pt idx="32">
                  <c:v>#N/A</c:v>
                </c:pt>
                <c:pt idx="33">
                  <c:v>65.540000000000006</c:v>
                </c:pt>
                <c:pt idx="34">
                  <c:v>#N/A</c:v>
                </c:pt>
                <c:pt idx="35">
                  <c:v>#N/A</c:v>
                </c:pt>
                <c:pt idx="36">
                  <c:v>#N/A</c:v>
                </c:pt>
                <c:pt idx="37">
                  <c:v>#N/A</c:v>
                </c:pt>
                <c:pt idx="38">
                  <c:v>#N/A</c:v>
                </c:pt>
                <c:pt idx="39">
                  <c:v>#N/A</c:v>
                </c:pt>
                <c:pt idx="40">
                  <c:v>68.48</c:v>
                </c:pt>
                <c:pt idx="41">
                  <c:v>#N/A</c:v>
                </c:pt>
                <c:pt idx="42">
                  <c:v>#N/A</c:v>
                </c:pt>
                <c:pt idx="43">
                  <c:v>#N/A</c:v>
                </c:pt>
                <c:pt idx="44">
                  <c:v>#N/A</c:v>
                </c:pt>
                <c:pt idx="45">
                  <c:v>#N/A</c:v>
                </c:pt>
                <c:pt idx="46">
                  <c:v>#N/A</c:v>
                </c:pt>
                <c:pt idx="47">
                  <c:v>70.64</c:v>
                </c:pt>
                <c:pt idx="48">
                  <c:v>#N/A</c:v>
                </c:pt>
                <c:pt idx="49">
                  <c:v>#N/A</c:v>
                </c:pt>
                <c:pt idx="50">
                  <c:v>#N/A</c:v>
                </c:pt>
                <c:pt idx="51">
                  <c:v>#N/A</c:v>
                </c:pt>
                <c:pt idx="52">
                  <c:v>#N/A</c:v>
                </c:pt>
                <c:pt idx="53">
                  <c:v>#N/A</c:v>
                </c:pt>
                <c:pt idx="54">
                  <c:v>72.209999999999994</c:v>
                </c:pt>
                <c:pt idx="55">
                  <c:v>#N/A</c:v>
                </c:pt>
                <c:pt idx="56">
                  <c:v>#N/A</c:v>
                </c:pt>
                <c:pt idx="57">
                  <c:v>#N/A</c:v>
                </c:pt>
                <c:pt idx="58">
                  <c:v>#N/A</c:v>
                </c:pt>
                <c:pt idx="60">
                  <c:v>#N/A</c:v>
                </c:pt>
                <c:pt idx="61">
                  <c:v>#N/A</c:v>
                </c:pt>
                <c:pt idx="62">
                  <c:v>75.150000000000006</c:v>
                </c:pt>
                <c:pt idx="63">
                  <c:v>#N/A</c:v>
                </c:pt>
                <c:pt idx="64">
                  <c:v>#N/A</c:v>
                </c:pt>
                <c:pt idx="65">
                  <c:v>#N/A</c:v>
                </c:pt>
                <c:pt idx="66">
                  <c:v>#N/A</c:v>
                </c:pt>
                <c:pt idx="67">
                  <c:v>#N/A</c:v>
                </c:pt>
                <c:pt idx="68">
                  <c:v>#N/A</c:v>
                </c:pt>
                <c:pt idx="69">
                  <c:v>74.959999999999994</c:v>
                </c:pt>
                <c:pt idx="70">
                  <c:v>#N/A</c:v>
                </c:pt>
                <c:pt idx="71">
                  <c:v>#N/A</c:v>
                </c:pt>
                <c:pt idx="72">
                  <c:v>#N/A</c:v>
                </c:pt>
                <c:pt idx="73">
                  <c:v>#N/A</c:v>
                </c:pt>
                <c:pt idx="74">
                  <c:v>#N/A</c:v>
                </c:pt>
                <c:pt idx="75">
                  <c:v>#N/A</c:v>
                </c:pt>
                <c:pt idx="76">
                  <c:v>73.58</c:v>
                </c:pt>
                <c:pt idx="77">
                  <c:v>#N/A</c:v>
                </c:pt>
                <c:pt idx="78">
                  <c:v>#N/A</c:v>
                </c:pt>
                <c:pt idx="79">
                  <c:v>#N/A</c:v>
                </c:pt>
                <c:pt idx="80">
                  <c:v>#N/A</c:v>
                </c:pt>
                <c:pt idx="81">
                  <c:v>#N/A</c:v>
                </c:pt>
                <c:pt idx="82">
                  <c:v>#N/A</c:v>
                </c:pt>
                <c:pt idx="83">
                  <c:v>71.62</c:v>
                </c:pt>
                <c:pt idx="84">
                  <c:v>#N/A</c:v>
                </c:pt>
                <c:pt idx="85">
                  <c:v>#N/A</c:v>
                </c:pt>
                <c:pt idx="86">
                  <c:v>#N/A</c:v>
                </c:pt>
                <c:pt idx="87">
                  <c:v>#N/A</c:v>
                </c:pt>
                <c:pt idx="88">
                  <c:v>#N/A</c:v>
                </c:pt>
                <c:pt idx="89">
                  <c:v>#N/A</c:v>
                </c:pt>
                <c:pt idx="90">
                  <c:v>65.150000000000006</c:v>
                </c:pt>
                <c:pt idx="91">
                  <c:v>#N/A</c:v>
                </c:pt>
                <c:pt idx="92">
                  <c:v>#N/A</c:v>
                </c:pt>
                <c:pt idx="93">
                  <c:v>#N/A</c:v>
                </c:pt>
                <c:pt idx="94">
                  <c:v>#N/A</c:v>
                </c:pt>
                <c:pt idx="95">
                  <c:v>#N/A</c:v>
                </c:pt>
                <c:pt idx="96">
                  <c:v>#N/A</c:v>
                </c:pt>
                <c:pt idx="97">
                  <c:v>60.44</c:v>
                </c:pt>
                <c:pt idx="98">
                  <c:v>#N/A</c:v>
                </c:pt>
                <c:pt idx="99">
                  <c:v>#N/A</c:v>
                </c:pt>
                <c:pt idx="100">
                  <c:v>#N/A</c:v>
                </c:pt>
                <c:pt idx="101">
                  <c:v>#N/A</c:v>
                </c:pt>
                <c:pt idx="102">
                  <c:v>#N/A</c:v>
                </c:pt>
                <c:pt idx="103">
                  <c:v>#N/A</c:v>
                </c:pt>
                <c:pt idx="104">
                  <c:v>59.26</c:v>
                </c:pt>
                <c:pt idx="105">
                  <c:v>#N/A</c:v>
                </c:pt>
                <c:pt idx="106">
                  <c:v>#N/A</c:v>
                </c:pt>
                <c:pt idx="107">
                  <c:v>#N/A</c:v>
                </c:pt>
                <c:pt idx="108">
                  <c:v>#N/A</c:v>
                </c:pt>
                <c:pt idx="109">
                  <c:v>#N/A</c:v>
                </c:pt>
                <c:pt idx="110">
                  <c:v>#N/A</c:v>
                </c:pt>
                <c:pt idx="111">
                  <c:v>60.83</c:v>
                </c:pt>
                <c:pt idx="112">
                  <c:v>#N/A</c:v>
                </c:pt>
                <c:pt idx="113">
                  <c:v>#N/A</c:v>
                </c:pt>
                <c:pt idx="114">
                  <c:v>#N/A</c:v>
                </c:pt>
                <c:pt idx="115">
                  <c:v>#N/A</c:v>
                </c:pt>
                <c:pt idx="116">
                  <c:v>#N/A</c:v>
                </c:pt>
                <c:pt idx="117">
                  <c:v>#N/A</c:v>
                </c:pt>
                <c:pt idx="118">
                  <c:v>60.24</c:v>
                </c:pt>
                <c:pt idx="119">
                  <c:v>#N/A</c:v>
                </c:pt>
                <c:pt idx="120">
                  <c:v>#N/A</c:v>
                </c:pt>
                <c:pt idx="121">
                  <c:v>#N/A</c:v>
                </c:pt>
                <c:pt idx="122">
                  <c:v>#N/A</c:v>
                </c:pt>
                <c:pt idx="123">
                  <c:v>#N/A</c:v>
                </c:pt>
                <c:pt idx="124">
                  <c:v>#N/A</c:v>
                </c:pt>
                <c:pt idx="125">
                  <c:v>61.62</c:v>
                </c:pt>
                <c:pt idx="126">
                  <c:v>#N/A</c:v>
                </c:pt>
                <c:pt idx="127">
                  <c:v>#N/A</c:v>
                </c:pt>
                <c:pt idx="128">
                  <c:v>#N/A</c:v>
                </c:pt>
                <c:pt idx="129">
                  <c:v>#N/A</c:v>
                </c:pt>
                <c:pt idx="130">
                  <c:v>#N/A</c:v>
                </c:pt>
                <c:pt idx="131">
                  <c:v>#N/A</c:v>
                </c:pt>
                <c:pt idx="132">
                  <c:v>62.01</c:v>
                </c:pt>
                <c:pt idx="133">
                  <c:v>#N/A</c:v>
                </c:pt>
                <c:pt idx="134">
                  <c:v>#N/A</c:v>
                </c:pt>
                <c:pt idx="135">
                  <c:v>#N/A</c:v>
                </c:pt>
                <c:pt idx="136">
                  <c:v>#N/A</c:v>
                </c:pt>
                <c:pt idx="137">
                  <c:v>#N/A</c:v>
                </c:pt>
                <c:pt idx="138">
                  <c:v>#N/A</c:v>
                </c:pt>
                <c:pt idx="139">
                  <c:v>58.28</c:v>
                </c:pt>
                <c:pt idx="140">
                  <c:v>#N/A</c:v>
                </c:pt>
                <c:pt idx="141">
                  <c:v>#N/A</c:v>
                </c:pt>
                <c:pt idx="142">
                  <c:v>#N/A</c:v>
                </c:pt>
                <c:pt idx="143">
                  <c:v>#N/A</c:v>
                </c:pt>
                <c:pt idx="144">
                  <c:v>#N/A</c:v>
                </c:pt>
                <c:pt idx="145">
                  <c:v>#N/A</c:v>
                </c:pt>
                <c:pt idx="146">
                  <c:v>55.53</c:v>
                </c:pt>
                <c:pt idx="147">
                  <c:v>#N/A</c:v>
                </c:pt>
                <c:pt idx="148">
                  <c:v>#N/A</c:v>
                </c:pt>
                <c:pt idx="149">
                  <c:v>#N/A</c:v>
                </c:pt>
                <c:pt idx="150">
                  <c:v>#N/A</c:v>
                </c:pt>
                <c:pt idx="151">
                  <c:v>#N/A</c:v>
                </c:pt>
                <c:pt idx="152">
                  <c:v>#N/A</c:v>
                </c:pt>
                <c:pt idx="153">
                  <c:v>56.51</c:v>
                </c:pt>
                <c:pt idx="154">
                  <c:v>#N/A</c:v>
                </c:pt>
                <c:pt idx="155">
                  <c:v>#N/A</c:v>
                </c:pt>
                <c:pt idx="156">
                  <c:v>#N/A</c:v>
                </c:pt>
                <c:pt idx="157">
                  <c:v>#N/A</c:v>
                </c:pt>
                <c:pt idx="158">
                  <c:v>#N/A</c:v>
                </c:pt>
                <c:pt idx="159">
                  <c:v>#N/A</c:v>
                </c:pt>
                <c:pt idx="160">
                  <c:v>57.89</c:v>
                </c:pt>
                <c:pt idx="161">
                  <c:v>#N/A</c:v>
                </c:pt>
                <c:pt idx="162">
                  <c:v>#N/A</c:v>
                </c:pt>
                <c:pt idx="163">
                  <c:v>#N/A</c:v>
                </c:pt>
                <c:pt idx="164">
                  <c:v>#N/A</c:v>
                </c:pt>
                <c:pt idx="165">
                  <c:v>#N/A</c:v>
                </c:pt>
                <c:pt idx="166">
                  <c:v>#N/A</c:v>
                </c:pt>
                <c:pt idx="167">
                  <c:v>59.65</c:v>
                </c:pt>
                <c:pt idx="168">
                  <c:v>#N/A</c:v>
                </c:pt>
                <c:pt idx="169">
                  <c:v>#N/A</c:v>
                </c:pt>
                <c:pt idx="170">
                  <c:v>#N/A</c:v>
                </c:pt>
                <c:pt idx="171">
                  <c:v>#N/A</c:v>
                </c:pt>
                <c:pt idx="172">
                  <c:v>#N/A</c:v>
                </c:pt>
                <c:pt idx="173">
                  <c:v>#N/A</c:v>
                </c:pt>
                <c:pt idx="174">
                  <c:v>58.48</c:v>
                </c:pt>
                <c:pt idx="175">
                  <c:v>#N/A</c:v>
                </c:pt>
                <c:pt idx="176">
                  <c:v>#N/A</c:v>
                </c:pt>
                <c:pt idx="177">
                  <c:v>#N/A</c:v>
                </c:pt>
                <c:pt idx="178">
                  <c:v>#N/A</c:v>
                </c:pt>
                <c:pt idx="179">
                  <c:v>#N/A</c:v>
                </c:pt>
                <c:pt idx="180">
                  <c:v>#N/A</c:v>
                </c:pt>
                <c:pt idx="181">
                  <c:v>62.2</c:v>
                </c:pt>
                <c:pt idx="182">
                  <c:v>#N/A</c:v>
                </c:pt>
                <c:pt idx="183">
                  <c:v>#N/A</c:v>
                </c:pt>
                <c:pt idx="184">
                  <c:v>#N/A</c:v>
                </c:pt>
                <c:pt idx="185">
                  <c:v>#N/A</c:v>
                </c:pt>
                <c:pt idx="186">
                  <c:v>#N/A</c:v>
                </c:pt>
                <c:pt idx="187">
                  <c:v>#N/A</c:v>
                </c:pt>
                <c:pt idx="188">
                  <c:v>69.66</c:v>
                </c:pt>
                <c:pt idx="189">
                  <c:v>#N/A</c:v>
                </c:pt>
                <c:pt idx="190">
                  <c:v>#N/A</c:v>
                </c:pt>
                <c:pt idx="191">
                  <c:v>#N/A</c:v>
                </c:pt>
                <c:pt idx="192">
                  <c:v>#N/A</c:v>
                </c:pt>
                <c:pt idx="193">
                  <c:v>#N/A</c:v>
                </c:pt>
                <c:pt idx="194">
                  <c:v>#N/A</c:v>
                </c:pt>
                <c:pt idx="195">
                  <c:v>69.27</c:v>
                </c:pt>
                <c:pt idx="196">
                  <c:v>#N/A</c:v>
                </c:pt>
                <c:pt idx="197">
                  <c:v>#N/A</c:v>
                </c:pt>
                <c:pt idx="198">
                  <c:v>#N/A</c:v>
                </c:pt>
                <c:pt idx="199">
                  <c:v>#N/A</c:v>
                </c:pt>
                <c:pt idx="200">
                  <c:v>#N/A</c:v>
                </c:pt>
                <c:pt idx="201">
                  <c:v>#N/A</c:v>
                </c:pt>
                <c:pt idx="202">
                  <c:v>67.650000000000006</c:v>
                </c:pt>
                <c:pt idx="203">
                  <c:v>#N/A</c:v>
                </c:pt>
                <c:pt idx="204">
                  <c:v>#N/A</c:v>
                </c:pt>
                <c:pt idx="205">
                  <c:v>#N/A</c:v>
                </c:pt>
                <c:pt idx="206">
                  <c:v>#N/A</c:v>
                </c:pt>
                <c:pt idx="207">
                  <c:v>#N/A</c:v>
                </c:pt>
                <c:pt idx="208">
                  <c:v>#N/A</c:v>
                </c:pt>
                <c:pt idx="209">
                  <c:v>69</c:v>
                </c:pt>
                <c:pt idx="210">
                  <c:v>#N/A</c:v>
                </c:pt>
                <c:pt idx="211">
                  <c:v>#N/A</c:v>
                </c:pt>
                <c:pt idx="212">
                  <c:v>#N/A</c:v>
                </c:pt>
                <c:pt idx="213">
                  <c:v>#N/A</c:v>
                </c:pt>
                <c:pt idx="214">
                  <c:v>#N/A</c:v>
                </c:pt>
                <c:pt idx="215">
                  <c:v>#N/A</c:v>
                </c:pt>
                <c:pt idx="216">
                  <c:v>69</c:v>
                </c:pt>
                <c:pt idx="217">
                  <c:v>#N/A</c:v>
                </c:pt>
                <c:pt idx="218">
                  <c:v>#N/A</c:v>
                </c:pt>
                <c:pt idx="219">
                  <c:v>#N/A</c:v>
                </c:pt>
                <c:pt idx="220">
                  <c:v>#N/A</c:v>
                </c:pt>
                <c:pt idx="221">
                  <c:v>#N/A</c:v>
                </c:pt>
                <c:pt idx="222">
                  <c:v>#N/A</c:v>
                </c:pt>
                <c:pt idx="223">
                  <c:v>66.34</c:v>
                </c:pt>
                <c:pt idx="224">
                  <c:v>#N/A</c:v>
                </c:pt>
                <c:pt idx="225">
                  <c:v>#N/A</c:v>
                </c:pt>
                <c:pt idx="226">
                  <c:v>#N/A</c:v>
                </c:pt>
                <c:pt idx="227">
                  <c:v>#N/A</c:v>
                </c:pt>
                <c:pt idx="228">
                  <c:v>#N/A</c:v>
                </c:pt>
                <c:pt idx="229">
                  <c:v>#N/A</c:v>
                </c:pt>
                <c:pt idx="230">
                  <c:v>67.599999999999994</c:v>
                </c:pt>
                <c:pt idx="231">
                  <c:v>#N/A</c:v>
                </c:pt>
                <c:pt idx="232">
                  <c:v>#N/A</c:v>
                </c:pt>
                <c:pt idx="233">
                  <c:v>#N/A</c:v>
                </c:pt>
                <c:pt idx="234">
                  <c:v>#N/A</c:v>
                </c:pt>
                <c:pt idx="235">
                  <c:v>#N/A</c:v>
                </c:pt>
                <c:pt idx="236">
                  <c:v>#N/A</c:v>
                </c:pt>
                <c:pt idx="237">
                  <c:v>67.599999999999994</c:v>
                </c:pt>
                <c:pt idx="238">
                  <c:v>#N/A</c:v>
                </c:pt>
                <c:pt idx="239">
                  <c:v>#N/A</c:v>
                </c:pt>
                <c:pt idx="240">
                  <c:v>#N/A</c:v>
                </c:pt>
                <c:pt idx="241">
                  <c:v>#N/A</c:v>
                </c:pt>
                <c:pt idx="242">
                  <c:v>#N/A</c:v>
                </c:pt>
                <c:pt idx="243">
                  <c:v>#N/A</c:v>
                </c:pt>
                <c:pt idx="244">
                  <c:v>73.2</c:v>
                </c:pt>
                <c:pt idx="245">
                  <c:v>#N/A</c:v>
                </c:pt>
                <c:pt idx="246">
                  <c:v>#N/A</c:v>
                </c:pt>
                <c:pt idx="247">
                  <c:v>#N/A</c:v>
                </c:pt>
                <c:pt idx="248">
                  <c:v>#N/A</c:v>
                </c:pt>
                <c:pt idx="249">
                  <c:v>#N/A</c:v>
                </c:pt>
                <c:pt idx="250">
                  <c:v>#N/A</c:v>
                </c:pt>
                <c:pt idx="251">
                  <c:v>75</c:v>
                </c:pt>
                <c:pt idx="252">
                  <c:v>#N/A</c:v>
                </c:pt>
                <c:pt idx="253">
                  <c:v>#N/A</c:v>
                </c:pt>
                <c:pt idx="254">
                  <c:v>#N/A</c:v>
                </c:pt>
                <c:pt idx="255">
                  <c:v>#N/A</c:v>
                </c:pt>
                <c:pt idx="256">
                  <c:v>#N/A</c:v>
                </c:pt>
                <c:pt idx="257">
                  <c:v>#N/A</c:v>
                </c:pt>
                <c:pt idx="258">
                  <c:v>76.099999999999994</c:v>
                </c:pt>
                <c:pt idx="259">
                  <c:v>#N/A</c:v>
                </c:pt>
                <c:pt idx="260">
                  <c:v>#N/A</c:v>
                </c:pt>
                <c:pt idx="261">
                  <c:v>#N/A</c:v>
                </c:pt>
                <c:pt idx="262">
                  <c:v>#N/A</c:v>
                </c:pt>
                <c:pt idx="263">
                  <c:v>#N/A</c:v>
                </c:pt>
                <c:pt idx="264">
                  <c:v>#N/A</c:v>
                </c:pt>
                <c:pt idx="265">
                  <c:v>75.3</c:v>
                </c:pt>
                <c:pt idx="266">
                  <c:v>#N/A</c:v>
                </c:pt>
                <c:pt idx="267">
                  <c:v>#N/A</c:v>
                </c:pt>
                <c:pt idx="268">
                  <c:v>#N/A</c:v>
                </c:pt>
                <c:pt idx="269">
                  <c:v>#N/A</c:v>
                </c:pt>
                <c:pt idx="270">
                  <c:v>#N/A</c:v>
                </c:pt>
                <c:pt idx="271">
                  <c:v>#N/A</c:v>
                </c:pt>
                <c:pt idx="272">
                  <c:v>77.459999999999994</c:v>
                </c:pt>
                <c:pt idx="273">
                  <c:v>#N/A</c:v>
                </c:pt>
                <c:pt idx="274">
                  <c:v>#N/A</c:v>
                </c:pt>
                <c:pt idx="275">
                  <c:v>#N/A</c:v>
                </c:pt>
                <c:pt idx="276">
                  <c:v>#N/A</c:v>
                </c:pt>
                <c:pt idx="277">
                  <c:v>#N/A</c:v>
                </c:pt>
                <c:pt idx="278">
                  <c:v>#N/A</c:v>
                </c:pt>
                <c:pt idx="279">
                  <c:v>77.5</c:v>
                </c:pt>
                <c:pt idx="280">
                  <c:v>#N/A</c:v>
                </c:pt>
                <c:pt idx="281">
                  <c:v>#N/A</c:v>
                </c:pt>
                <c:pt idx="282">
                  <c:v>#N/A</c:v>
                </c:pt>
                <c:pt idx="283">
                  <c:v>#N/A</c:v>
                </c:pt>
                <c:pt idx="284">
                  <c:v>#N/A</c:v>
                </c:pt>
                <c:pt idx="285">
                  <c:v>#N/A</c:v>
                </c:pt>
                <c:pt idx="286">
                  <c:v>75.95</c:v>
                </c:pt>
                <c:pt idx="287">
                  <c:v>#N/A</c:v>
                </c:pt>
                <c:pt idx="288">
                  <c:v>#N/A</c:v>
                </c:pt>
                <c:pt idx="289">
                  <c:v>#N/A</c:v>
                </c:pt>
                <c:pt idx="290">
                  <c:v>#N/A</c:v>
                </c:pt>
                <c:pt idx="291">
                  <c:v>#N/A</c:v>
                </c:pt>
                <c:pt idx="292">
                  <c:v>#N/A</c:v>
                </c:pt>
                <c:pt idx="293">
                  <c:v>76.34</c:v>
                </c:pt>
                <c:pt idx="294">
                  <c:v>#N/A</c:v>
                </c:pt>
                <c:pt idx="295">
                  <c:v>#N/A</c:v>
                </c:pt>
                <c:pt idx="296">
                  <c:v>#N/A</c:v>
                </c:pt>
                <c:pt idx="297">
                  <c:v>#N/A</c:v>
                </c:pt>
                <c:pt idx="298">
                  <c:v>#N/A</c:v>
                </c:pt>
                <c:pt idx="299">
                  <c:v>#N/A</c:v>
                </c:pt>
                <c:pt idx="300">
                  <c:v>75.8</c:v>
                </c:pt>
                <c:pt idx="301">
                  <c:v>#N/A</c:v>
                </c:pt>
                <c:pt idx="302">
                  <c:v>#N/A</c:v>
                </c:pt>
                <c:pt idx="303">
                  <c:v>#N/A</c:v>
                </c:pt>
                <c:pt idx="304">
                  <c:v>#N/A</c:v>
                </c:pt>
                <c:pt idx="305">
                  <c:v>#N/A</c:v>
                </c:pt>
                <c:pt idx="306">
                  <c:v>#N/A</c:v>
                </c:pt>
                <c:pt idx="307">
                  <c:v>75.569999999999993</c:v>
                </c:pt>
                <c:pt idx="308">
                  <c:v>#N/A</c:v>
                </c:pt>
                <c:pt idx="309">
                  <c:v>#N/A</c:v>
                </c:pt>
                <c:pt idx="310">
                  <c:v>#N/A</c:v>
                </c:pt>
                <c:pt idx="311">
                  <c:v>#N/A</c:v>
                </c:pt>
                <c:pt idx="312">
                  <c:v>#N/A</c:v>
                </c:pt>
                <c:pt idx="313">
                  <c:v>#N/A</c:v>
                </c:pt>
                <c:pt idx="314">
                  <c:v>74.59</c:v>
                </c:pt>
                <c:pt idx="315">
                  <c:v>#N/A</c:v>
                </c:pt>
                <c:pt idx="316">
                  <c:v>#N/A</c:v>
                </c:pt>
                <c:pt idx="317">
                  <c:v>#N/A</c:v>
                </c:pt>
                <c:pt idx="318">
                  <c:v>#N/A</c:v>
                </c:pt>
                <c:pt idx="319">
                  <c:v>#N/A</c:v>
                </c:pt>
                <c:pt idx="320">
                  <c:v>#N/A</c:v>
                </c:pt>
                <c:pt idx="321">
                  <c:v>75.37</c:v>
                </c:pt>
                <c:pt idx="322">
                  <c:v>#N/A</c:v>
                </c:pt>
                <c:pt idx="323">
                  <c:v>#N/A</c:v>
                </c:pt>
                <c:pt idx="324">
                  <c:v>#N/A</c:v>
                </c:pt>
                <c:pt idx="325">
                  <c:v>#N/A</c:v>
                </c:pt>
                <c:pt idx="326">
                  <c:v>#N/A</c:v>
                </c:pt>
                <c:pt idx="327">
                  <c:v>#N/A</c:v>
                </c:pt>
                <c:pt idx="328">
                  <c:v>75.95</c:v>
                </c:pt>
                <c:pt idx="329">
                  <c:v>#N/A</c:v>
                </c:pt>
                <c:pt idx="330">
                  <c:v>#N/A</c:v>
                </c:pt>
                <c:pt idx="331">
                  <c:v>#N/A</c:v>
                </c:pt>
                <c:pt idx="332">
                  <c:v>#N/A</c:v>
                </c:pt>
                <c:pt idx="333">
                  <c:v>#N/A</c:v>
                </c:pt>
                <c:pt idx="334">
                  <c:v>#N/A</c:v>
                </c:pt>
                <c:pt idx="335">
                  <c:v>72.06</c:v>
                </c:pt>
                <c:pt idx="336">
                  <c:v>#N/A</c:v>
                </c:pt>
                <c:pt idx="337">
                  <c:v>#N/A</c:v>
                </c:pt>
                <c:pt idx="338">
                  <c:v>#N/A</c:v>
                </c:pt>
                <c:pt idx="339">
                  <c:v>#N/A</c:v>
                </c:pt>
                <c:pt idx="340">
                  <c:v>#N/A</c:v>
                </c:pt>
                <c:pt idx="341">
                  <c:v>#N/A</c:v>
                </c:pt>
                <c:pt idx="342">
                  <c:v>70.7</c:v>
                </c:pt>
                <c:pt idx="343">
                  <c:v>#N/A</c:v>
                </c:pt>
                <c:pt idx="344">
                  <c:v>#N/A</c:v>
                </c:pt>
                <c:pt idx="345">
                  <c:v>#N/A</c:v>
                </c:pt>
                <c:pt idx="346">
                  <c:v>#N/A</c:v>
                </c:pt>
                <c:pt idx="347">
                  <c:v>#N/A</c:v>
                </c:pt>
                <c:pt idx="348">
                  <c:v>#N/A</c:v>
                </c:pt>
                <c:pt idx="349">
                  <c:v>75.569999999999993</c:v>
                </c:pt>
                <c:pt idx="350">
                  <c:v>#N/A</c:v>
                </c:pt>
                <c:pt idx="351">
                  <c:v>#N/A</c:v>
                </c:pt>
                <c:pt idx="352">
                  <c:v>#N/A</c:v>
                </c:pt>
                <c:pt idx="353">
                  <c:v>#N/A</c:v>
                </c:pt>
                <c:pt idx="354">
                  <c:v>#N/A</c:v>
                </c:pt>
                <c:pt idx="355">
                  <c:v>#N/A</c:v>
                </c:pt>
                <c:pt idx="356">
                  <c:v>74.59</c:v>
                </c:pt>
                <c:pt idx="357">
                  <c:v>#N/A</c:v>
                </c:pt>
                <c:pt idx="358">
                  <c:v>#N/A</c:v>
                </c:pt>
                <c:pt idx="359">
                  <c:v>#N/A</c:v>
                </c:pt>
                <c:pt idx="360">
                  <c:v>#N/A</c:v>
                </c:pt>
                <c:pt idx="361">
                  <c:v>#N/A</c:v>
                </c:pt>
                <c:pt idx="362">
                  <c:v>#N/A</c:v>
                </c:pt>
                <c:pt idx="363">
                  <c:v>74</c:v>
                </c:pt>
                <c:pt idx="364">
                  <c:v>#N/A</c:v>
                </c:pt>
                <c:pt idx="365">
                  <c:v>#N/A</c:v>
                </c:pt>
              </c:numCache>
            </c:numRef>
          </c:val>
          <c:smooth val="0"/>
          <c:extLst>
            <c:ext xmlns:c16="http://schemas.microsoft.com/office/drawing/2014/chart" uri="{C3380CC4-5D6E-409C-BE32-E72D297353CC}">
              <c16:uniqueId val="{00000002-20E5-41D9-9332-027FD61982EF}"/>
            </c:ext>
          </c:extLst>
        </c:ser>
        <c:ser>
          <c:idx val="3"/>
          <c:order val="3"/>
          <c:tx>
            <c:strRef>
              <c:f>有机硅开工!$N$2</c:f>
              <c:strCache>
                <c:ptCount val="1"/>
                <c:pt idx="0">
                  <c:v>2024</c:v>
                </c:pt>
              </c:strCache>
            </c:strRef>
          </c:tx>
          <c:spPr>
            <a:ln w="28575" cap="rnd">
              <a:solidFill>
                <a:schemeClr val="tx1"/>
              </a:solidFill>
              <a:round/>
            </a:ln>
            <a:effectLst/>
          </c:spPr>
          <c:marker>
            <c:symbol val="none"/>
          </c:marker>
          <c:cat>
            <c:strRef>
              <c:f>有机硅开工!$I$3:$I$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N$3:$N$368</c:f>
              <c:numCache>
                <c:formatCode>General</c:formatCode>
                <c:ptCount val="366"/>
                <c:pt idx="0">
                  <c:v>70.930000000000007</c:v>
                </c:pt>
                <c:pt idx="1">
                  <c:v>70.930000000000007</c:v>
                </c:pt>
                <c:pt idx="2">
                  <c:v>70.930000000000007</c:v>
                </c:pt>
                <c:pt idx="3">
                  <c:v>70.930000000000007</c:v>
                </c:pt>
                <c:pt idx="4">
                  <c:v>70.930000000000007</c:v>
                </c:pt>
                <c:pt idx="5">
                  <c:v>67.67</c:v>
                </c:pt>
                <c:pt idx="6">
                  <c:v>67.67</c:v>
                </c:pt>
                <c:pt idx="7">
                  <c:v>67.67</c:v>
                </c:pt>
                <c:pt idx="8">
                  <c:v>67.67</c:v>
                </c:pt>
                <c:pt idx="9">
                  <c:v>67.67</c:v>
                </c:pt>
                <c:pt idx="10">
                  <c:v>67.67</c:v>
                </c:pt>
                <c:pt idx="11">
                  <c:v>67.67</c:v>
                </c:pt>
                <c:pt idx="12">
                  <c:v>69.97</c:v>
                </c:pt>
                <c:pt idx="13">
                  <c:v>69.97</c:v>
                </c:pt>
                <c:pt idx="14">
                  <c:v>69.97</c:v>
                </c:pt>
                <c:pt idx="15">
                  <c:v>69.97</c:v>
                </c:pt>
                <c:pt idx="16">
                  <c:v>69.97</c:v>
                </c:pt>
                <c:pt idx="17">
                  <c:v>69.97</c:v>
                </c:pt>
                <c:pt idx="18">
                  <c:v>69.97</c:v>
                </c:pt>
                <c:pt idx="19">
                  <c:v>72.27</c:v>
                </c:pt>
                <c:pt idx="20">
                  <c:v>72.27</c:v>
                </c:pt>
                <c:pt idx="21">
                  <c:v>72.27</c:v>
                </c:pt>
                <c:pt idx="22">
                  <c:v>72.27</c:v>
                </c:pt>
                <c:pt idx="23">
                  <c:v>72.27</c:v>
                </c:pt>
                <c:pt idx="24">
                  <c:v>72.27</c:v>
                </c:pt>
                <c:pt idx="25">
                  <c:v>72.27</c:v>
                </c:pt>
                <c:pt idx="26">
                  <c:v>74.569999999999993</c:v>
                </c:pt>
                <c:pt idx="27">
                  <c:v>74.569999999999993</c:v>
                </c:pt>
                <c:pt idx="28">
                  <c:v>74.569999999999993</c:v>
                </c:pt>
                <c:pt idx="29">
                  <c:v>74.569999999999993</c:v>
                </c:pt>
                <c:pt idx="30">
                  <c:v>74.569999999999993</c:v>
                </c:pt>
                <c:pt idx="31">
                  <c:v>74.569999999999993</c:v>
                </c:pt>
                <c:pt idx="32">
                  <c:v>74.569999999999993</c:v>
                </c:pt>
                <c:pt idx="33">
                  <c:v>75.150000000000006</c:v>
                </c:pt>
                <c:pt idx="34">
                  <c:v>75.150000000000006</c:v>
                </c:pt>
                <c:pt idx="35">
                  <c:v>75.150000000000006</c:v>
                </c:pt>
                <c:pt idx="36">
                  <c:v>75.150000000000006</c:v>
                </c:pt>
                <c:pt idx="37">
                  <c:v>75.150000000000006</c:v>
                </c:pt>
                <c:pt idx="38">
                  <c:v>75.150000000000006</c:v>
                </c:pt>
                <c:pt idx="39">
                  <c:v>75.150000000000006</c:v>
                </c:pt>
                <c:pt idx="40">
                  <c:v>75.53</c:v>
                </c:pt>
                <c:pt idx="41">
                  <c:v>75.53</c:v>
                </c:pt>
                <c:pt idx="42">
                  <c:v>75.53</c:v>
                </c:pt>
                <c:pt idx="43">
                  <c:v>75.53</c:v>
                </c:pt>
                <c:pt idx="44">
                  <c:v>75.53</c:v>
                </c:pt>
                <c:pt idx="45">
                  <c:v>75.53</c:v>
                </c:pt>
                <c:pt idx="46">
                  <c:v>75.53</c:v>
                </c:pt>
                <c:pt idx="47">
                  <c:v>75.72</c:v>
                </c:pt>
                <c:pt idx="48">
                  <c:v>75.72</c:v>
                </c:pt>
                <c:pt idx="49">
                  <c:v>75.72</c:v>
                </c:pt>
                <c:pt idx="50">
                  <c:v>75.72</c:v>
                </c:pt>
                <c:pt idx="51">
                  <c:v>75.72</c:v>
                </c:pt>
                <c:pt idx="52">
                  <c:v>75.72</c:v>
                </c:pt>
                <c:pt idx="53">
                  <c:v>75.72</c:v>
                </c:pt>
                <c:pt idx="54">
                  <c:v>77.64</c:v>
                </c:pt>
                <c:pt idx="55">
                  <c:v>77.64</c:v>
                </c:pt>
                <c:pt idx="56">
                  <c:v>77.64</c:v>
                </c:pt>
                <c:pt idx="57">
                  <c:v>77.64</c:v>
                </c:pt>
                <c:pt idx="58">
                  <c:v>77.64</c:v>
                </c:pt>
                <c:pt idx="59">
                  <c:v>77.64</c:v>
                </c:pt>
                <c:pt idx="60">
                  <c:v>77.64</c:v>
                </c:pt>
                <c:pt idx="61">
                  <c:v>75.91</c:v>
                </c:pt>
                <c:pt idx="62">
                  <c:v>75.91</c:v>
                </c:pt>
                <c:pt idx="63">
                  <c:v>75.91</c:v>
                </c:pt>
                <c:pt idx="64">
                  <c:v>75.91</c:v>
                </c:pt>
                <c:pt idx="65">
                  <c:v>75.91</c:v>
                </c:pt>
                <c:pt idx="66">
                  <c:v>75.91</c:v>
                </c:pt>
                <c:pt idx="67">
                  <c:v>75.91</c:v>
                </c:pt>
                <c:pt idx="68">
                  <c:v>79.75</c:v>
                </c:pt>
                <c:pt idx="69">
                  <c:v>79.75</c:v>
                </c:pt>
                <c:pt idx="70">
                  <c:v>79.75</c:v>
                </c:pt>
                <c:pt idx="71">
                  <c:v>79.75</c:v>
                </c:pt>
                <c:pt idx="72">
                  <c:v>79.75</c:v>
                </c:pt>
                <c:pt idx="73">
                  <c:v>79.75</c:v>
                </c:pt>
                <c:pt idx="74">
                  <c:v>79.75</c:v>
                </c:pt>
                <c:pt idx="75">
                  <c:v>78.22</c:v>
                </c:pt>
                <c:pt idx="76">
                  <c:v>78.22</c:v>
                </c:pt>
                <c:pt idx="77">
                  <c:v>78.22</c:v>
                </c:pt>
                <c:pt idx="78">
                  <c:v>78.22</c:v>
                </c:pt>
                <c:pt idx="79">
                  <c:v>78.22</c:v>
                </c:pt>
                <c:pt idx="80">
                  <c:v>78.22</c:v>
                </c:pt>
                <c:pt idx="81">
                  <c:v>78.22</c:v>
                </c:pt>
                <c:pt idx="82">
                  <c:v>72.989999999999995</c:v>
                </c:pt>
                <c:pt idx="83">
                  <c:v>72.989999999999995</c:v>
                </c:pt>
                <c:pt idx="84">
                  <c:v>72.989999999999995</c:v>
                </c:pt>
                <c:pt idx="85">
                  <c:v>72.989999999999995</c:v>
                </c:pt>
                <c:pt idx="86">
                  <c:v>72.989999999999995</c:v>
                </c:pt>
                <c:pt idx="87">
                  <c:v>72.989999999999995</c:v>
                </c:pt>
                <c:pt idx="88">
                  <c:v>72.989999999999995</c:v>
                </c:pt>
                <c:pt idx="89">
                  <c:v>71.88</c:v>
                </c:pt>
                <c:pt idx="90">
                  <c:v>71.88</c:v>
                </c:pt>
                <c:pt idx="91">
                  <c:v>71.88</c:v>
                </c:pt>
                <c:pt idx="92">
                  <c:v>71.88</c:v>
                </c:pt>
                <c:pt idx="93">
                  <c:v>71.88</c:v>
                </c:pt>
                <c:pt idx="94">
                  <c:v>71.88</c:v>
                </c:pt>
                <c:pt idx="95">
                  <c:v>71.88</c:v>
                </c:pt>
                <c:pt idx="96">
                  <c:v>70.95</c:v>
                </c:pt>
                <c:pt idx="97">
                  <c:v>70.95</c:v>
                </c:pt>
                <c:pt idx="98">
                  <c:v>70.95</c:v>
                </c:pt>
                <c:pt idx="99">
                  <c:v>70.95</c:v>
                </c:pt>
                <c:pt idx="100">
                  <c:v>70.95</c:v>
                </c:pt>
                <c:pt idx="101">
                  <c:v>70.95</c:v>
                </c:pt>
                <c:pt idx="102">
                  <c:v>70.95</c:v>
                </c:pt>
                <c:pt idx="103">
                  <c:v>66.290000000000006</c:v>
                </c:pt>
                <c:pt idx="104">
                  <c:v>66.290000000000006</c:v>
                </c:pt>
                <c:pt idx="105">
                  <c:v>66.290000000000006</c:v>
                </c:pt>
                <c:pt idx="106">
                  <c:v>66.290000000000006</c:v>
                </c:pt>
                <c:pt idx="107">
                  <c:v>66.290000000000006</c:v>
                </c:pt>
                <c:pt idx="108">
                  <c:v>66.290000000000006</c:v>
                </c:pt>
                <c:pt idx="109">
                  <c:v>66.290000000000006</c:v>
                </c:pt>
                <c:pt idx="110">
                  <c:v>72.62</c:v>
                </c:pt>
                <c:pt idx="111">
                  <c:v>72.62</c:v>
                </c:pt>
                <c:pt idx="112">
                  <c:v>72.62</c:v>
                </c:pt>
                <c:pt idx="113">
                  <c:v>72.62</c:v>
                </c:pt>
                <c:pt idx="114">
                  <c:v>72.62</c:v>
                </c:pt>
                <c:pt idx="115">
                  <c:v>72.62</c:v>
                </c:pt>
                <c:pt idx="116">
                  <c:v>72.62</c:v>
                </c:pt>
                <c:pt idx="117">
                  <c:v>74.489999999999995</c:v>
                </c:pt>
                <c:pt idx="118">
                  <c:v>74.489999999999995</c:v>
                </c:pt>
                <c:pt idx="119">
                  <c:v>74.489999999999995</c:v>
                </c:pt>
                <c:pt idx="120">
                  <c:v>74.489999999999995</c:v>
                </c:pt>
                <c:pt idx="121">
                  <c:v>74.489999999999995</c:v>
                </c:pt>
                <c:pt idx="122">
                  <c:v>74.489999999999995</c:v>
                </c:pt>
                <c:pt idx="123">
                  <c:v>74.489999999999995</c:v>
                </c:pt>
                <c:pt idx="124">
                  <c:v>75.599999999999994</c:v>
                </c:pt>
                <c:pt idx="125">
                  <c:v>75.599999999999994</c:v>
                </c:pt>
                <c:pt idx="126">
                  <c:v>75.599999999999994</c:v>
                </c:pt>
                <c:pt idx="127">
                  <c:v>75.599999999999994</c:v>
                </c:pt>
                <c:pt idx="128">
                  <c:v>75.599999999999994</c:v>
                </c:pt>
                <c:pt idx="129">
                  <c:v>75.599999999999994</c:v>
                </c:pt>
                <c:pt idx="130">
                  <c:v>75.599999999999994</c:v>
                </c:pt>
                <c:pt idx="131">
                  <c:v>78.39</c:v>
                </c:pt>
                <c:pt idx="132">
                  <c:v>78.39</c:v>
                </c:pt>
                <c:pt idx="133">
                  <c:v>78.39</c:v>
                </c:pt>
                <c:pt idx="134">
                  <c:v>78.39</c:v>
                </c:pt>
                <c:pt idx="135">
                  <c:v>78.39</c:v>
                </c:pt>
                <c:pt idx="136">
                  <c:v>78.39</c:v>
                </c:pt>
                <c:pt idx="137">
                  <c:v>78.39</c:v>
                </c:pt>
                <c:pt idx="138">
                  <c:v>75.87</c:v>
                </c:pt>
                <c:pt idx="139">
                  <c:v>75.87</c:v>
                </c:pt>
                <c:pt idx="140">
                  <c:v>75.87</c:v>
                </c:pt>
                <c:pt idx="141">
                  <c:v>75.87</c:v>
                </c:pt>
                <c:pt idx="142">
                  <c:v>75.87</c:v>
                </c:pt>
                <c:pt idx="143">
                  <c:v>75.87</c:v>
                </c:pt>
                <c:pt idx="144">
                  <c:v>75.87</c:v>
                </c:pt>
                <c:pt idx="145">
                  <c:v>73.16</c:v>
                </c:pt>
                <c:pt idx="146">
                  <c:v>73.16</c:v>
                </c:pt>
                <c:pt idx="147">
                  <c:v>73.16</c:v>
                </c:pt>
                <c:pt idx="148">
                  <c:v>73.16</c:v>
                </c:pt>
                <c:pt idx="149">
                  <c:v>73.16</c:v>
                </c:pt>
                <c:pt idx="150">
                  <c:v>73.16</c:v>
                </c:pt>
                <c:pt idx="151">
                  <c:v>73.16</c:v>
                </c:pt>
                <c:pt idx="152">
                  <c:v>72.44</c:v>
                </c:pt>
                <c:pt idx="153">
                  <c:v>72.44</c:v>
                </c:pt>
                <c:pt idx="154">
                  <c:v>72.44</c:v>
                </c:pt>
                <c:pt idx="155">
                  <c:v>72.44</c:v>
                </c:pt>
                <c:pt idx="156">
                  <c:v>72.44</c:v>
                </c:pt>
                <c:pt idx="157">
                  <c:v>72.44</c:v>
                </c:pt>
                <c:pt idx="158">
                  <c:v>72.44</c:v>
                </c:pt>
                <c:pt idx="159">
                  <c:v>75.33</c:v>
                </c:pt>
                <c:pt idx="160">
                  <c:v>75.33</c:v>
                </c:pt>
                <c:pt idx="161">
                  <c:v>75.33</c:v>
                </c:pt>
                <c:pt idx="162">
                  <c:v>75.33</c:v>
                </c:pt>
                <c:pt idx="163">
                  <c:v>75.33</c:v>
                </c:pt>
                <c:pt idx="164">
                  <c:v>75.33</c:v>
                </c:pt>
                <c:pt idx="165">
                  <c:v>75.33</c:v>
                </c:pt>
                <c:pt idx="166">
                  <c:v>73.89</c:v>
                </c:pt>
                <c:pt idx="167">
                  <c:v>73.89</c:v>
                </c:pt>
                <c:pt idx="168">
                  <c:v>73.89</c:v>
                </c:pt>
                <c:pt idx="169">
                  <c:v>73.89</c:v>
                </c:pt>
                <c:pt idx="170">
                  <c:v>73.89</c:v>
                </c:pt>
                <c:pt idx="171">
                  <c:v>73.89</c:v>
                </c:pt>
                <c:pt idx="172">
                  <c:v>73.89</c:v>
                </c:pt>
                <c:pt idx="173">
                  <c:v>74.03</c:v>
                </c:pt>
                <c:pt idx="174">
                  <c:v>74.03</c:v>
                </c:pt>
                <c:pt idx="175">
                  <c:v>74.03</c:v>
                </c:pt>
                <c:pt idx="176">
                  <c:v>74.03</c:v>
                </c:pt>
                <c:pt idx="177">
                  <c:v>74.03</c:v>
                </c:pt>
                <c:pt idx="178">
                  <c:v>74.03</c:v>
                </c:pt>
                <c:pt idx="179">
                  <c:v>74.03</c:v>
                </c:pt>
                <c:pt idx="180">
                  <c:v>75.75</c:v>
                </c:pt>
                <c:pt idx="181">
                  <c:v>75.75</c:v>
                </c:pt>
                <c:pt idx="182">
                  <c:v>75.75</c:v>
                </c:pt>
                <c:pt idx="183">
                  <c:v>75.75</c:v>
                </c:pt>
                <c:pt idx="184">
                  <c:v>75.75</c:v>
                </c:pt>
                <c:pt idx="185">
                  <c:v>75.75</c:v>
                </c:pt>
                <c:pt idx="186">
                  <c:v>75.75</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3-20E5-41D9-9332-027FD61982EF}"/>
            </c:ext>
          </c:extLst>
        </c:ser>
        <c:dLbls>
          <c:showLegendKey val="0"/>
          <c:showVal val="0"/>
          <c:showCatName val="0"/>
          <c:showSerName val="0"/>
          <c:showPercent val="0"/>
          <c:showBubbleSize val="0"/>
        </c:dLbls>
        <c:smooth val="0"/>
        <c:axId val="574072431"/>
        <c:axId val="787851343"/>
      </c:lineChart>
      <c:catAx>
        <c:axId val="574072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787851343"/>
        <c:crosses val="autoZero"/>
        <c:auto val="1"/>
        <c:lblAlgn val="ctr"/>
        <c:lblOffset val="100"/>
        <c:noMultiLvlLbl val="0"/>
      </c:catAx>
      <c:valAx>
        <c:axId val="787851343"/>
        <c:scaling>
          <c:orientation val="minMax"/>
          <c:max val="100"/>
          <c:min val="4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5740724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r>
              <a:rPr lang="zh-CN" sz="1400"/>
              <a:t>有机中间体总产量</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1"/>
          <c:order val="0"/>
          <c:tx>
            <c:strRef>
              <c:f>有机硅开工!$R$2</c:f>
              <c:strCache>
                <c:ptCount val="1"/>
                <c:pt idx="0">
                  <c:v>2021</c:v>
                </c:pt>
              </c:strCache>
            </c:strRef>
          </c:tx>
          <c:spPr>
            <a:ln w="19050" cap="rnd">
              <a:solidFill>
                <a:srgbClr val="B57222">
                  <a:alpha val="60000"/>
                </a:srgbClr>
              </a:solidFill>
              <a:round/>
            </a:ln>
            <a:effectLst/>
          </c:spPr>
          <c:marker>
            <c:symbol val="none"/>
          </c:marker>
          <c:cat>
            <c:strRef>
              <c:f>有机硅开工!$P$3:$P$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R$3:$R$368</c:f>
              <c:numCache>
                <c:formatCode>General</c:formatCode>
                <c:ptCount val="366"/>
                <c:pt idx="0">
                  <c:v>25200</c:v>
                </c:pt>
                <c:pt idx="1">
                  <c:v>#N/A</c:v>
                </c:pt>
                <c:pt idx="2">
                  <c:v>#N/A</c:v>
                </c:pt>
                <c:pt idx="3">
                  <c:v>#N/A</c:v>
                </c:pt>
                <c:pt idx="4">
                  <c:v>#N/A</c:v>
                </c:pt>
                <c:pt idx="5">
                  <c:v>#N/A</c:v>
                </c:pt>
                <c:pt idx="6">
                  <c:v>#N/A</c:v>
                </c:pt>
                <c:pt idx="7">
                  <c:v>25200</c:v>
                </c:pt>
                <c:pt idx="8">
                  <c:v>#N/A</c:v>
                </c:pt>
                <c:pt idx="9">
                  <c:v>#N/A</c:v>
                </c:pt>
                <c:pt idx="10">
                  <c:v>#N/A</c:v>
                </c:pt>
                <c:pt idx="11">
                  <c:v>#N/A</c:v>
                </c:pt>
                <c:pt idx="12">
                  <c:v>#N/A</c:v>
                </c:pt>
                <c:pt idx="13">
                  <c:v>#N/A</c:v>
                </c:pt>
                <c:pt idx="14">
                  <c:v>25200</c:v>
                </c:pt>
                <c:pt idx="15">
                  <c:v>#N/A</c:v>
                </c:pt>
                <c:pt idx="16">
                  <c:v>#N/A</c:v>
                </c:pt>
                <c:pt idx="17">
                  <c:v>#N/A</c:v>
                </c:pt>
                <c:pt idx="18">
                  <c:v>#N/A</c:v>
                </c:pt>
                <c:pt idx="19">
                  <c:v>#N/A</c:v>
                </c:pt>
                <c:pt idx="20">
                  <c:v>#N/A</c:v>
                </c:pt>
                <c:pt idx="21">
                  <c:v>27600</c:v>
                </c:pt>
                <c:pt idx="22">
                  <c:v>#N/A</c:v>
                </c:pt>
                <c:pt idx="23">
                  <c:v>#N/A</c:v>
                </c:pt>
                <c:pt idx="24">
                  <c:v>#N/A</c:v>
                </c:pt>
                <c:pt idx="25">
                  <c:v>#N/A</c:v>
                </c:pt>
                <c:pt idx="26">
                  <c:v>#N/A</c:v>
                </c:pt>
                <c:pt idx="27">
                  <c:v>#N/A</c:v>
                </c:pt>
                <c:pt idx="28">
                  <c:v>27800</c:v>
                </c:pt>
                <c:pt idx="29">
                  <c:v>#N/A</c:v>
                </c:pt>
                <c:pt idx="30">
                  <c:v>#N/A</c:v>
                </c:pt>
                <c:pt idx="31">
                  <c:v>#N/A</c:v>
                </c:pt>
                <c:pt idx="32">
                  <c:v>#N/A</c:v>
                </c:pt>
                <c:pt idx="33">
                  <c:v>#N/A</c:v>
                </c:pt>
                <c:pt idx="34">
                  <c:v>#N/A</c:v>
                </c:pt>
                <c:pt idx="35">
                  <c:v>28100</c:v>
                </c:pt>
                <c:pt idx="36">
                  <c:v>#N/A</c:v>
                </c:pt>
                <c:pt idx="37">
                  <c:v>#N/A</c:v>
                </c:pt>
                <c:pt idx="38">
                  <c:v>#N/A</c:v>
                </c:pt>
                <c:pt idx="39">
                  <c:v>#N/A</c:v>
                </c:pt>
                <c:pt idx="40">
                  <c:v>#N/A</c:v>
                </c:pt>
                <c:pt idx="41">
                  <c:v>#N/A</c:v>
                </c:pt>
                <c:pt idx="42">
                  <c:v>23800</c:v>
                </c:pt>
                <c:pt idx="43">
                  <c:v>#N/A</c:v>
                </c:pt>
                <c:pt idx="44">
                  <c:v>#N/A</c:v>
                </c:pt>
                <c:pt idx="45">
                  <c:v>#N/A</c:v>
                </c:pt>
                <c:pt idx="46">
                  <c:v>#N/A</c:v>
                </c:pt>
                <c:pt idx="47">
                  <c:v>#N/A</c:v>
                </c:pt>
                <c:pt idx="48">
                  <c:v>#N/A</c:v>
                </c:pt>
                <c:pt idx="49">
                  <c:v>24600</c:v>
                </c:pt>
                <c:pt idx="50">
                  <c:v>#N/A</c:v>
                </c:pt>
                <c:pt idx="51">
                  <c:v>#N/A</c:v>
                </c:pt>
                <c:pt idx="52">
                  <c:v>#N/A</c:v>
                </c:pt>
                <c:pt idx="53">
                  <c:v>#N/A</c:v>
                </c:pt>
                <c:pt idx="54">
                  <c:v>#N/A</c:v>
                </c:pt>
                <c:pt idx="55">
                  <c:v>#N/A</c:v>
                </c:pt>
                <c:pt idx="56">
                  <c:v>24800</c:v>
                </c:pt>
                <c:pt idx="57">
                  <c:v>#N/A</c:v>
                </c:pt>
                <c:pt idx="58">
                  <c:v>#N/A</c:v>
                </c:pt>
                <c:pt idx="60">
                  <c:v>#N/A</c:v>
                </c:pt>
                <c:pt idx="61">
                  <c:v>#N/A</c:v>
                </c:pt>
                <c:pt idx="62">
                  <c:v>#N/A</c:v>
                </c:pt>
                <c:pt idx="63">
                  <c:v>#N/A</c:v>
                </c:pt>
                <c:pt idx="64">
                  <c:v>28250</c:v>
                </c:pt>
                <c:pt idx="65">
                  <c:v>#N/A</c:v>
                </c:pt>
                <c:pt idx="66">
                  <c:v>#N/A</c:v>
                </c:pt>
                <c:pt idx="67">
                  <c:v>#N/A</c:v>
                </c:pt>
                <c:pt idx="68">
                  <c:v>#N/A</c:v>
                </c:pt>
                <c:pt idx="69">
                  <c:v>#N/A</c:v>
                </c:pt>
                <c:pt idx="70">
                  <c:v>#N/A</c:v>
                </c:pt>
                <c:pt idx="71">
                  <c:v>29450</c:v>
                </c:pt>
                <c:pt idx="72">
                  <c:v>#N/A</c:v>
                </c:pt>
                <c:pt idx="73">
                  <c:v>#N/A</c:v>
                </c:pt>
                <c:pt idx="74">
                  <c:v>#N/A</c:v>
                </c:pt>
                <c:pt idx="75">
                  <c:v>#N/A</c:v>
                </c:pt>
                <c:pt idx="76">
                  <c:v>#N/A</c:v>
                </c:pt>
                <c:pt idx="77">
                  <c:v>#N/A</c:v>
                </c:pt>
                <c:pt idx="78">
                  <c:v>29600</c:v>
                </c:pt>
                <c:pt idx="79">
                  <c:v>#N/A</c:v>
                </c:pt>
                <c:pt idx="80">
                  <c:v>#N/A</c:v>
                </c:pt>
                <c:pt idx="81">
                  <c:v>#N/A</c:v>
                </c:pt>
                <c:pt idx="82">
                  <c:v>#N/A</c:v>
                </c:pt>
                <c:pt idx="83">
                  <c:v>#N/A</c:v>
                </c:pt>
                <c:pt idx="84">
                  <c:v>#N/A</c:v>
                </c:pt>
                <c:pt idx="85">
                  <c:v>28800</c:v>
                </c:pt>
                <c:pt idx="86">
                  <c:v>#N/A</c:v>
                </c:pt>
                <c:pt idx="87">
                  <c:v>#N/A</c:v>
                </c:pt>
                <c:pt idx="88">
                  <c:v>#N/A</c:v>
                </c:pt>
                <c:pt idx="89">
                  <c:v>#N/A</c:v>
                </c:pt>
                <c:pt idx="90">
                  <c:v>#N/A</c:v>
                </c:pt>
                <c:pt idx="91">
                  <c:v>#N/A</c:v>
                </c:pt>
                <c:pt idx="92">
                  <c:v>29600</c:v>
                </c:pt>
                <c:pt idx="93">
                  <c:v>#N/A</c:v>
                </c:pt>
                <c:pt idx="94">
                  <c:v>#N/A</c:v>
                </c:pt>
                <c:pt idx="95">
                  <c:v>#N/A</c:v>
                </c:pt>
                <c:pt idx="96">
                  <c:v>#N/A</c:v>
                </c:pt>
                <c:pt idx="97">
                  <c:v>#N/A</c:v>
                </c:pt>
                <c:pt idx="98">
                  <c:v>#N/A</c:v>
                </c:pt>
                <c:pt idx="99">
                  <c:v>30400</c:v>
                </c:pt>
                <c:pt idx="100">
                  <c:v>#N/A</c:v>
                </c:pt>
                <c:pt idx="101">
                  <c:v>#N/A</c:v>
                </c:pt>
                <c:pt idx="102">
                  <c:v>#N/A</c:v>
                </c:pt>
                <c:pt idx="103">
                  <c:v>#N/A</c:v>
                </c:pt>
                <c:pt idx="104">
                  <c:v>#N/A</c:v>
                </c:pt>
                <c:pt idx="105">
                  <c:v>#N/A</c:v>
                </c:pt>
                <c:pt idx="106">
                  <c:v>28300</c:v>
                </c:pt>
                <c:pt idx="107">
                  <c:v>#N/A</c:v>
                </c:pt>
                <c:pt idx="108">
                  <c:v>#N/A</c:v>
                </c:pt>
                <c:pt idx="109">
                  <c:v>#N/A</c:v>
                </c:pt>
                <c:pt idx="110">
                  <c:v>#N/A</c:v>
                </c:pt>
                <c:pt idx="111">
                  <c:v>#N/A</c:v>
                </c:pt>
                <c:pt idx="112">
                  <c:v>#N/A</c:v>
                </c:pt>
                <c:pt idx="113">
                  <c:v>29100</c:v>
                </c:pt>
                <c:pt idx="114">
                  <c:v>#N/A</c:v>
                </c:pt>
                <c:pt idx="115">
                  <c:v>#N/A</c:v>
                </c:pt>
                <c:pt idx="116">
                  <c:v>#N/A</c:v>
                </c:pt>
                <c:pt idx="117">
                  <c:v>#N/A</c:v>
                </c:pt>
                <c:pt idx="118">
                  <c:v>#N/A</c:v>
                </c:pt>
                <c:pt idx="119">
                  <c:v>#N/A</c:v>
                </c:pt>
                <c:pt idx="120">
                  <c:v>29400</c:v>
                </c:pt>
                <c:pt idx="121">
                  <c:v>#N/A</c:v>
                </c:pt>
                <c:pt idx="122">
                  <c:v>#N/A</c:v>
                </c:pt>
                <c:pt idx="123">
                  <c:v>#N/A</c:v>
                </c:pt>
                <c:pt idx="124">
                  <c:v>#N/A</c:v>
                </c:pt>
                <c:pt idx="125">
                  <c:v>#N/A</c:v>
                </c:pt>
                <c:pt idx="126">
                  <c:v>#N/A</c:v>
                </c:pt>
                <c:pt idx="127">
                  <c:v>29900</c:v>
                </c:pt>
                <c:pt idx="128">
                  <c:v>#N/A</c:v>
                </c:pt>
                <c:pt idx="129">
                  <c:v>#N/A</c:v>
                </c:pt>
                <c:pt idx="130">
                  <c:v>#N/A</c:v>
                </c:pt>
                <c:pt idx="131">
                  <c:v>#N/A</c:v>
                </c:pt>
                <c:pt idx="132">
                  <c:v>#N/A</c:v>
                </c:pt>
                <c:pt idx="133">
                  <c:v>#N/A</c:v>
                </c:pt>
                <c:pt idx="134">
                  <c:v>29100</c:v>
                </c:pt>
                <c:pt idx="135">
                  <c:v>#N/A</c:v>
                </c:pt>
                <c:pt idx="136">
                  <c:v>#N/A</c:v>
                </c:pt>
                <c:pt idx="137">
                  <c:v>#N/A</c:v>
                </c:pt>
                <c:pt idx="138">
                  <c:v>#N/A</c:v>
                </c:pt>
                <c:pt idx="139">
                  <c:v>#N/A</c:v>
                </c:pt>
                <c:pt idx="140">
                  <c:v>#N/A</c:v>
                </c:pt>
                <c:pt idx="141">
                  <c:v>27800</c:v>
                </c:pt>
                <c:pt idx="142">
                  <c:v>#N/A</c:v>
                </c:pt>
                <c:pt idx="143">
                  <c:v>#N/A</c:v>
                </c:pt>
                <c:pt idx="144">
                  <c:v>#N/A</c:v>
                </c:pt>
                <c:pt idx="145">
                  <c:v>#N/A</c:v>
                </c:pt>
                <c:pt idx="146">
                  <c:v>#N/A</c:v>
                </c:pt>
                <c:pt idx="147">
                  <c:v>#N/A</c:v>
                </c:pt>
                <c:pt idx="148">
                  <c:v>32900</c:v>
                </c:pt>
                <c:pt idx="149">
                  <c:v>#N/A</c:v>
                </c:pt>
                <c:pt idx="150">
                  <c:v>#N/A</c:v>
                </c:pt>
                <c:pt idx="151">
                  <c:v>#N/A</c:v>
                </c:pt>
                <c:pt idx="152">
                  <c:v>#N/A</c:v>
                </c:pt>
                <c:pt idx="153">
                  <c:v>#N/A</c:v>
                </c:pt>
                <c:pt idx="154">
                  <c:v>#N/A</c:v>
                </c:pt>
                <c:pt idx="155">
                  <c:v>30500</c:v>
                </c:pt>
                <c:pt idx="156">
                  <c:v>#N/A</c:v>
                </c:pt>
                <c:pt idx="157">
                  <c:v>#N/A</c:v>
                </c:pt>
                <c:pt idx="158">
                  <c:v>#N/A</c:v>
                </c:pt>
                <c:pt idx="159">
                  <c:v>#N/A</c:v>
                </c:pt>
                <c:pt idx="160">
                  <c:v>#N/A</c:v>
                </c:pt>
                <c:pt idx="161">
                  <c:v>#N/A</c:v>
                </c:pt>
                <c:pt idx="162">
                  <c:v>30800</c:v>
                </c:pt>
                <c:pt idx="163">
                  <c:v>#N/A</c:v>
                </c:pt>
                <c:pt idx="164">
                  <c:v>#N/A</c:v>
                </c:pt>
                <c:pt idx="165">
                  <c:v>#N/A</c:v>
                </c:pt>
                <c:pt idx="166">
                  <c:v>#N/A</c:v>
                </c:pt>
                <c:pt idx="167">
                  <c:v>#N/A</c:v>
                </c:pt>
                <c:pt idx="168">
                  <c:v>#N/A</c:v>
                </c:pt>
                <c:pt idx="169">
                  <c:v>30900</c:v>
                </c:pt>
                <c:pt idx="170">
                  <c:v>#N/A</c:v>
                </c:pt>
                <c:pt idx="171">
                  <c:v>#N/A</c:v>
                </c:pt>
                <c:pt idx="172">
                  <c:v>#N/A</c:v>
                </c:pt>
                <c:pt idx="173">
                  <c:v>#N/A</c:v>
                </c:pt>
                <c:pt idx="174">
                  <c:v>#N/A</c:v>
                </c:pt>
                <c:pt idx="175">
                  <c:v>#N/A</c:v>
                </c:pt>
                <c:pt idx="176">
                  <c:v>32100</c:v>
                </c:pt>
                <c:pt idx="177">
                  <c:v>#N/A</c:v>
                </c:pt>
                <c:pt idx="178">
                  <c:v>#N/A</c:v>
                </c:pt>
                <c:pt idx="179">
                  <c:v>#N/A</c:v>
                </c:pt>
                <c:pt idx="180">
                  <c:v>#N/A</c:v>
                </c:pt>
                <c:pt idx="181">
                  <c:v>#N/A</c:v>
                </c:pt>
                <c:pt idx="182">
                  <c:v>#N/A</c:v>
                </c:pt>
                <c:pt idx="183">
                  <c:v>33200</c:v>
                </c:pt>
                <c:pt idx="184">
                  <c:v>#N/A</c:v>
                </c:pt>
                <c:pt idx="185">
                  <c:v>#N/A</c:v>
                </c:pt>
                <c:pt idx="186">
                  <c:v>#N/A</c:v>
                </c:pt>
                <c:pt idx="187">
                  <c:v>#N/A</c:v>
                </c:pt>
                <c:pt idx="188">
                  <c:v>#N/A</c:v>
                </c:pt>
                <c:pt idx="189">
                  <c:v>#N/A</c:v>
                </c:pt>
                <c:pt idx="190">
                  <c:v>32400</c:v>
                </c:pt>
                <c:pt idx="191">
                  <c:v>#N/A</c:v>
                </c:pt>
                <c:pt idx="192">
                  <c:v>#N/A</c:v>
                </c:pt>
                <c:pt idx="193">
                  <c:v>#N/A</c:v>
                </c:pt>
                <c:pt idx="194">
                  <c:v>#N/A</c:v>
                </c:pt>
                <c:pt idx="195">
                  <c:v>#N/A</c:v>
                </c:pt>
                <c:pt idx="196">
                  <c:v>#N/A</c:v>
                </c:pt>
                <c:pt idx="197">
                  <c:v>32200</c:v>
                </c:pt>
                <c:pt idx="198">
                  <c:v>#N/A</c:v>
                </c:pt>
                <c:pt idx="199">
                  <c:v>#N/A</c:v>
                </c:pt>
                <c:pt idx="200">
                  <c:v>#N/A</c:v>
                </c:pt>
                <c:pt idx="201">
                  <c:v>#N/A</c:v>
                </c:pt>
                <c:pt idx="202">
                  <c:v>#N/A</c:v>
                </c:pt>
                <c:pt idx="203">
                  <c:v>#N/A</c:v>
                </c:pt>
                <c:pt idx="204">
                  <c:v>33400</c:v>
                </c:pt>
                <c:pt idx="205">
                  <c:v>#N/A</c:v>
                </c:pt>
                <c:pt idx="206">
                  <c:v>#N/A</c:v>
                </c:pt>
                <c:pt idx="207">
                  <c:v>#N/A</c:v>
                </c:pt>
                <c:pt idx="208">
                  <c:v>#N/A</c:v>
                </c:pt>
                <c:pt idx="209">
                  <c:v>#N/A</c:v>
                </c:pt>
                <c:pt idx="210">
                  <c:v>#N/A</c:v>
                </c:pt>
                <c:pt idx="211">
                  <c:v>33900</c:v>
                </c:pt>
                <c:pt idx="212">
                  <c:v>#N/A</c:v>
                </c:pt>
                <c:pt idx="213">
                  <c:v>#N/A</c:v>
                </c:pt>
                <c:pt idx="214">
                  <c:v>#N/A</c:v>
                </c:pt>
                <c:pt idx="215">
                  <c:v>#N/A</c:v>
                </c:pt>
                <c:pt idx="216">
                  <c:v>#N/A</c:v>
                </c:pt>
                <c:pt idx="217">
                  <c:v>#N/A</c:v>
                </c:pt>
                <c:pt idx="218">
                  <c:v>34300</c:v>
                </c:pt>
                <c:pt idx="219">
                  <c:v>#N/A</c:v>
                </c:pt>
                <c:pt idx="220">
                  <c:v>#N/A</c:v>
                </c:pt>
                <c:pt idx="221">
                  <c:v>#N/A</c:v>
                </c:pt>
                <c:pt idx="222">
                  <c:v>#N/A</c:v>
                </c:pt>
                <c:pt idx="223">
                  <c:v>#N/A</c:v>
                </c:pt>
                <c:pt idx="224">
                  <c:v>#N/A</c:v>
                </c:pt>
                <c:pt idx="225">
                  <c:v>33300</c:v>
                </c:pt>
                <c:pt idx="226">
                  <c:v>#N/A</c:v>
                </c:pt>
                <c:pt idx="227">
                  <c:v>#N/A</c:v>
                </c:pt>
                <c:pt idx="228">
                  <c:v>#N/A</c:v>
                </c:pt>
                <c:pt idx="229">
                  <c:v>#N/A</c:v>
                </c:pt>
                <c:pt idx="230">
                  <c:v>#N/A</c:v>
                </c:pt>
                <c:pt idx="231">
                  <c:v>#N/A</c:v>
                </c:pt>
                <c:pt idx="232">
                  <c:v>32300</c:v>
                </c:pt>
                <c:pt idx="233">
                  <c:v>#N/A</c:v>
                </c:pt>
                <c:pt idx="234">
                  <c:v>#N/A</c:v>
                </c:pt>
                <c:pt idx="235">
                  <c:v>#N/A</c:v>
                </c:pt>
                <c:pt idx="236">
                  <c:v>#N/A</c:v>
                </c:pt>
                <c:pt idx="237">
                  <c:v>#N/A</c:v>
                </c:pt>
                <c:pt idx="238">
                  <c:v>#N/A</c:v>
                </c:pt>
                <c:pt idx="239">
                  <c:v>33000</c:v>
                </c:pt>
                <c:pt idx="240">
                  <c:v>#N/A</c:v>
                </c:pt>
                <c:pt idx="241">
                  <c:v>#N/A</c:v>
                </c:pt>
                <c:pt idx="242">
                  <c:v>#N/A</c:v>
                </c:pt>
                <c:pt idx="243">
                  <c:v>#N/A</c:v>
                </c:pt>
                <c:pt idx="244">
                  <c:v>#N/A</c:v>
                </c:pt>
                <c:pt idx="245">
                  <c:v>#N/A</c:v>
                </c:pt>
                <c:pt idx="246">
                  <c:v>33600</c:v>
                </c:pt>
                <c:pt idx="247">
                  <c:v>#N/A</c:v>
                </c:pt>
                <c:pt idx="248">
                  <c:v>#N/A</c:v>
                </c:pt>
                <c:pt idx="249">
                  <c:v>#N/A</c:v>
                </c:pt>
                <c:pt idx="250">
                  <c:v>#N/A</c:v>
                </c:pt>
                <c:pt idx="251">
                  <c:v>#N/A</c:v>
                </c:pt>
                <c:pt idx="252">
                  <c:v>#N/A</c:v>
                </c:pt>
                <c:pt idx="253">
                  <c:v>32900</c:v>
                </c:pt>
                <c:pt idx="254">
                  <c:v>#N/A</c:v>
                </c:pt>
                <c:pt idx="255">
                  <c:v>#N/A</c:v>
                </c:pt>
                <c:pt idx="256">
                  <c:v>#N/A</c:v>
                </c:pt>
                <c:pt idx="257">
                  <c:v>#N/A</c:v>
                </c:pt>
                <c:pt idx="258">
                  <c:v>#N/A</c:v>
                </c:pt>
                <c:pt idx="259">
                  <c:v>#N/A</c:v>
                </c:pt>
                <c:pt idx="260">
                  <c:v>32400</c:v>
                </c:pt>
                <c:pt idx="261">
                  <c:v>#N/A</c:v>
                </c:pt>
                <c:pt idx="262">
                  <c:v>#N/A</c:v>
                </c:pt>
                <c:pt idx="263">
                  <c:v>#N/A</c:v>
                </c:pt>
                <c:pt idx="264">
                  <c:v>#N/A</c:v>
                </c:pt>
                <c:pt idx="265">
                  <c:v>#N/A</c:v>
                </c:pt>
                <c:pt idx="266">
                  <c:v>#N/A</c:v>
                </c:pt>
                <c:pt idx="267">
                  <c:v>30000</c:v>
                </c:pt>
                <c:pt idx="268">
                  <c:v>#N/A</c:v>
                </c:pt>
                <c:pt idx="269">
                  <c:v>#N/A</c:v>
                </c:pt>
                <c:pt idx="270">
                  <c:v>#N/A</c:v>
                </c:pt>
                <c:pt idx="271">
                  <c:v>#N/A</c:v>
                </c:pt>
                <c:pt idx="272">
                  <c:v>#N/A</c:v>
                </c:pt>
                <c:pt idx="273">
                  <c:v>#N/A</c:v>
                </c:pt>
                <c:pt idx="274">
                  <c:v>31200</c:v>
                </c:pt>
                <c:pt idx="275">
                  <c:v>#N/A</c:v>
                </c:pt>
                <c:pt idx="276">
                  <c:v>#N/A</c:v>
                </c:pt>
                <c:pt idx="277">
                  <c:v>#N/A</c:v>
                </c:pt>
                <c:pt idx="278">
                  <c:v>#N/A</c:v>
                </c:pt>
                <c:pt idx="279">
                  <c:v>#N/A</c:v>
                </c:pt>
                <c:pt idx="280">
                  <c:v>#N/A</c:v>
                </c:pt>
                <c:pt idx="281">
                  <c:v>30500</c:v>
                </c:pt>
                <c:pt idx="282">
                  <c:v>#N/A</c:v>
                </c:pt>
                <c:pt idx="283">
                  <c:v>#N/A</c:v>
                </c:pt>
                <c:pt idx="284">
                  <c:v>#N/A</c:v>
                </c:pt>
                <c:pt idx="285">
                  <c:v>#N/A</c:v>
                </c:pt>
                <c:pt idx="286">
                  <c:v>#N/A</c:v>
                </c:pt>
                <c:pt idx="287">
                  <c:v>#N/A</c:v>
                </c:pt>
                <c:pt idx="288">
                  <c:v>32300</c:v>
                </c:pt>
                <c:pt idx="289">
                  <c:v>#N/A</c:v>
                </c:pt>
                <c:pt idx="290">
                  <c:v>#N/A</c:v>
                </c:pt>
                <c:pt idx="291">
                  <c:v>#N/A</c:v>
                </c:pt>
                <c:pt idx="292">
                  <c:v>#N/A</c:v>
                </c:pt>
                <c:pt idx="293">
                  <c:v>#N/A</c:v>
                </c:pt>
                <c:pt idx="294">
                  <c:v>#N/A</c:v>
                </c:pt>
                <c:pt idx="295">
                  <c:v>34300</c:v>
                </c:pt>
                <c:pt idx="296">
                  <c:v>#N/A</c:v>
                </c:pt>
                <c:pt idx="297">
                  <c:v>#N/A</c:v>
                </c:pt>
                <c:pt idx="298">
                  <c:v>#N/A</c:v>
                </c:pt>
                <c:pt idx="299">
                  <c:v>#N/A</c:v>
                </c:pt>
                <c:pt idx="300">
                  <c:v>#N/A</c:v>
                </c:pt>
                <c:pt idx="301">
                  <c:v>#N/A</c:v>
                </c:pt>
                <c:pt idx="302">
                  <c:v>34300</c:v>
                </c:pt>
                <c:pt idx="303">
                  <c:v>#N/A</c:v>
                </c:pt>
                <c:pt idx="304">
                  <c:v>#N/A</c:v>
                </c:pt>
                <c:pt idx="305">
                  <c:v>#N/A</c:v>
                </c:pt>
                <c:pt idx="306">
                  <c:v>#N/A</c:v>
                </c:pt>
                <c:pt idx="307">
                  <c:v>#N/A</c:v>
                </c:pt>
                <c:pt idx="308">
                  <c:v>#N/A</c:v>
                </c:pt>
                <c:pt idx="309">
                  <c:v>35300</c:v>
                </c:pt>
                <c:pt idx="310">
                  <c:v>#N/A</c:v>
                </c:pt>
                <c:pt idx="311">
                  <c:v>#N/A</c:v>
                </c:pt>
                <c:pt idx="312">
                  <c:v>#N/A</c:v>
                </c:pt>
                <c:pt idx="313">
                  <c:v>#N/A</c:v>
                </c:pt>
                <c:pt idx="314">
                  <c:v>#N/A</c:v>
                </c:pt>
                <c:pt idx="315">
                  <c:v>#N/A</c:v>
                </c:pt>
                <c:pt idx="316">
                  <c:v>36100</c:v>
                </c:pt>
                <c:pt idx="317">
                  <c:v>#N/A</c:v>
                </c:pt>
                <c:pt idx="318">
                  <c:v>#N/A</c:v>
                </c:pt>
                <c:pt idx="319">
                  <c:v>#N/A</c:v>
                </c:pt>
                <c:pt idx="320">
                  <c:v>#N/A</c:v>
                </c:pt>
                <c:pt idx="321">
                  <c:v>#N/A</c:v>
                </c:pt>
                <c:pt idx="322">
                  <c:v>#N/A</c:v>
                </c:pt>
                <c:pt idx="323">
                  <c:v>35300</c:v>
                </c:pt>
                <c:pt idx="324">
                  <c:v>#N/A</c:v>
                </c:pt>
                <c:pt idx="325">
                  <c:v>#N/A</c:v>
                </c:pt>
                <c:pt idx="326">
                  <c:v>#N/A</c:v>
                </c:pt>
                <c:pt idx="327">
                  <c:v>#N/A</c:v>
                </c:pt>
                <c:pt idx="328">
                  <c:v>#N/A</c:v>
                </c:pt>
                <c:pt idx="329">
                  <c:v>#N/A</c:v>
                </c:pt>
                <c:pt idx="330">
                  <c:v>35700</c:v>
                </c:pt>
                <c:pt idx="331">
                  <c:v>#N/A</c:v>
                </c:pt>
                <c:pt idx="332">
                  <c:v>#N/A</c:v>
                </c:pt>
                <c:pt idx="333">
                  <c:v>#N/A</c:v>
                </c:pt>
                <c:pt idx="334">
                  <c:v>#N/A</c:v>
                </c:pt>
                <c:pt idx="335">
                  <c:v>#N/A</c:v>
                </c:pt>
                <c:pt idx="336">
                  <c:v>#N/A</c:v>
                </c:pt>
                <c:pt idx="337">
                  <c:v>33600</c:v>
                </c:pt>
                <c:pt idx="338">
                  <c:v>#N/A</c:v>
                </c:pt>
                <c:pt idx="339">
                  <c:v>#N/A</c:v>
                </c:pt>
                <c:pt idx="340">
                  <c:v>#N/A</c:v>
                </c:pt>
                <c:pt idx="341">
                  <c:v>#N/A</c:v>
                </c:pt>
                <c:pt idx="342">
                  <c:v>#N/A</c:v>
                </c:pt>
                <c:pt idx="343">
                  <c:v>#N/A</c:v>
                </c:pt>
                <c:pt idx="344">
                  <c:v>32800</c:v>
                </c:pt>
                <c:pt idx="345">
                  <c:v>#N/A</c:v>
                </c:pt>
                <c:pt idx="346">
                  <c:v>#N/A</c:v>
                </c:pt>
                <c:pt idx="347">
                  <c:v>#N/A</c:v>
                </c:pt>
                <c:pt idx="348">
                  <c:v>#N/A</c:v>
                </c:pt>
                <c:pt idx="349">
                  <c:v>#N/A</c:v>
                </c:pt>
                <c:pt idx="350">
                  <c:v>#N/A</c:v>
                </c:pt>
                <c:pt idx="351">
                  <c:v>32000</c:v>
                </c:pt>
                <c:pt idx="352">
                  <c:v>#N/A</c:v>
                </c:pt>
                <c:pt idx="353">
                  <c:v>#N/A</c:v>
                </c:pt>
                <c:pt idx="354">
                  <c:v>#N/A</c:v>
                </c:pt>
                <c:pt idx="355">
                  <c:v>#N/A</c:v>
                </c:pt>
                <c:pt idx="356">
                  <c:v>#N/A</c:v>
                </c:pt>
                <c:pt idx="357">
                  <c:v>#N/A</c:v>
                </c:pt>
                <c:pt idx="358">
                  <c:v>30500</c:v>
                </c:pt>
                <c:pt idx="359">
                  <c:v>#N/A</c:v>
                </c:pt>
                <c:pt idx="360">
                  <c:v>#N/A</c:v>
                </c:pt>
                <c:pt idx="361">
                  <c:v>#N/A</c:v>
                </c:pt>
                <c:pt idx="362">
                  <c:v>#N/A</c:v>
                </c:pt>
                <c:pt idx="363">
                  <c:v>#N/A</c:v>
                </c:pt>
                <c:pt idx="364">
                  <c:v>#N/A</c:v>
                </c:pt>
                <c:pt idx="365">
                  <c:v>29700</c:v>
                </c:pt>
              </c:numCache>
            </c:numRef>
          </c:val>
          <c:smooth val="0"/>
          <c:extLst>
            <c:ext xmlns:c16="http://schemas.microsoft.com/office/drawing/2014/chart" uri="{C3380CC4-5D6E-409C-BE32-E72D297353CC}">
              <c16:uniqueId val="{00000000-9233-4722-8364-F7F9A0136BA9}"/>
            </c:ext>
          </c:extLst>
        </c:ser>
        <c:ser>
          <c:idx val="2"/>
          <c:order val="1"/>
          <c:tx>
            <c:strRef>
              <c:f>有机硅开工!$S$2</c:f>
              <c:strCache>
                <c:ptCount val="1"/>
                <c:pt idx="0">
                  <c:v>2022</c:v>
                </c:pt>
              </c:strCache>
            </c:strRef>
          </c:tx>
          <c:spPr>
            <a:ln w="19050" cap="rnd">
              <a:solidFill>
                <a:srgbClr val="A6A6A6">
                  <a:alpha val="60000"/>
                </a:srgbClr>
              </a:solidFill>
              <a:round/>
            </a:ln>
            <a:effectLst/>
          </c:spPr>
          <c:marker>
            <c:symbol val="none"/>
          </c:marker>
          <c:cat>
            <c:strRef>
              <c:f>有机硅开工!$P$3:$P$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S$3:$S$368</c:f>
              <c:numCache>
                <c:formatCode>General</c:formatCode>
                <c:ptCount val="366"/>
                <c:pt idx="0">
                  <c:v>#N/A</c:v>
                </c:pt>
                <c:pt idx="1">
                  <c:v>#N/A</c:v>
                </c:pt>
                <c:pt idx="2">
                  <c:v>#N/A</c:v>
                </c:pt>
                <c:pt idx="3">
                  <c:v>#N/A</c:v>
                </c:pt>
                <c:pt idx="4">
                  <c:v>#N/A</c:v>
                </c:pt>
                <c:pt idx="5">
                  <c:v>#N/A</c:v>
                </c:pt>
                <c:pt idx="6">
                  <c:v>30900</c:v>
                </c:pt>
                <c:pt idx="7">
                  <c:v>#N/A</c:v>
                </c:pt>
                <c:pt idx="8">
                  <c:v>#N/A</c:v>
                </c:pt>
                <c:pt idx="9">
                  <c:v>#N/A</c:v>
                </c:pt>
                <c:pt idx="10">
                  <c:v>#N/A</c:v>
                </c:pt>
                <c:pt idx="11">
                  <c:v>#N/A</c:v>
                </c:pt>
                <c:pt idx="12">
                  <c:v>#N/A</c:v>
                </c:pt>
                <c:pt idx="13">
                  <c:v>31400</c:v>
                </c:pt>
                <c:pt idx="14">
                  <c:v>#N/A</c:v>
                </c:pt>
                <c:pt idx="15">
                  <c:v>#N/A</c:v>
                </c:pt>
                <c:pt idx="16">
                  <c:v>#N/A</c:v>
                </c:pt>
                <c:pt idx="17">
                  <c:v>#N/A</c:v>
                </c:pt>
                <c:pt idx="18">
                  <c:v>#N/A</c:v>
                </c:pt>
                <c:pt idx="19">
                  <c:v>#N/A</c:v>
                </c:pt>
                <c:pt idx="20">
                  <c:v>32300</c:v>
                </c:pt>
                <c:pt idx="21">
                  <c:v>#N/A</c:v>
                </c:pt>
                <c:pt idx="22">
                  <c:v>#N/A</c:v>
                </c:pt>
                <c:pt idx="23">
                  <c:v>#N/A</c:v>
                </c:pt>
                <c:pt idx="24">
                  <c:v>#N/A</c:v>
                </c:pt>
                <c:pt idx="25">
                  <c:v>#N/A</c:v>
                </c:pt>
                <c:pt idx="26">
                  <c:v>#N/A</c:v>
                </c:pt>
                <c:pt idx="27">
                  <c:v>31000</c:v>
                </c:pt>
                <c:pt idx="28">
                  <c:v>#N/A</c:v>
                </c:pt>
                <c:pt idx="29">
                  <c:v>#N/A</c:v>
                </c:pt>
                <c:pt idx="30">
                  <c:v>#N/A</c:v>
                </c:pt>
                <c:pt idx="31">
                  <c:v>#N/A</c:v>
                </c:pt>
                <c:pt idx="32">
                  <c:v>#N/A</c:v>
                </c:pt>
                <c:pt idx="33">
                  <c:v>#N/A</c:v>
                </c:pt>
                <c:pt idx="34">
                  <c:v>29800</c:v>
                </c:pt>
                <c:pt idx="35">
                  <c:v>#N/A</c:v>
                </c:pt>
                <c:pt idx="36">
                  <c:v>#N/A</c:v>
                </c:pt>
                <c:pt idx="37">
                  <c:v>#N/A</c:v>
                </c:pt>
                <c:pt idx="38">
                  <c:v>#N/A</c:v>
                </c:pt>
                <c:pt idx="39">
                  <c:v>#N/A</c:v>
                </c:pt>
                <c:pt idx="40">
                  <c:v>#N/A</c:v>
                </c:pt>
                <c:pt idx="41">
                  <c:v>32200</c:v>
                </c:pt>
                <c:pt idx="42">
                  <c:v>#N/A</c:v>
                </c:pt>
                <c:pt idx="43">
                  <c:v>#N/A</c:v>
                </c:pt>
                <c:pt idx="44">
                  <c:v>#N/A</c:v>
                </c:pt>
                <c:pt idx="45">
                  <c:v>#N/A</c:v>
                </c:pt>
                <c:pt idx="46">
                  <c:v>#N/A</c:v>
                </c:pt>
                <c:pt idx="47">
                  <c:v>#N/A</c:v>
                </c:pt>
                <c:pt idx="48">
                  <c:v>34500</c:v>
                </c:pt>
                <c:pt idx="49">
                  <c:v>#N/A</c:v>
                </c:pt>
                <c:pt idx="50">
                  <c:v>#N/A</c:v>
                </c:pt>
                <c:pt idx="51">
                  <c:v>#N/A</c:v>
                </c:pt>
                <c:pt idx="52">
                  <c:v>#N/A</c:v>
                </c:pt>
                <c:pt idx="53">
                  <c:v>#N/A</c:v>
                </c:pt>
                <c:pt idx="54">
                  <c:v>#N/A</c:v>
                </c:pt>
                <c:pt idx="55">
                  <c:v>34000</c:v>
                </c:pt>
                <c:pt idx="56">
                  <c:v>#N/A</c:v>
                </c:pt>
                <c:pt idx="57">
                  <c:v>#N/A</c:v>
                </c:pt>
                <c:pt idx="58">
                  <c:v>#N/A</c:v>
                </c:pt>
                <c:pt idx="60">
                  <c:v>#N/A</c:v>
                </c:pt>
                <c:pt idx="61">
                  <c:v>#N/A</c:v>
                </c:pt>
                <c:pt idx="62">
                  <c:v>#N/A</c:v>
                </c:pt>
                <c:pt idx="63">
                  <c:v>33900</c:v>
                </c:pt>
                <c:pt idx="64">
                  <c:v>#N/A</c:v>
                </c:pt>
                <c:pt idx="65">
                  <c:v>#N/A</c:v>
                </c:pt>
                <c:pt idx="66">
                  <c:v>#N/A</c:v>
                </c:pt>
                <c:pt idx="67">
                  <c:v>#N/A</c:v>
                </c:pt>
                <c:pt idx="68">
                  <c:v>#N/A</c:v>
                </c:pt>
                <c:pt idx="69">
                  <c:v>#N/A</c:v>
                </c:pt>
                <c:pt idx="70">
                  <c:v>34700</c:v>
                </c:pt>
                <c:pt idx="71">
                  <c:v>#N/A</c:v>
                </c:pt>
                <c:pt idx="72">
                  <c:v>#N/A</c:v>
                </c:pt>
                <c:pt idx="73">
                  <c:v>#N/A</c:v>
                </c:pt>
                <c:pt idx="74">
                  <c:v>#N/A</c:v>
                </c:pt>
                <c:pt idx="75">
                  <c:v>#N/A</c:v>
                </c:pt>
                <c:pt idx="76">
                  <c:v>#N/A</c:v>
                </c:pt>
                <c:pt idx="77">
                  <c:v>34600</c:v>
                </c:pt>
                <c:pt idx="78">
                  <c:v>#N/A</c:v>
                </c:pt>
                <c:pt idx="79">
                  <c:v>#N/A</c:v>
                </c:pt>
                <c:pt idx="80">
                  <c:v>#N/A</c:v>
                </c:pt>
                <c:pt idx="81">
                  <c:v>#N/A</c:v>
                </c:pt>
                <c:pt idx="82">
                  <c:v>#N/A</c:v>
                </c:pt>
                <c:pt idx="83">
                  <c:v>#N/A</c:v>
                </c:pt>
                <c:pt idx="84">
                  <c:v>35600</c:v>
                </c:pt>
                <c:pt idx="85">
                  <c:v>#N/A</c:v>
                </c:pt>
                <c:pt idx="86">
                  <c:v>#N/A</c:v>
                </c:pt>
                <c:pt idx="87">
                  <c:v>#N/A</c:v>
                </c:pt>
                <c:pt idx="88">
                  <c:v>#N/A</c:v>
                </c:pt>
                <c:pt idx="89">
                  <c:v>#N/A</c:v>
                </c:pt>
                <c:pt idx="90">
                  <c:v>#N/A</c:v>
                </c:pt>
                <c:pt idx="91">
                  <c:v>35800</c:v>
                </c:pt>
                <c:pt idx="92">
                  <c:v>#N/A</c:v>
                </c:pt>
                <c:pt idx="93">
                  <c:v>#N/A</c:v>
                </c:pt>
                <c:pt idx="94">
                  <c:v>#N/A</c:v>
                </c:pt>
                <c:pt idx="95">
                  <c:v>#N/A</c:v>
                </c:pt>
                <c:pt idx="96">
                  <c:v>#N/A</c:v>
                </c:pt>
                <c:pt idx="97">
                  <c:v>#N/A</c:v>
                </c:pt>
                <c:pt idx="98">
                  <c:v>36400</c:v>
                </c:pt>
                <c:pt idx="99">
                  <c:v>#N/A</c:v>
                </c:pt>
                <c:pt idx="100">
                  <c:v>#N/A</c:v>
                </c:pt>
                <c:pt idx="101">
                  <c:v>#N/A</c:v>
                </c:pt>
                <c:pt idx="102">
                  <c:v>#N/A</c:v>
                </c:pt>
                <c:pt idx="103">
                  <c:v>#N/A</c:v>
                </c:pt>
                <c:pt idx="104">
                  <c:v>#N/A</c:v>
                </c:pt>
                <c:pt idx="105">
                  <c:v>34000</c:v>
                </c:pt>
                <c:pt idx="106">
                  <c:v>#N/A</c:v>
                </c:pt>
                <c:pt idx="107">
                  <c:v>#N/A</c:v>
                </c:pt>
                <c:pt idx="108">
                  <c:v>#N/A</c:v>
                </c:pt>
                <c:pt idx="109">
                  <c:v>#N/A</c:v>
                </c:pt>
                <c:pt idx="110">
                  <c:v>#N/A</c:v>
                </c:pt>
                <c:pt idx="111">
                  <c:v>#N/A</c:v>
                </c:pt>
                <c:pt idx="112">
                  <c:v>33300</c:v>
                </c:pt>
                <c:pt idx="113">
                  <c:v>#N/A</c:v>
                </c:pt>
                <c:pt idx="114">
                  <c:v>#N/A</c:v>
                </c:pt>
                <c:pt idx="115">
                  <c:v>#N/A</c:v>
                </c:pt>
                <c:pt idx="116">
                  <c:v>#N/A</c:v>
                </c:pt>
                <c:pt idx="117">
                  <c:v>#N/A</c:v>
                </c:pt>
                <c:pt idx="118">
                  <c:v>#N/A</c:v>
                </c:pt>
                <c:pt idx="119">
                  <c:v>36800</c:v>
                </c:pt>
                <c:pt idx="120">
                  <c:v>#N/A</c:v>
                </c:pt>
                <c:pt idx="121">
                  <c:v>#N/A</c:v>
                </c:pt>
                <c:pt idx="122">
                  <c:v>#N/A</c:v>
                </c:pt>
                <c:pt idx="123">
                  <c:v>#N/A</c:v>
                </c:pt>
                <c:pt idx="124">
                  <c:v>#N/A</c:v>
                </c:pt>
                <c:pt idx="125">
                  <c:v>#N/A</c:v>
                </c:pt>
                <c:pt idx="126">
                  <c:v>39300</c:v>
                </c:pt>
                <c:pt idx="127">
                  <c:v>#N/A</c:v>
                </c:pt>
                <c:pt idx="128">
                  <c:v>#N/A</c:v>
                </c:pt>
                <c:pt idx="129">
                  <c:v>#N/A</c:v>
                </c:pt>
                <c:pt idx="130">
                  <c:v>#N/A</c:v>
                </c:pt>
                <c:pt idx="131">
                  <c:v>#N/A</c:v>
                </c:pt>
                <c:pt idx="132">
                  <c:v>#N/A</c:v>
                </c:pt>
                <c:pt idx="133">
                  <c:v>40500</c:v>
                </c:pt>
                <c:pt idx="134">
                  <c:v>#N/A</c:v>
                </c:pt>
                <c:pt idx="135">
                  <c:v>#N/A</c:v>
                </c:pt>
                <c:pt idx="136">
                  <c:v>#N/A</c:v>
                </c:pt>
                <c:pt idx="137">
                  <c:v>#N/A</c:v>
                </c:pt>
                <c:pt idx="138">
                  <c:v>#N/A</c:v>
                </c:pt>
                <c:pt idx="139">
                  <c:v>#N/A</c:v>
                </c:pt>
                <c:pt idx="140">
                  <c:v>40000</c:v>
                </c:pt>
                <c:pt idx="141">
                  <c:v>#N/A</c:v>
                </c:pt>
                <c:pt idx="142">
                  <c:v>#N/A</c:v>
                </c:pt>
                <c:pt idx="143">
                  <c:v>#N/A</c:v>
                </c:pt>
                <c:pt idx="144">
                  <c:v>#N/A</c:v>
                </c:pt>
                <c:pt idx="145">
                  <c:v>#N/A</c:v>
                </c:pt>
                <c:pt idx="146">
                  <c:v>#N/A</c:v>
                </c:pt>
                <c:pt idx="147">
                  <c:v>41900</c:v>
                </c:pt>
                <c:pt idx="148">
                  <c:v>#N/A</c:v>
                </c:pt>
                <c:pt idx="149">
                  <c:v>#N/A</c:v>
                </c:pt>
                <c:pt idx="150">
                  <c:v>#N/A</c:v>
                </c:pt>
                <c:pt idx="151">
                  <c:v>#N/A</c:v>
                </c:pt>
                <c:pt idx="152">
                  <c:v>#N/A</c:v>
                </c:pt>
                <c:pt idx="153">
                  <c:v>#N/A</c:v>
                </c:pt>
                <c:pt idx="154">
                  <c:v>41000</c:v>
                </c:pt>
                <c:pt idx="155">
                  <c:v>#N/A</c:v>
                </c:pt>
                <c:pt idx="156">
                  <c:v>#N/A</c:v>
                </c:pt>
                <c:pt idx="157">
                  <c:v>#N/A</c:v>
                </c:pt>
                <c:pt idx="158">
                  <c:v>#N/A</c:v>
                </c:pt>
                <c:pt idx="159">
                  <c:v>#N/A</c:v>
                </c:pt>
                <c:pt idx="160">
                  <c:v>#N/A</c:v>
                </c:pt>
                <c:pt idx="161">
                  <c:v>38400</c:v>
                </c:pt>
                <c:pt idx="162">
                  <c:v>#N/A</c:v>
                </c:pt>
                <c:pt idx="163">
                  <c:v>#N/A</c:v>
                </c:pt>
                <c:pt idx="164">
                  <c:v>#N/A</c:v>
                </c:pt>
                <c:pt idx="165">
                  <c:v>#N/A</c:v>
                </c:pt>
                <c:pt idx="166">
                  <c:v>#N/A</c:v>
                </c:pt>
                <c:pt idx="167">
                  <c:v>#N/A</c:v>
                </c:pt>
                <c:pt idx="168">
                  <c:v>37400</c:v>
                </c:pt>
                <c:pt idx="169">
                  <c:v>#N/A</c:v>
                </c:pt>
                <c:pt idx="170">
                  <c:v>#N/A</c:v>
                </c:pt>
                <c:pt idx="171">
                  <c:v>#N/A</c:v>
                </c:pt>
                <c:pt idx="172">
                  <c:v>#N/A</c:v>
                </c:pt>
                <c:pt idx="173">
                  <c:v>#N/A</c:v>
                </c:pt>
                <c:pt idx="174">
                  <c:v>#N/A</c:v>
                </c:pt>
                <c:pt idx="175">
                  <c:v>37000</c:v>
                </c:pt>
                <c:pt idx="176">
                  <c:v>#N/A</c:v>
                </c:pt>
                <c:pt idx="177">
                  <c:v>#N/A</c:v>
                </c:pt>
                <c:pt idx="178">
                  <c:v>#N/A</c:v>
                </c:pt>
                <c:pt idx="179">
                  <c:v>#N/A</c:v>
                </c:pt>
                <c:pt idx="180">
                  <c:v>#N/A</c:v>
                </c:pt>
                <c:pt idx="181">
                  <c:v>#N/A</c:v>
                </c:pt>
                <c:pt idx="182">
                  <c:v>37900</c:v>
                </c:pt>
                <c:pt idx="183">
                  <c:v>#N/A</c:v>
                </c:pt>
                <c:pt idx="184">
                  <c:v>#N/A</c:v>
                </c:pt>
                <c:pt idx="185">
                  <c:v>#N/A</c:v>
                </c:pt>
                <c:pt idx="186">
                  <c:v>#N/A</c:v>
                </c:pt>
                <c:pt idx="187">
                  <c:v>#N/A</c:v>
                </c:pt>
                <c:pt idx="188">
                  <c:v>#N/A</c:v>
                </c:pt>
                <c:pt idx="189">
                  <c:v>37200</c:v>
                </c:pt>
                <c:pt idx="190">
                  <c:v>#N/A</c:v>
                </c:pt>
                <c:pt idx="191">
                  <c:v>#N/A</c:v>
                </c:pt>
                <c:pt idx="192">
                  <c:v>#N/A</c:v>
                </c:pt>
                <c:pt idx="193">
                  <c:v>#N/A</c:v>
                </c:pt>
                <c:pt idx="194">
                  <c:v>#N/A</c:v>
                </c:pt>
                <c:pt idx="195">
                  <c:v>#N/A</c:v>
                </c:pt>
                <c:pt idx="196">
                  <c:v>35400</c:v>
                </c:pt>
                <c:pt idx="197">
                  <c:v>#N/A</c:v>
                </c:pt>
                <c:pt idx="198">
                  <c:v>#N/A</c:v>
                </c:pt>
                <c:pt idx="199">
                  <c:v>#N/A</c:v>
                </c:pt>
                <c:pt idx="200">
                  <c:v>#N/A</c:v>
                </c:pt>
                <c:pt idx="201">
                  <c:v>#N/A</c:v>
                </c:pt>
                <c:pt idx="202">
                  <c:v>#N/A</c:v>
                </c:pt>
                <c:pt idx="203">
                  <c:v>35800</c:v>
                </c:pt>
                <c:pt idx="204">
                  <c:v>#N/A</c:v>
                </c:pt>
                <c:pt idx="205">
                  <c:v>#N/A</c:v>
                </c:pt>
                <c:pt idx="206">
                  <c:v>#N/A</c:v>
                </c:pt>
                <c:pt idx="207">
                  <c:v>#N/A</c:v>
                </c:pt>
                <c:pt idx="208">
                  <c:v>#N/A</c:v>
                </c:pt>
                <c:pt idx="209">
                  <c:v>#N/A</c:v>
                </c:pt>
                <c:pt idx="210">
                  <c:v>37600</c:v>
                </c:pt>
                <c:pt idx="211">
                  <c:v>#N/A</c:v>
                </c:pt>
                <c:pt idx="212">
                  <c:v>#N/A</c:v>
                </c:pt>
                <c:pt idx="213">
                  <c:v>#N/A</c:v>
                </c:pt>
                <c:pt idx="214">
                  <c:v>#N/A</c:v>
                </c:pt>
                <c:pt idx="215">
                  <c:v>#N/A</c:v>
                </c:pt>
                <c:pt idx="216">
                  <c:v>#N/A</c:v>
                </c:pt>
                <c:pt idx="217">
                  <c:v>37800</c:v>
                </c:pt>
                <c:pt idx="218">
                  <c:v>#N/A</c:v>
                </c:pt>
                <c:pt idx="219">
                  <c:v>#N/A</c:v>
                </c:pt>
                <c:pt idx="220">
                  <c:v>#N/A</c:v>
                </c:pt>
                <c:pt idx="221">
                  <c:v>#N/A</c:v>
                </c:pt>
                <c:pt idx="222">
                  <c:v>#N/A</c:v>
                </c:pt>
                <c:pt idx="223">
                  <c:v>#N/A</c:v>
                </c:pt>
                <c:pt idx="224">
                  <c:v>37100</c:v>
                </c:pt>
                <c:pt idx="225">
                  <c:v>#N/A</c:v>
                </c:pt>
                <c:pt idx="226">
                  <c:v>#N/A</c:v>
                </c:pt>
                <c:pt idx="227">
                  <c:v>#N/A</c:v>
                </c:pt>
                <c:pt idx="228">
                  <c:v>#N/A</c:v>
                </c:pt>
                <c:pt idx="229">
                  <c:v>#N/A</c:v>
                </c:pt>
                <c:pt idx="230">
                  <c:v>#N/A</c:v>
                </c:pt>
                <c:pt idx="231">
                  <c:v>34400</c:v>
                </c:pt>
                <c:pt idx="232">
                  <c:v>#N/A</c:v>
                </c:pt>
                <c:pt idx="233">
                  <c:v>#N/A</c:v>
                </c:pt>
                <c:pt idx="234">
                  <c:v>#N/A</c:v>
                </c:pt>
                <c:pt idx="235">
                  <c:v>#N/A</c:v>
                </c:pt>
                <c:pt idx="236">
                  <c:v>#N/A</c:v>
                </c:pt>
                <c:pt idx="237">
                  <c:v>#N/A</c:v>
                </c:pt>
                <c:pt idx="238">
                  <c:v>35500</c:v>
                </c:pt>
                <c:pt idx="239">
                  <c:v>#N/A</c:v>
                </c:pt>
                <c:pt idx="240">
                  <c:v>#N/A</c:v>
                </c:pt>
                <c:pt idx="241">
                  <c:v>#N/A</c:v>
                </c:pt>
                <c:pt idx="242">
                  <c:v>#N/A</c:v>
                </c:pt>
                <c:pt idx="243">
                  <c:v>#N/A</c:v>
                </c:pt>
                <c:pt idx="244">
                  <c:v>#N/A</c:v>
                </c:pt>
                <c:pt idx="245">
                  <c:v>34800</c:v>
                </c:pt>
                <c:pt idx="246">
                  <c:v>#N/A</c:v>
                </c:pt>
                <c:pt idx="247">
                  <c:v>#N/A</c:v>
                </c:pt>
                <c:pt idx="248">
                  <c:v>#N/A</c:v>
                </c:pt>
                <c:pt idx="249">
                  <c:v>#N/A</c:v>
                </c:pt>
                <c:pt idx="250">
                  <c:v>#N/A</c:v>
                </c:pt>
                <c:pt idx="251">
                  <c:v>#N/A</c:v>
                </c:pt>
                <c:pt idx="252">
                  <c:v>35700</c:v>
                </c:pt>
                <c:pt idx="253">
                  <c:v>#N/A</c:v>
                </c:pt>
                <c:pt idx="254">
                  <c:v>#N/A</c:v>
                </c:pt>
                <c:pt idx="255">
                  <c:v>#N/A</c:v>
                </c:pt>
                <c:pt idx="256">
                  <c:v>#N/A</c:v>
                </c:pt>
                <c:pt idx="257">
                  <c:v>#N/A</c:v>
                </c:pt>
                <c:pt idx="258">
                  <c:v>#N/A</c:v>
                </c:pt>
                <c:pt idx="259">
                  <c:v>35000</c:v>
                </c:pt>
                <c:pt idx="260">
                  <c:v>#N/A</c:v>
                </c:pt>
                <c:pt idx="261">
                  <c:v>#N/A</c:v>
                </c:pt>
                <c:pt idx="262">
                  <c:v>#N/A</c:v>
                </c:pt>
                <c:pt idx="263">
                  <c:v>#N/A</c:v>
                </c:pt>
                <c:pt idx="264">
                  <c:v>#N/A</c:v>
                </c:pt>
                <c:pt idx="265">
                  <c:v>#N/A</c:v>
                </c:pt>
                <c:pt idx="266">
                  <c:v>35500</c:v>
                </c:pt>
                <c:pt idx="267">
                  <c:v>#N/A</c:v>
                </c:pt>
                <c:pt idx="268">
                  <c:v>#N/A</c:v>
                </c:pt>
                <c:pt idx="269">
                  <c:v>#N/A</c:v>
                </c:pt>
                <c:pt idx="270">
                  <c:v>#N/A</c:v>
                </c:pt>
                <c:pt idx="271">
                  <c:v>#N/A</c:v>
                </c:pt>
                <c:pt idx="272">
                  <c:v>#N/A</c:v>
                </c:pt>
                <c:pt idx="273">
                  <c:v>36300</c:v>
                </c:pt>
                <c:pt idx="274">
                  <c:v>#N/A</c:v>
                </c:pt>
                <c:pt idx="275">
                  <c:v>#N/A</c:v>
                </c:pt>
                <c:pt idx="276">
                  <c:v>#N/A</c:v>
                </c:pt>
                <c:pt idx="277">
                  <c:v>#N/A</c:v>
                </c:pt>
                <c:pt idx="278">
                  <c:v>#N/A</c:v>
                </c:pt>
                <c:pt idx="279">
                  <c:v>#N/A</c:v>
                </c:pt>
                <c:pt idx="280">
                  <c:v>35300</c:v>
                </c:pt>
                <c:pt idx="281">
                  <c:v>#N/A</c:v>
                </c:pt>
                <c:pt idx="282">
                  <c:v>#N/A</c:v>
                </c:pt>
                <c:pt idx="283">
                  <c:v>#N/A</c:v>
                </c:pt>
                <c:pt idx="284">
                  <c:v>#N/A</c:v>
                </c:pt>
                <c:pt idx="285">
                  <c:v>#N/A</c:v>
                </c:pt>
                <c:pt idx="286">
                  <c:v>#N/A</c:v>
                </c:pt>
                <c:pt idx="287">
                  <c:v>33400</c:v>
                </c:pt>
                <c:pt idx="288">
                  <c:v>#N/A</c:v>
                </c:pt>
                <c:pt idx="289">
                  <c:v>#N/A</c:v>
                </c:pt>
                <c:pt idx="290">
                  <c:v>#N/A</c:v>
                </c:pt>
                <c:pt idx="291">
                  <c:v>#N/A</c:v>
                </c:pt>
                <c:pt idx="292">
                  <c:v>#N/A</c:v>
                </c:pt>
                <c:pt idx="293">
                  <c:v>#N/A</c:v>
                </c:pt>
                <c:pt idx="294">
                  <c:v>32600</c:v>
                </c:pt>
                <c:pt idx="295">
                  <c:v>#N/A</c:v>
                </c:pt>
                <c:pt idx="296">
                  <c:v>#N/A</c:v>
                </c:pt>
                <c:pt idx="297">
                  <c:v>#N/A</c:v>
                </c:pt>
                <c:pt idx="298">
                  <c:v>#N/A</c:v>
                </c:pt>
                <c:pt idx="299">
                  <c:v>#N/A</c:v>
                </c:pt>
                <c:pt idx="300">
                  <c:v>#N/A</c:v>
                </c:pt>
                <c:pt idx="301">
                  <c:v>31200</c:v>
                </c:pt>
                <c:pt idx="302">
                  <c:v>#N/A</c:v>
                </c:pt>
                <c:pt idx="303">
                  <c:v>#N/A</c:v>
                </c:pt>
                <c:pt idx="304">
                  <c:v>#N/A</c:v>
                </c:pt>
                <c:pt idx="305">
                  <c:v>#N/A</c:v>
                </c:pt>
                <c:pt idx="306">
                  <c:v>#N/A</c:v>
                </c:pt>
                <c:pt idx="307">
                  <c:v>#N/A</c:v>
                </c:pt>
                <c:pt idx="308">
                  <c:v>24400</c:v>
                </c:pt>
                <c:pt idx="309">
                  <c:v>#N/A</c:v>
                </c:pt>
                <c:pt idx="310">
                  <c:v>#N/A</c:v>
                </c:pt>
                <c:pt idx="311">
                  <c:v>#N/A</c:v>
                </c:pt>
                <c:pt idx="312">
                  <c:v>#N/A</c:v>
                </c:pt>
                <c:pt idx="313">
                  <c:v>#N/A</c:v>
                </c:pt>
                <c:pt idx="314">
                  <c:v>#N/A</c:v>
                </c:pt>
                <c:pt idx="315">
                  <c:v>28700</c:v>
                </c:pt>
                <c:pt idx="316">
                  <c:v>#N/A</c:v>
                </c:pt>
                <c:pt idx="317">
                  <c:v>#N/A</c:v>
                </c:pt>
                <c:pt idx="318">
                  <c:v>#N/A</c:v>
                </c:pt>
                <c:pt idx="319">
                  <c:v>#N/A</c:v>
                </c:pt>
                <c:pt idx="320">
                  <c:v>#N/A</c:v>
                </c:pt>
                <c:pt idx="321">
                  <c:v>#N/A</c:v>
                </c:pt>
                <c:pt idx="322">
                  <c:v>30800</c:v>
                </c:pt>
                <c:pt idx="323">
                  <c:v>#N/A</c:v>
                </c:pt>
                <c:pt idx="324">
                  <c:v>#N/A</c:v>
                </c:pt>
                <c:pt idx="325">
                  <c:v>#N/A</c:v>
                </c:pt>
                <c:pt idx="326">
                  <c:v>#N/A</c:v>
                </c:pt>
                <c:pt idx="327">
                  <c:v>#N/A</c:v>
                </c:pt>
                <c:pt idx="328">
                  <c:v>#N/A</c:v>
                </c:pt>
                <c:pt idx="329">
                  <c:v>29200</c:v>
                </c:pt>
                <c:pt idx="330">
                  <c:v>#N/A</c:v>
                </c:pt>
                <c:pt idx="331">
                  <c:v>#N/A</c:v>
                </c:pt>
                <c:pt idx="332">
                  <c:v>#N/A</c:v>
                </c:pt>
                <c:pt idx="333">
                  <c:v>#N/A</c:v>
                </c:pt>
                <c:pt idx="334">
                  <c:v>#N/A</c:v>
                </c:pt>
                <c:pt idx="335">
                  <c:v>#N/A</c:v>
                </c:pt>
                <c:pt idx="336">
                  <c:v>29900</c:v>
                </c:pt>
                <c:pt idx="337">
                  <c:v>#N/A</c:v>
                </c:pt>
                <c:pt idx="338">
                  <c:v>#N/A</c:v>
                </c:pt>
                <c:pt idx="339">
                  <c:v>#N/A</c:v>
                </c:pt>
                <c:pt idx="340">
                  <c:v>#N/A</c:v>
                </c:pt>
                <c:pt idx="341">
                  <c:v>#N/A</c:v>
                </c:pt>
                <c:pt idx="342">
                  <c:v>#N/A</c:v>
                </c:pt>
                <c:pt idx="343">
                  <c:v>29300</c:v>
                </c:pt>
                <c:pt idx="344">
                  <c:v>#N/A</c:v>
                </c:pt>
                <c:pt idx="345">
                  <c:v>#N/A</c:v>
                </c:pt>
                <c:pt idx="346">
                  <c:v>#N/A</c:v>
                </c:pt>
                <c:pt idx="347">
                  <c:v>#N/A</c:v>
                </c:pt>
                <c:pt idx="348">
                  <c:v>#N/A</c:v>
                </c:pt>
                <c:pt idx="349">
                  <c:v>#N/A</c:v>
                </c:pt>
                <c:pt idx="350">
                  <c:v>30100</c:v>
                </c:pt>
                <c:pt idx="351">
                  <c:v>#N/A</c:v>
                </c:pt>
                <c:pt idx="352">
                  <c:v>#N/A</c:v>
                </c:pt>
                <c:pt idx="353">
                  <c:v>#N/A</c:v>
                </c:pt>
                <c:pt idx="354">
                  <c:v>#N/A</c:v>
                </c:pt>
                <c:pt idx="355">
                  <c:v>#N/A</c:v>
                </c:pt>
                <c:pt idx="356">
                  <c:v>#N/A</c:v>
                </c:pt>
                <c:pt idx="357">
                  <c:v>33400</c:v>
                </c:pt>
                <c:pt idx="358">
                  <c:v>#N/A</c:v>
                </c:pt>
                <c:pt idx="359">
                  <c:v>#N/A</c:v>
                </c:pt>
                <c:pt idx="360">
                  <c:v>#N/A</c:v>
                </c:pt>
                <c:pt idx="361">
                  <c:v>#N/A</c:v>
                </c:pt>
                <c:pt idx="362">
                  <c:v>#N/A</c:v>
                </c:pt>
                <c:pt idx="363">
                  <c:v>#N/A</c:v>
                </c:pt>
                <c:pt idx="364">
                  <c:v>33200</c:v>
                </c:pt>
                <c:pt idx="365">
                  <c:v>#N/A</c:v>
                </c:pt>
              </c:numCache>
            </c:numRef>
          </c:val>
          <c:smooth val="0"/>
          <c:extLst>
            <c:ext xmlns:c16="http://schemas.microsoft.com/office/drawing/2014/chart" uri="{C3380CC4-5D6E-409C-BE32-E72D297353CC}">
              <c16:uniqueId val="{00000001-9233-4722-8364-F7F9A0136BA9}"/>
            </c:ext>
          </c:extLst>
        </c:ser>
        <c:ser>
          <c:idx val="3"/>
          <c:order val="2"/>
          <c:tx>
            <c:strRef>
              <c:f>有机硅开工!$T$2</c:f>
              <c:strCache>
                <c:ptCount val="1"/>
                <c:pt idx="0">
                  <c:v>2023</c:v>
                </c:pt>
              </c:strCache>
            </c:strRef>
          </c:tx>
          <c:spPr>
            <a:ln w="19050" cap="rnd">
              <a:solidFill>
                <a:srgbClr val="55A5AB">
                  <a:alpha val="60000"/>
                </a:srgbClr>
              </a:solidFill>
              <a:round/>
            </a:ln>
            <a:effectLst/>
          </c:spPr>
          <c:marker>
            <c:symbol val="none"/>
          </c:marker>
          <c:cat>
            <c:strRef>
              <c:f>有机硅开工!$P$3:$P$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T$3:$T$368</c:f>
              <c:numCache>
                <c:formatCode>General</c:formatCode>
                <c:ptCount val="366"/>
                <c:pt idx="0">
                  <c:v>#N/A</c:v>
                </c:pt>
                <c:pt idx="1">
                  <c:v>#N/A</c:v>
                </c:pt>
                <c:pt idx="2">
                  <c:v>#N/A</c:v>
                </c:pt>
                <c:pt idx="3">
                  <c:v>#N/A</c:v>
                </c:pt>
                <c:pt idx="4">
                  <c:v>#N/A</c:v>
                </c:pt>
                <c:pt idx="5">
                  <c:v>32400</c:v>
                </c:pt>
                <c:pt idx="6">
                  <c:v>#N/A</c:v>
                </c:pt>
                <c:pt idx="7">
                  <c:v>#N/A</c:v>
                </c:pt>
                <c:pt idx="8">
                  <c:v>#N/A</c:v>
                </c:pt>
                <c:pt idx="9">
                  <c:v>#N/A</c:v>
                </c:pt>
                <c:pt idx="10">
                  <c:v>#N/A</c:v>
                </c:pt>
                <c:pt idx="11">
                  <c:v>#N/A</c:v>
                </c:pt>
                <c:pt idx="12">
                  <c:v>31600</c:v>
                </c:pt>
                <c:pt idx="13">
                  <c:v>#N/A</c:v>
                </c:pt>
                <c:pt idx="14">
                  <c:v>#N/A</c:v>
                </c:pt>
                <c:pt idx="15">
                  <c:v>#N/A</c:v>
                </c:pt>
                <c:pt idx="16">
                  <c:v>#N/A</c:v>
                </c:pt>
                <c:pt idx="17">
                  <c:v>#N/A</c:v>
                </c:pt>
                <c:pt idx="18">
                  <c:v>#N/A</c:v>
                </c:pt>
                <c:pt idx="19">
                  <c:v>31300</c:v>
                </c:pt>
                <c:pt idx="20">
                  <c:v>#N/A</c:v>
                </c:pt>
                <c:pt idx="21">
                  <c:v>#N/A</c:v>
                </c:pt>
                <c:pt idx="22">
                  <c:v>#N/A</c:v>
                </c:pt>
                <c:pt idx="23">
                  <c:v>#N/A</c:v>
                </c:pt>
                <c:pt idx="24">
                  <c:v>#N/A</c:v>
                </c:pt>
                <c:pt idx="25">
                  <c:v>#N/A</c:v>
                </c:pt>
                <c:pt idx="26">
                  <c:v>32100</c:v>
                </c:pt>
                <c:pt idx="27">
                  <c:v>#N/A</c:v>
                </c:pt>
                <c:pt idx="28">
                  <c:v>#N/A</c:v>
                </c:pt>
                <c:pt idx="29">
                  <c:v>#N/A</c:v>
                </c:pt>
                <c:pt idx="30">
                  <c:v>#N/A</c:v>
                </c:pt>
                <c:pt idx="31">
                  <c:v>#N/A</c:v>
                </c:pt>
                <c:pt idx="32">
                  <c:v>#N/A</c:v>
                </c:pt>
                <c:pt idx="33">
                  <c:v>33400</c:v>
                </c:pt>
                <c:pt idx="34">
                  <c:v>#N/A</c:v>
                </c:pt>
                <c:pt idx="35">
                  <c:v>#N/A</c:v>
                </c:pt>
                <c:pt idx="36">
                  <c:v>#N/A</c:v>
                </c:pt>
                <c:pt idx="37">
                  <c:v>#N/A</c:v>
                </c:pt>
                <c:pt idx="38">
                  <c:v>#N/A</c:v>
                </c:pt>
                <c:pt idx="39">
                  <c:v>#N/A</c:v>
                </c:pt>
                <c:pt idx="40">
                  <c:v>34900</c:v>
                </c:pt>
                <c:pt idx="41">
                  <c:v>#N/A</c:v>
                </c:pt>
                <c:pt idx="42">
                  <c:v>#N/A</c:v>
                </c:pt>
                <c:pt idx="43">
                  <c:v>#N/A</c:v>
                </c:pt>
                <c:pt idx="44">
                  <c:v>#N/A</c:v>
                </c:pt>
                <c:pt idx="45">
                  <c:v>#N/A</c:v>
                </c:pt>
                <c:pt idx="46">
                  <c:v>#N/A</c:v>
                </c:pt>
                <c:pt idx="47">
                  <c:v>36000</c:v>
                </c:pt>
                <c:pt idx="48">
                  <c:v>#N/A</c:v>
                </c:pt>
                <c:pt idx="49">
                  <c:v>#N/A</c:v>
                </c:pt>
                <c:pt idx="50">
                  <c:v>#N/A</c:v>
                </c:pt>
                <c:pt idx="51">
                  <c:v>#N/A</c:v>
                </c:pt>
                <c:pt idx="52">
                  <c:v>#N/A</c:v>
                </c:pt>
                <c:pt idx="53">
                  <c:v>#N/A</c:v>
                </c:pt>
                <c:pt idx="54">
                  <c:v>36800</c:v>
                </c:pt>
                <c:pt idx="55">
                  <c:v>#N/A</c:v>
                </c:pt>
                <c:pt idx="56">
                  <c:v>#N/A</c:v>
                </c:pt>
                <c:pt idx="57">
                  <c:v>#N/A</c:v>
                </c:pt>
                <c:pt idx="58">
                  <c:v>#N/A</c:v>
                </c:pt>
                <c:pt idx="60">
                  <c:v>#N/A</c:v>
                </c:pt>
                <c:pt idx="61">
                  <c:v>#N/A</c:v>
                </c:pt>
                <c:pt idx="62">
                  <c:v>38300</c:v>
                </c:pt>
                <c:pt idx="63">
                  <c:v>#N/A</c:v>
                </c:pt>
                <c:pt idx="64">
                  <c:v>#N/A</c:v>
                </c:pt>
                <c:pt idx="65">
                  <c:v>#N/A</c:v>
                </c:pt>
                <c:pt idx="66">
                  <c:v>#N/A</c:v>
                </c:pt>
                <c:pt idx="67">
                  <c:v>#N/A</c:v>
                </c:pt>
                <c:pt idx="68">
                  <c:v>#N/A</c:v>
                </c:pt>
                <c:pt idx="69">
                  <c:v>38200</c:v>
                </c:pt>
                <c:pt idx="70">
                  <c:v>#N/A</c:v>
                </c:pt>
                <c:pt idx="71">
                  <c:v>#N/A</c:v>
                </c:pt>
                <c:pt idx="72">
                  <c:v>#N/A</c:v>
                </c:pt>
                <c:pt idx="73">
                  <c:v>#N/A</c:v>
                </c:pt>
                <c:pt idx="74">
                  <c:v>#N/A</c:v>
                </c:pt>
                <c:pt idx="75">
                  <c:v>#N/A</c:v>
                </c:pt>
                <c:pt idx="76">
                  <c:v>37500</c:v>
                </c:pt>
                <c:pt idx="77">
                  <c:v>#N/A</c:v>
                </c:pt>
                <c:pt idx="78">
                  <c:v>#N/A</c:v>
                </c:pt>
                <c:pt idx="79">
                  <c:v>#N/A</c:v>
                </c:pt>
                <c:pt idx="80">
                  <c:v>#N/A</c:v>
                </c:pt>
                <c:pt idx="81">
                  <c:v>#N/A</c:v>
                </c:pt>
                <c:pt idx="82">
                  <c:v>#N/A</c:v>
                </c:pt>
                <c:pt idx="83">
                  <c:v>36500</c:v>
                </c:pt>
                <c:pt idx="84">
                  <c:v>#N/A</c:v>
                </c:pt>
                <c:pt idx="85">
                  <c:v>#N/A</c:v>
                </c:pt>
                <c:pt idx="86">
                  <c:v>#N/A</c:v>
                </c:pt>
                <c:pt idx="87">
                  <c:v>#N/A</c:v>
                </c:pt>
                <c:pt idx="88">
                  <c:v>#N/A</c:v>
                </c:pt>
                <c:pt idx="89">
                  <c:v>#N/A</c:v>
                </c:pt>
                <c:pt idx="90">
                  <c:v>33200</c:v>
                </c:pt>
                <c:pt idx="91">
                  <c:v>#N/A</c:v>
                </c:pt>
                <c:pt idx="92">
                  <c:v>#N/A</c:v>
                </c:pt>
                <c:pt idx="93">
                  <c:v>#N/A</c:v>
                </c:pt>
                <c:pt idx="94">
                  <c:v>#N/A</c:v>
                </c:pt>
                <c:pt idx="95">
                  <c:v>#N/A</c:v>
                </c:pt>
                <c:pt idx="96">
                  <c:v>#N/A</c:v>
                </c:pt>
                <c:pt idx="97">
                  <c:v>30800</c:v>
                </c:pt>
                <c:pt idx="98">
                  <c:v>#N/A</c:v>
                </c:pt>
                <c:pt idx="99">
                  <c:v>#N/A</c:v>
                </c:pt>
                <c:pt idx="100">
                  <c:v>#N/A</c:v>
                </c:pt>
                <c:pt idx="101">
                  <c:v>#N/A</c:v>
                </c:pt>
                <c:pt idx="102">
                  <c:v>#N/A</c:v>
                </c:pt>
                <c:pt idx="103">
                  <c:v>#N/A</c:v>
                </c:pt>
                <c:pt idx="104">
                  <c:v>30200</c:v>
                </c:pt>
                <c:pt idx="105">
                  <c:v>#N/A</c:v>
                </c:pt>
                <c:pt idx="106">
                  <c:v>#N/A</c:v>
                </c:pt>
                <c:pt idx="107">
                  <c:v>#N/A</c:v>
                </c:pt>
                <c:pt idx="108">
                  <c:v>#N/A</c:v>
                </c:pt>
                <c:pt idx="109">
                  <c:v>#N/A</c:v>
                </c:pt>
                <c:pt idx="110">
                  <c:v>#N/A</c:v>
                </c:pt>
                <c:pt idx="111">
                  <c:v>31000</c:v>
                </c:pt>
                <c:pt idx="112">
                  <c:v>#N/A</c:v>
                </c:pt>
                <c:pt idx="113">
                  <c:v>#N/A</c:v>
                </c:pt>
                <c:pt idx="114">
                  <c:v>#N/A</c:v>
                </c:pt>
                <c:pt idx="115">
                  <c:v>#N/A</c:v>
                </c:pt>
                <c:pt idx="116">
                  <c:v>#N/A</c:v>
                </c:pt>
                <c:pt idx="117">
                  <c:v>#N/A</c:v>
                </c:pt>
                <c:pt idx="118">
                  <c:v>30700</c:v>
                </c:pt>
                <c:pt idx="119">
                  <c:v>#N/A</c:v>
                </c:pt>
                <c:pt idx="120">
                  <c:v>#N/A</c:v>
                </c:pt>
                <c:pt idx="121">
                  <c:v>#N/A</c:v>
                </c:pt>
                <c:pt idx="122">
                  <c:v>#N/A</c:v>
                </c:pt>
                <c:pt idx="123">
                  <c:v>#N/A</c:v>
                </c:pt>
                <c:pt idx="124">
                  <c:v>#N/A</c:v>
                </c:pt>
                <c:pt idx="125">
                  <c:v>31400</c:v>
                </c:pt>
                <c:pt idx="126">
                  <c:v>#N/A</c:v>
                </c:pt>
                <c:pt idx="127">
                  <c:v>#N/A</c:v>
                </c:pt>
                <c:pt idx="128">
                  <c:v>#N/A</c:v>
                </c:pt>
                <c:pt idx="129">
                  <c:v>#N/A</c:v>
                </c:pt>
                <c:pt idx="130">
                  <c:v>#N/A</c:v>
                </c:pt>
                <c:pt idx="131">
                  <c:v>#N/A</c:v>
                </c:pt>
                <c:pt idx="132">
                  <c:v>31600</c:v>
                </c:pt>
                <c:pt idx="133">
                  <c:v>#N/A</c:v>
                </c:pt>
                <c:pt idx="134">
                  <c:v>#N/A</c:v>
                </c:pt>
                <c:pt idx="135">
                  <c:v>#N/A</c:v>
                </c:pt>
                <c:pt idx="136">
                  <c:v>#N/A</c:v>
                </c:pt>
                <c:pt idx="137">
                  <c:v>#N/A</c:v>
                </c:pt>
                <c:pt idx="138">
                  <c:v>#N/A</c:v>
                </c:pt>
                <c:pt idx="139">
                  <c:v>29700</c:v>
                </c:pt>
                <c:pt idx="140">
                  <c:v>#N/A</c:v>
                </c:pt>
                <c:pt idx="141">
                  <c:v>#N/A</c:v>
                </c:pt>
                <c:pt idx="142">
                  <c:v>#N/A</c:v>
                </c:pt>
                <c:pt idx="143">
                  <c:v>#N/A</c:v>
                </c:pt>
                <c:pt idx="144">
                  <c:v>#N/A</c:v>
                </c:pt>
                <c:pt idx="145">
                  <c:v>#N/A</c:v>
                </c:pt>
                <c:pt idx="146">
                  <c:v>28300</c:v>
                </c:pt>
                <c:pt idx="147">
                  <c:v>#N/A</c:v>
                </c:pt>
                <c:pt idx="148">
                  <c:v>#N/A</c:v>
                </c:pt>
                <c:pt idx="149">
                  <c:v>#N/A</c:v>
                </c:pt>
                <c:pt idx="150">
                  <c:v>#N/A</c:v>
                </c:pt>
                <c:pt idx="151">
                  <c:v>#N/A</c:v>
                </c:pt>
                <c:pt idx="152">
                  <c:v>#N/A</c:v>
                </c:pt>
                <c:pt idx="153">
                  <c:v>28800</c:v>
                </c:pt>
                <c:pt idx="154">
                  <c:v>#N/A</c:v>
                </c:pt>
                <c:pt idx="155">
                  <c:v>#N/A</c:v>
                </c:pt>
                <c:pt idx="156">
                  <c:v>#N/A</c:v>
                </c:pt>
                <c:pt idx="157">
                  <c:v>#N/A</c:v>
                </c:pt>
                <c:pt idx="158">
                  <c:v>#N/A</c:v>
                </c:pt>
                <c:pt idx="159">
                  <c:v>#N/A</c:v>
                </c:pt>
                <c:pt idx="160">
                  <c:v>29500</c:v>
                </c:pt>
                <c:pt idx="161">
                  <c:v>#N/A</c:v>
                </c:pt>
                <c:pt idx="162">
                  <c:v>#N/A</c:v>
                </c:pt>
                <c:pt idx="163">
                  <c:v>#N/A</c:v>
                </c:pt>
                <c:pt idx="164">
                  <c:v>#N/A</c:v>
                </c:pt>
                <c:pt idx="165">
                  <c:v>#N/A</c:v>
                </c:pt>
                <c:pt idx="166">
                  <c:v>#N/A</c:v>
                </c:pt>
                <c:pt idx="167">
                  <c:v>30400</c:v>
                </c:pt>
                <c:pt idx="168">
                  <c:v>#N/A</c:v>
                </c:pt>
                <c:pt idx="169">
                  <c:v>#N/A</c:v>
                </c:pt>
                <c:pt idx="170">
                  <c:v>#N/A</c:v>
                </c:pt>
                <c:pt idx="171">
                  <c:v>#N/A</c:v>
                </c:pt>
                <c:pt idx="172">
                  <c:v>#N/A</c:v>
                </c:pt>
                <c:pt idx="173">
                  <c:v>#N/A</c:v>
                </c:pt>
                <c:pt idx="174">
                  <c:v>29800</c:v>
                </c:pt>
                <c:pt idx="175">
                  <c:v>#N/A</c:v>
                </c:pt>
                <c:pt idx="176">
                  <c:v>#N/A</c:v>
                </c:pt>
                <c:pt idx="177">
                  <c:v>#N/A</c:v>
                </c:pt>
                <c:pt idx="178">
                  <c:v>#N/A</c:v>
                </c:pt>
                <c:pt idx="179">
                  <c:v>#N/A</c:v>
                </c:pt>
                <c:pt idx="180">
                  <c:v>#N/A</c:v>
                </c:pt>
                <c:pt idx="181">
                  <c:v>31700</c:v>
                </c:pt>
                <c:pt idx="182">
                  <c:v>#N/A</c:v>
                </c:pt>
                <c:pt idx="183">
                  <c:v>#N/A</c:v>
                </c:pt>
                <c:pt idx="184">
                  <c:v>#N/A</c:v>
                </c:pt>
                <c:pt idx="185">
                  <c:v>#N/A</c:v>
                </c:pt>
                <c:pt idx="186">
                  <c:v>#N/A</c:v>
                </c:pt>
                <c:pt idx="187">
                  <c:v>#N/A</c:v>
                </c:pt>
                <c:pt idx="188">
                  <c:v>35500</c:v>
                </c:pt>
                <c:pt idx="189">
                  <c:v>#N/A</c:v>
                </c:pt>
                <c:pt idx="190">
                  <c:v>#N/A</c:v>
                </c:pt>
                <c:pt idx="191">
                  <c:v>#N/A</c:v>
                </c:pt>
                <c:pt idx="192">
                  <c:v>#N/A</c:v>
                </c:pt>
                <c:pt idx="193">
                  <c:v>#N/A</c:v>
                </c:pt>
                <c:pt idx="194">
                  <c:v>#N/A</c:v>
                </c:pt>
                <c:pt idx="195">
                  <c:v>35300</c:v>
                </c:pt>
                <c:pt idx="196">
                  <c:v>#N/A</c:v>
                </c:pt>
                <c:pt idx="197">
                  <c:v>#N/A</c:v>
                </c:pt>
                <c:pt idx="198">
                  <c:v>#N/A</c:v>
                </c:pt>
                <c:pt idx="199">
                  <c:v>#N/A</c:v>
                </c:pt>
                <c:pt idx="200">
                  <c:v>#N/A</c:v>
                </c:pt>
                <c:pt idx="201">
                  <c:v>#N/A</c:v>
                </c:pt>
                <c:pt idx="202">
                  <c:v>34300</c:v>
                </c:pt>
                <c:pt idx="203">
                  <c:v>#N/A</c:v>
                </c:pt>
                <c:pt idx="204">
                  <c:v>#N/A</c:v>
                </c:pt>
                <c:pt idx="205">
                  <c:v>#N/A</c:v>
                </c:pt>
                <c:pt idx="206">
                  <c:v>#N/A</c:v>
                </c:pt>
                <c:pt idx="207">
                  <c:v>#N/A</c:v>
                </c:pt>
                <c:pt idx="208">
                  <c:v>#N/A</c:v>
                </c:pt>
                <c:pt idx="209">
                  <c:v>35000</c:v>
                </c:pt>
                <c:pt idx="210">
                  <c:v>#N/A</c:v>
                </c:pt>
                <c:pt idx="211">
                  <c:v>#N/A</c:v>
                </c:pt>
                <c:pt idx="212">
                  <c:v>#N/A</c:v>
                </c:pt>
                <c:pt idx="213">
                  <c:v>#N/A</c:v>
                </c:pt>
                <c:pt idx="214">
                  <c:v>#N/A</c:v>
                </c:pt>
                <c:pt idx="215">
                  <c:v>#N/A</c:v>
                </c:pt>
                <c:pt idx="216">
                  <c:v>34700</c:v>
                </c:pt>
                <c:pt idx="217">
                  <c:v>#N/A</c:v>
                </c:pt>
                <c:pt idx="218">
                  <c:v>#N/A</c:v>
                </c:pt>
                <c:pt idx="219">
                  <c:v>#N/A</c:v>
                </c:pt>
                <c:pt idx="220">
                  <c:v>#N/A</c:v>
                </c:pt>
                <c:pt idx="221">
                  <c:v>#N/A</c:v>
                </c:pt>
                <c:pt idx="222">
                  <c:v>#N/A</c:v>
                </c:pt>
                <c:pt idx="223">
                  <c:v>34200</c:v>
                </c:pt>
                <c:pt idx="224">
                  <c:v>#N/A</c:v>
                </c:pt>
                <c:pt idx="225">
                  <c:v>#N/A</c:v>
                </c:pt>
                <c:pt idx="226">
                  <c:v>#N/A</c:v>
                </c:pt>
                <c:pt idx="227">
                  <c:v>#N/A</c:v>
                </c:pt>
                <c:pt idx="228">
                  <c:v>#N/A</c:v>
                </c:pt>
                <c:pt idx="229">
                  <c:v>#N/A</c:v>
                </c:pt>
                <c:pt idx="230">
                  <c:v>34700</c:v>
                </c:pt>
                <c:pt idx="231">
                  <c:v>#N/A</c:v>
                </c:pt>
                <c:pt idx="232">
                  <c:v>#N/A</c:v>
                </c:pt>
                <c:pt idx="233">
                  <c:v>#N/A</c:v>
                </c:pt>
                <c:pt idx="234">
                  <c:v>#N/A</c:v>
                </c:pt>
                <c:pt idx="235">
                  <c:v>#N/A</c:v>
                </c:pt>
                <c:pt idx="236">
                  <c:v>#N/A</c:v>
                </c:pt>
                <c:pt idx="237">
                  <c:v>34800</c:v>
                </c:pt>
                <c:pt idx="238">
                  <c:v>#N/A</c:v>
                </c:pt>
                <c:pt idx="239">
                  <c:v>#N/A</c:v>
                </c:pt>
                <c:pt idx="240">
                  <c:v>#N/A</c:v>
                </c:pt>
                <c:pt idx="241">
                  <c:v>#N/A</c:v>
                </c:pt>
                <c:pt idx="242">
                  <c:v>#N/A</c:v>
                </c:pt>
                <c:pt idx="243">
                  <c:v>#N/A</c:v>
                </c:pt>
                <c:pt idx="244">
                  <c:v>37600</c:v>
                </c:pt>
                <c:pt idx="245">
                  <c:v>#N/A</c:v>
                </c:pt>
                <c:pt idx="246">
                  <c:v>#N/A</c:v>
                </c:pt>
                <c:pt idx="247">
                  <c:v>#N/A</c:v>
                </c:pt>
                <c:pt idx="248">
                  <c:v>#N/A</c:v>
                </c:pt>
                <c:pt idx="249">
                  <c:v>#N/A</c:v>
                </c:pt>
                <c:pt idx="250">
                  <c:v>#N/A</c:v>
                </c:pt>
                <c:pt idx="251">
                  <c:v>39100</c:v>
                </c:pt>
                <c:pt idx="252">
                  <c:v>#N/A</c:v>
                </c:pt>
                <c:pt idx="253">
                  <c:v>#N/A</c:v>
                </c:pt>
                <c:pt idx="254">
                  <c:v>#N/A</c:v>
                </c:pt>
                <c:pt idx="255">
                  <c:v>#N/A</c:v>
                </c:pt>
                <c:pt idx="256">
                  <c:v>#N/A</c:v>
                </c:pt>
                <c:pt idx="257">
                  <c:v>#N/A</c:v>
                </c:pt>
                <c:pt idx="258">
                  <c:v>39600</c:v>
                </c:pt>
                <c:pt idx="259">
                  <c:v>#N/A</c:v>
                </c:pt>
                <c:pt idx="260">
                  <c:v>#N/A</c:v>
                </c:pt>
                <c:pt idx="261">
                  <c:v>#N/A</c:v>
                </c:pt>
                <c:pt idx="262">
                  <c:v>#N/A</c:v>
                </c:pt>
                <c:pt idx="263">
                  <c:v>#N/A</c:v>
                </c:pt>
                <c:pt idx="264">
                  <c:v>#N/A</c:v>
                </c:pt>
                <c:pt idx="265">
                  <c:v>39400</c:v>
                </c:pt>
                <c:pt idx="266">
                  <c:v>#N/A</c:v>
                </c:pt>
                <c:pt idx="267">
                  <c:v>#N/A</c:v>
                </c:pt>
                <c:pt idx="268">
                  <c:v>#N/A</c:v>
                </c:pt>
                <c:pt idx="269">
                  <c:v>#N/A</c:v>
                </c:pt>
                <c:pt idx="270">
                  <c:v>#N/A</c:v>
                </c:pt>
                <c:pt idx="271">
                  <c:v>#N/A</c:v>
                </c:pt>
                <c:pt idx="272">
                  <c:v>40300</c:v>
                </c:pt>
                <c:pt idx="273">
                  <c:v>#N/A</c:v>
                </c:pt>
                <c:pt idx="274">
                  <c:v>#N/A</c:v>
                </c:pt>
                <c:pt idx="275">
                  <c:v>#N/A</c:v>
                </c:pt>
                <c:pt idx="276">
                  <c:v>#N/A</c:v>
                </c:pt>
                <c:pt idx="277">
                  <c:v>#N/A</c:v>
                </c:pt>
                <c:pt idx="278">
                  <c:v>#N/A</c:v>
                </c:pt>
                <c:pt idx="279">
                  <c:v>40400</c:v>
                </c:pt>
                <c:pt idx="280">
                  <c:v>#N/A</c:v>
                </c:pt>
                <c:pt idx="281">
                  <c:v>#N/A</c:v>
                </c:pt>
                <c:pt idx="282">
                  <c:v>#N/A</c:v>
                </c:pt>
                <c:pt idx="283">
                  <c:v>#N/A</c:v>
                </c:pt>
                <c:pt idx="284">
                  <c:v>#N/A</c:v>
                </c:pt>
                <c:pt idx="285">
                  <c:v>#N/A</c:v>
                </c:pt>
                <c:pt idx="286">
                  <c:v>39000</c:v>
                </c:pt>
                <c:pt idx="287">
                  <c:v>#N/A</c:v>
                </c:pt>
                <c:pt idx="288">
                  <c:v>#N/A</c:v>
                </c:pt>
                <c:pt idx="289">
                  <c:v>#N/A</c:v>
                </c:pt>
                <c:pt idx="290">
                  <c:v>#N/A</c:v>
                </c:pt>
                <c:pt idx="291">
                  <c:v>#N/A</c:v>
                </c:pt>
                <c:pt idx="292">
                  <c:v>#N/A</c:v>
                </c:pt>
                <c:pt idx="293">
                  <c:v>39200</c:v>
                </c:pt>
                <c:pt idx="294">
                  <c:v>#N/A</c:v>
                </c:pt>
                <c:pt idx="295">
                  <c:v>#N/A</c:v>
                </c:pt>
                <c:pt idx="296">
                  <c:v>#N/A</c:v>
                </c:pt>
                <c:pt idx="297">
                  <c:v>#N/A</c:v>
                </c:pt>
                <c:pt idx="298">
                  <c:v>#N/A</c:v>
                </c:pt>
                <c:pt idx="299">
                  <c:v>#N/A</c:v>
                </c:pt>
                <c:pt idx="300">
                  <c:v>39000</c:v>
                </c:pt>
                <c:pt idx="301">
                  <c:v>#N/A</c:v>
                </c:pt>
                <c:pt idx="302">
                  <c:v>#N/A</c:v>
                </c:pt>
                <c:pt idx="303">
                  <c:v>#N/A</c:v>
                </c:pt>
                <c:pt idx="304">
                  <c:v>#N/A</c:v>
                </c:pt>
                <c:pt idx="305">
                  <c:v>#N/A</c:v>
                </c:pt>
                <c:pt idx="306">
                  <c:v>#N/A</c:v>
                </c:pt>
                <c:pt idx="307">
                  <c:v>38800</c:v>
                </c:pt>
                <c:pt idx="308">
                  <c:v>#N/A</c:v>
                </c:pt>
                <c:pt idx="309">
                  <c:v>#N/A</c:v>
                </c:pt>
                <c:pt idx="310">
                  <c:v>#N/A</c:v>
                </c:pt>
                <c:pt idx="311">
                  <c:v>#N/A</c:v>
                </c:pt>
                <c:pt idx="312">
                  <c:v>#N/A</c:v>
                </c:pt>
                <c:pt idx="313">
                  <c:v>#N/A</c:v>
                </c:pt>
                <c:pt idx="314">
                  <c:v>38300</c:v>
                </c:pt>
                <c:pt idx="315">
                  <c:v>#N/A</c:v>
                </c:pt>
                <c:pt idx="316">
                  <c:v>#N/A</c:v>
                </c:pt>
                <c:pt idx="317">
                  <c:v>#N/A</c:v>
                </c:pt>
                <c:pt idx="318">
                  <c:v>#N/A</c:v>
                </c:pt>
                <c:pt idx="319">
                  <c:v>#N/A</c:v>
                </c:pt>
                <c:pt idx="320">
                  <c:v>#N/A</c:v>
                </c:pt>
                <c:pt idx="321">
                  <c:v>38700</c:v>
                </c:pt>
                <c:pt idx="322">
                  <c:v>#N/A</c:v>
                </c:pt>
                <c:pt idx="323">
                  <c:v>#N/A</c:v>
                </c:pt>
                <c:pt idx="324">
                  <c:v>#N/A</c:v>
                </c:pt>
                <c:pt idx="325">
                  <c:v>#N/A</c:v>
                </c:pt>
                <c:pt idx="326">
                  <c:v>#N/A</c:v>
                </c:pt>
                <c:pt idx="327">
                  <c:v>#N/A</c:v>
                </c:pt>
                <c:pt idx="328">
                  <c:v>39000</c:v>
                </c:pt>
                <c:pt idx="329">
                  <c:v>#N/A</c:v>
                </c:pt>
                <c:pt idx="330">
                  <c:v>#N/A</c:v>
                </c:pt>
                <c:pt idx="331">
                  <c:v>#N/A</c:v>
                </c:pt>
                <c:pt idx="332">
                  <c:v>#N/A</c:v>
                </c:pt>
                <c:pt idx="333">
                  <c:v>#N/A</c:v>
                </c:pt>
                <c:pt idx="334">
                  <c:v>#N/A</c:v>
                </c:pt>
                <c:pt idx="335">
                  <c:v>36800</c:v>
                </c:pt>
                <c:pt idx="336">
                  <c:v>#N/A</c:v>
                </c:pt>
                <c:pt idx="337">
                  <c:v>#N/A</c:v>
                </c:pt>
                <c:pt idx="338">
                  <c:v>#N/A</c:v>
                </c:pt>
                <c:pt idx="339">
                  <c:v>#N/A</c:v>
                </c:pt>
                <c:pt idx="340">
                  <c:v>#N/A</c:v>
                </c:pt>
                <c:pt idx="341">
                  <c:v>#N/A</c:v>
                </c:pt>
                <c:pt idx="342">
                  <c:v>36300</c:v>
                </c:pt>
                <c:pt idx="343">
                  <c:v>#N/A</c:v>
                </c:pt>
                <c:pt idx="344">
                  <c:v>#N/A</c:v>
                </c:pt>
                <c:pt idx="345">
                  <c:v>#N/A</c:v>
                </c:pt>
                <c:pt idx="346">
                  <c:v>#N/A</c:v>
                </c:pt>
                <c:pt idx="347">
                  <c:v>#N/A</c:v>
                </c:pt>
                <c:pt idx="348">
                  <c:v>#N/A</c:v>
                </c:pt>
                <c:pt idx="349">
                  <c:v>38800</c:v>
                </c:pt>
                <c:pt idx="350">
                  <c:v>#N/A</c:v>
                </c:pt>
                <c:pt idx="351">
                  <c:v>#N/A</c:v>
                </c:pt>
                <c:pt idx="352">
                  <c:v>#N/A</c:v>
                </c:pt>
                <c:pt idx="353">
                  <c:v>#N/A</c:v>
                </c:pt>
                <c:pt idx="354">
                  <c:v>#N/A</c:v>
                </c:pt>
                <c:pt idx="355">
                  <c:v>#N/A</c:v>
                </c:pt>
                <c:pt idx="356">
                  <c:v>38300</c:v>
                </c:pt>
                <c:pt idx="357">
                  <c:v>#N/A</c:v>
                </c:pt>
                <c:pt idx="358">
                  <c:v>#N/A</c:v>
                </c:pt>
                <c:pt idx="359">
                  <c:v>#N/A</c:v>
                </c:pt>
                <c:pt idx="360">
                  <c:v>#N/A</c:v>
                </c:pt>
                <c:pt idx="361">
                  <c:v>#N/A</c:v>
                </c:pt>
                <c:pt idx="362">
                  <c:v>#N/A</c:v>
                </c:pt>
                <c:pt idx="363">
                  <c:v>38000</c:v>
                </c:pt>
                <c:pt idx="364">
                  <c:v>#N/A</c:v>
                </c:pt>
                <c:pt idx="365">
                  <c:v>#N/A</c:v>
                </c:pt>
              </c:numCache>
            </c:numRef>
          </c:val>
          <c:smooth val="0"/>
          <c:extLst>
            <c:ext xmlns:c16="http://schemas.microsoft.com/office/drawing/2014/chart" uri="{C3380CC4-5D6E-409C-BE32-E72D297353CC}">
              <c16:uniqueId val="{00000002-9233-4722-8364-F7F9A0136BA9}"/>
            </c:ext>
          </c:extLst>
        </c:ser>
        <c:ser>
          <c:idx val="4"/>
          <c:order val="3"/>
          <c:tx>
            <c:strRef>
              <c:f>有机硅开工!$U$2</c:f>
              <c:strCache>
                <c:ptCount val="1"/>
                <c:pt idx="0">
                  <c:v>2024</c:v>
                </c:pt>
              </c:strCache>
            </c:strRef>
          </c:tx>
          <c:spPr>
            <a:ln w="28575" cap="rnd">
              <a:solidFill>
                <a:schemeClr val="tx1"/>
              </a:solidFill>
              <a:round/>
            </a:ln>
            <a:effectLst/>
          </c:spPr>
          <c:marker>
            <c:symbol val="none"/>
          </c:marker>
          <c:cat>
            <c:strRef>
              <c:f>有机硅开工!$P$3:$P$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U$3:$U$368</c:f>
              <c:numCache>
                <c:formatCode>General</c:formatCode>
                <c:ptCount val="366"/>
                <c:pt idx="0">
                  <c:v>37000</c:v>
                </c:pt>
                <c:pt idx="1">
                  <c:v>37000</c:v>
                </c:pt>
                <c:pt idx="2">
                  <c:v>37000</c:v>
                </c:pt>
                <c:pt idx="3">
                  <c:v>37000</c:v>
                </c:pt>
                <c:pt idx="4">
                  <c:v>37000</c:v>
                </c:pt>
                <c:pt idx="5">
                  <c:v>35300</c:v>
                </c:pt>
                <c:pt idx="6">
                  <c:v>35300</c:v>
                </c:pt>
                <c:pt idx="7">
                  <c:v>35300</c:v>
                </c:pt>
                <c:pt idx="8">
                  <c:v>35300</c:v>
                </c:pt>
                <c:pt idx="9">
                  <c:v>35300</c:v>
                </c:pt>
                <c:pt idx="10">
                  <c:v>35300</c:v>
                </c:pt>
                <c:pt idx="11">
                  <c:v>35300</c:v>
                </c:pt>
                <c:pt idx="12">
                  <c:v>36500</c:v>
                </c:pt>
                <c:pt idx="13">
                  <c:v>36500</c:v>
                </c:pt>
                <c:pt idx="14">
                  <c:v>36500</c:v>
                </c:pt>
                <c:pt idx="15">
                  <c:v>36500</c:v>
                </c:pt>
                <c:pt idx="16">
                  <c:v>36500</c:v>
                </c:pt>
                <c:pt idx="17">
                  <c:v>36500</c:v>
                </c:pt>
                <c:pt idx="18">
                  <c:v>36500</c:v>
                </c:pt>
                <c:pt idx="19">
                  <c:v>37700</c:v>
                </c:pt>
                <c:pt idx="20">
                  <c:v>37700</c:v>
                </c:pt>
                <c:pt idx="21">
                  <c:v>37700</c:v>
                </c:pt>
                <c:pt idx="22">
                  <c:v>37700</c:v>
                </c:pt>
                <c:pt idx="23">
                  <c:v>37700</c:v>
                </c:pt>
                <c:pt idx="24">
                  <c:v>37700</c:v>
                </c:pt>
                <c:pt idx="25">
                  <c:v>37700</c:v>
                </c:pt>
                <c:pt idx="26">
                  <c:v>38900</c:v>
                </c:pt>
                <c:pt idx="27">
                  <c:v>38900</c:v>
                </c:pt>
                <c:pt idx="28">
                  <c:v>38900</c:v>
                </c:pt>
                <c:pt idx="29">
                  <c:v>38900</c:v>
                </c:pt>
                <c:pt idx="30">
                  <c:v>38900</c:v>
                </c:pt>
                <c:pt idx="31">
                  <c:v>38900</c:v>
                </c:pt>
                <c:pt idx="32">
                  <c:v>38900</c:v>
                </c:pt>
                <c:pt idx="33">
                  <c:v>39200</c:v>
                </c:pt>
                <c:pt idx="34">
                  <c:v>39200</c:v>
                </c:pt>
                <c:pt idx="35">
                  <c:v>39200</c:v>
                </c:pt>
                <c:pt idx="36">
                  <c:v>39200</c:v>
                </c:pt>
                <c:pt idx="37">
                  <c:v>39200</c:v>
                </c:pt>
                <c:pt idx="38">
                  <c:v>39200</c:v>
                </c:pt>
                <c:pt idx="39">
                  <c:v>39200</c:v>
                </c:pt>
                <c:pt idx="40">
                  <c:v>39400</c:v>
                </c:pt>
                <c:pt idx="41">
                  <c:v>39400</c:v>
                </c:pt>
                <c:pt idx="42">
                  <c:v>39400</c:v>
                </c:pt>
                <c:pt idx="43">
                  <c:v>39400</c:v>
                </c:pt>
                <c:pt idx="44">
                  <c:v>39400</c:v>
                </c:pt>
                <c:pt idx="45">
                  <c:v>39400</c:v>
                </c:pt>
                <c:pt idx="46">
                  <c:v>39400</c:v>
                </c:pt>
                <c:pt idx="47">
                  <c:v>39500</c:v>
                </c:pt>
                <c:pt idx="48">
                  <c:v>39500</c:v>
                </c:pt>
                <c:pt idx="49">
                  <c:v>39500</c:v>
                </c:pt>
                <c:pt idx="50">
                  <c:v>39500</c:v>
                </c:pt>
                <c:pt idx="51">
                  <c:v>39500</c:v>
                </c:pt>
                <c:pt idx="52">
                  <c:v>39500</c:v>
                </c:pt>
                <c:pt idx="53">
                  <c:v>39500</c:v>
                </c:pt>
                <c:pt idx="54">
                  <c:v>40500</c:v>
                </c:pt>
                <c:pt idx="55">
                  <c:v>40500</c:v>
                </c:pt>
                <c:pt idx="56">
                  <c:v>40500</c:v>
                </c:pt>
                <c:pt idx="57">
                  <c:v>40500</c:v>
                </c:pt>
                <c:pt idx="58">
                  <c:v>40500</c:v>
                </c:pt>
                <c:pt idx="59">
                  <c:v>40500</c:v>
                </c:pt>
                <c:pt idx="60">
                  <c:v>40500</c:v>
                </c:pt>
                <c:pt idx="61">
                  <c:v>39600</c:v>
                </c:pt>
                <c:pt idx="62">
                  <c:v>39600</c:v>
                </c:pt>
                <c:pt idx="63">
                  <c:v>39600</c:v>
                </c:pt>
                <c:pt idx="64">
                  <c:v>39600</c:v>
                </c:pt>
                <c:pt idx="65">
                  <c:v>39600</c:v>
                </c:pt>
                <c:pt idx="66">
                  <c:v>39600</c:v>
                </c:pt>
                <c:pt idx="67">
                  <c:v>39600</c:v>
                </c:pt>
                <c:pt idx="68">
                  <c:v>41600</c:v>
                </c:pt>
                <c:pt idx="69">
                  <c:v>41600</c:v>
                </c:pt>
                <c:pt idx="70">
                  <c:v>41600</c:v>
                </c:pt>
                <c:pt idx="71">
                  <c:v>41600</c:v>
                </c:pt>
                <c:pt idx="72">
                  <c:v>41600</c:v>
                </c:pt>
                <c:pt idx="73">
                  <c:v>41600</c:v>
                </c:pt>
                <c:pt idx="74">
                  <c:v>41600</c:v>
                </c:pt>
                <c:pt idx="75">
                  <c:v>40800</c:v>
                </c:pt>
                <c:pt idx="76">
                  <c:v>40800</c:v>
                </c:pt>
                <c:pt idx="77">
                  <c:v>40800</c:v>
                </c:pt>
                <c:pt idx="78">
                  <c:v>40800</c:v>
                </c:pt>
                <c:pt idx="79">
                  <c:v>40800</c:v>
                </c:pt>
                <c:pt idx="80">
                  <c:v>40800</c:v>
                </c:pt>
                <c:pt idx="81">
                  <c:v>40800</c:v>
                </c:pt>
                <c:pt idx="82">
                  <c:v>39200</c:v>
                </c:pt>
                <c:pt idx="83">
                  <c:v>39200</c:v>
                </c:pt>
                <c:pt idx="84">
                  <c:v>39200</c:v>
                </c:pt>
                <c:pt idx="85">
                  <c:v>39200</c:v>
                </c:pt>
                <c:pt idx="86">
                  <c:v>39200</c:v>
                </c:pt>
                <c:pt idx="87">
                  <c:v>39200</c:v>
                </c:pt>
                <c:pt idx="88">
                  <c:v>39200</c:v>
                </c:pt>
                <c:pt idx="89">
                  <c:v>38600</c:v>
                </c:pt>
                <c:pt idx="90">
                  <c:v>38600</c:v>
                </c:pt>
                <c:pt idx="91">
                  <c:v>38600</c:v>
                </c:pt>
                <c:pt idx="92">
                  <c:v>38600</c:v>
                </c:pt>
                <c:pt idx="93">
                  <c:v>38600</c:v>
                </c:pt>
                <c:pt idx="94">
                  <c:v>38600</c:v>
                </c:pt>
                <c:pt idx="95">
                  <c:v>38600</c:v>
                </c:pt>
                <c:pt idx="96">
                  <c:v>38100</c:v>
                </c:pt>
                <c:pt idx="97">
                  <c:v>38100</c:v>
                </c:pt>
                <c:pt idx="98">
                  <c:v>38100</c:v>
                </c:pt>
                <c:pt idx="99">
                  <c:v>38100</c:v>
                </c:pt>
                <c:pt idx="100">
                  <c:v>38100</c:v>
                </c:pt>
                <c:pt idx="101">
                  <c:v>38100</c:v>
                </c:pt>
                <c:pt idx="102">
                  <c:v>38100</c:v>
                </c:pt>
                <c:pt idx="103">
                  <c:v>35600</c:v>
                </c:pt>
                <c:pt idx="104">
                  <c:v>35600</c:v>
                </c:pt>
                <c:pt idx="105">
                  <c:v>35600</c:v>
                </c:pt>
                <c:pt idx="106">
                  <c:v>35600</c:v>
                </c:pt>
                <c:pt idx="107">
                  <c:v>35600</c:v>
                </c:pt>
                <c:pt idx="108">
                  <c:v>35600</c:v>
                </c:pt>
                <c:pt idx="109">
                  <c:v>35600</c:v>
                </c:pt>
                <c:pt idx="110">
                  <c:v>39000</c:v>
                </c:pt>
                <c:pt idx="111">
                  <c:v>39000</c:v>
                </c:pt>
                <c:pt idx="112">
                  <c:v>39000</c:v>
                </c:pt>
                <c:pt idx="113">
                  <c:v>39000</c:v>
                </c:pt>
                <c:pt idx="114">
                  <c:v>39000</c:v>
                </c:pt>
                <c:pt idx="115">
                  <c:v>39000</c:v>
                </c:pt>
                <c:pt idx="116">
                  <c:v>39000</c:v>
                </c:pt>
                <c:pt idx="117">
                  <c:v>40000</c:v>
                </c:pt>
                <c:pt idx="118">
                  <c:v>40000</c:v>
                </c:pt>
                <c:pt idx="119">
                  <c:v>40000</c:v>
                </c:pt>
                <c:pt idx="120">
                  <c:v>40000</c:v>
                </c:pt>
                <c:pt idx="121">
                  <c:v>40000</c:v>
                </c:pt>
                <c:pt idx="122">
                  <c:v>40000</c:v>
                </c:pt>
                <c:pt idx="123">
                  <c:v>40000</c:v>
                </c:pt>
                <c:pt idx="124">
                  <c:v>40600</c:v>
                </c:pt>
                <c:pt idx="125">
                  <c:v>40600</c:v>
                </c:pt>
                <c:pt idx="126">
                  <c:v>40600</c:v>
                </c:pt>
                <c:pt idx="127">
                  <c:v>40600</c:v>
                </c:pt>
                <c:pt idx="128">
                  <c:v>40600</c:v>
                </c:pt>
                <c:pt idx="129">
                  <c:v>40600</c:v>
                </c:pt>
                <c:pt idx="130">
                  <c:v>40600</c:v>
                </c:pt>
                <c:pt idx="131">
                  <c:v>42100</c:v>
                </c:pt>
                <c:pt idx="132">
                  <c:v>42100</c:v>
                </c:pt>
                <c:pt idx="133">
                  <c:v>42100</c:v>
                </c:pt>
                <c:pt idx="134">
                  <c:v>42100</c:v>
                </c:pt>
                <c:pt idx="135">
                  <c:v>42100</c:v>
                </c:pt>
                <c:pt idx="136">
                  <c:v>42100</c:v>
                </c:pt>
                <c:pt idx="137">
                  <c:v>42100</c:v>
                </c:pt>
                <c:pt idx="138">
                  <c:v>41500</c:v>
                </c:pt>
                <c:pt idx="139">
                  <c:v>41500</c:v>
                </c:pt>
                <c:pt idx="140">
                  <c:v>41500</c:v>
                </c:pt>
                <c:pt idx="141">
                  <c:v>41500</c:v>
                </c:pt>
                <c:pt idx="142">
                  <c:v>41500</c:v>
                </c:pt>
                <c:pt idx="143">
                  <c:v>41500</c:v>
                </c:pt>
                <c:pt idx="144">
                  <c:v>41500</c:v>
                </c:pt>
                <c:pt idx="145">
                  <c:v>40800</c:v>
                </c:pt>
                <c:pt idx="146">
                  <c:v>40800</c:v>
                </c:pt>
                <c:pt idx="147">
                  <c:v>40800</c:v>
                </c:pt>
                <c:pt idx="148">
                  <c:v>40800</c:v>
                </c:pt>
                <c:pt idx="149">
                  <c:v>40800</c:v>
                </c:pt>
                <c:pt idx="150">
                  <c:v>40800</c:v>
                </c:pt>
                <c:pt idx="151">
                  <c:v>40800</c:v>
                </c:pt>
                <c:pt idx="152">
                  <c:v>40400</c:v>
                </c:pt>
                <c:pt idx="153">
                  <c:v>40400</c:v>
                </c:pt>
                <c:pt idx="154">
                  <c:v>40400</c:v>
                </c:pt>
                <c:pt idx="155">
                  <c:v>40400</c:v>
                </c:pt>
                <c:pt idx="156">
                  <c:v>40400</c:v>
                </c:pt>
                <c:pt idx="157">
                  <c:v>40400</c:v>
                </c:pt>
                <c:pt idx="158">
                  <c:v>40400</c:v>
                </c:pt>
                <c:pt idx="159">
                  <c:v>41900</c:v>
                </c:pt>
                <c:pt idx="160">
                  <c:v>41900</c:v>
                </c:pt>
                <c:pt idx="161">
                  <c:v>41900</c:v>
                </c:pt>
                <c:pt idx="162">
                  <c:v>41900</c:v>
                </c:pt>
                <c:pt idx="163">
                  <c:v>41900</c:v>
                </c:pt>
                <c:pt idx="164">
                  <c:v>41900</c:v>
                </c:pt>
                <c:pt idx="165">
                  <c:v>41900</c:v>
                </c:pt>
                <c:pt idx="166">
                  <c:v>41100</c:v>
                </c:pt>
                <c:pt idx="167">
                  <c:v>41100</c:v>
                </c:pt>
                <c:pt idx="168">
                  <c:v>41100</c:v>
                </c:pt>
                <c:pt idx="169">
                  <c:v>41100</c:v>
                </c:pt>
                <c:pt idx="170">
                  <c:v>41100</c:v>
                </c:pt>
                <c:pt idx="171">
                  <c:v>41100</c:v>
                </c:pt>
                <c:pt idx="172">
                  <c:v>41100</c:v>
                </c:pt>
                <c:pt idx="173">
                  <c:v>42600</c:v>
                </c:pt>
                <c:pt idx="174">
                  <c:v>42600</c:v>
                </c:pt>
                <c:pt idx="175">
                  <c:v>42600</c:v>
                </c:pt>
                <c:pt idx="176">
                  <c:v>42600</c:v>
                </c:pt>
                <c:pt idx="177">
                  <c:v>42600</c:v>
                </c:pt>
                <c:pt idx="178">
                  <c:v>42600</c:v>
                </c:pt>
                <c:pt idx="179">
                  <c:v>42600</c:v>
                </c:pt>
                <c:pt idx="180">
                  <c:v>43700</c:v>
                </c:pt>
                <c:pt idx="181">
                  <c:v>43700</c:v>
                </c:pt>
                <c:pt idx="182">
                  <c:v>43700</c:v>
                </c:pt>
                <c:pt idx="183">
                  <c:v>43700</c:v>
                </c:pt>
                <c:pt idx="184">
                  <c:v>43700</c:v>
                </c:pt>
                <c:pt idx="185">
                  <c:v>43700</c:v>
                </c:pt>
                <c:pt idx="186">
                  <c:v>4370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3-9233-4722-8364-F7F9A0136BA9}"/>
            </c:ext>
          </c:extLst>
        </c:ser>
        <c:dLbls>
          <c:showLegendKey val="0"/>
          <c:showVal val="0"/>
          <c:showCatName val="0"/>
          <c:showSerName val="0"/>
          <c:showPercent val="0"/>
          <c:showBubbleSize val="0"/>
        </c:dLbls>
        <c:smooth val="0"/>
        <c:axId val="574071951"/>
        <c:axId val="482718959"/>
      </c:lineChart>
      <c:catAx>
        <c:axId val="574071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482718959"/>
        <c:crosses val="autoZero"/>
        <c:auto val="1"/>
        <c:lblAlgn val="ctr"/>
        <c:lblOffset val="100"/>
        <c:noMultiLvlLbl val="0"/>
      </c:catAx>
      <c:valAx>
        <c:axId val="482718959"/>
        <c:scaling>
          <c:orientation val="minMax"/>
          <c:min val="20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5740719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r>
              <a:rPr lang="zh-CN" sz="1400"/>
              <a:t>有机中间体利润</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1"/>
          <c:order val="0"/>
          <c:tx>
            <c:strRef>
              <c:f>有机硅开工!$Y$2</c:f>
              <c:strCache>
                <c:ptCount val="1"/>
                <c:pt idx="0">
                  <c:v>2021</c:v>
                </c:pt>
              </c:strCache>
            </c:strRef>
          </c:tx>
          <c:spPr>
            <a:ln w="19050" cap="rnd">
              <a:solidFill>
                <a:schemeClr val="accent5">
                  <a:lumMod val="75000"/>
                  <a:alpha val="60000"/>
                </a:schemeClr>
              </a:solidFill>
              <a:round/>
            </a:ln>
            <a:effectLst/>
          </c:spPr>
          <c:marker>
            <c:symbol val="none"/>
          </c:marker>
          <c:cat>
            <c:strRef>
              <c:f>有机硅开工!$W$3:$W$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Y$3:$Y$368</c:f>
              <c:numCache>
                <c:formatCode>General</c:formatCode>
                <c:ptCount val="366"/>
                <c:pt idx="0">
                  <c:v>7084.6153800000002</c:v>
                </c:pt>
                <c:pt idx="1">
                  <c:v>#N/A</c:v>
                </c:pt>
                <c:pt idx="2">
                  <c:v>#N/A</c:v>
                </c:pt>
                <c:pt idx="3">
                  <c:v>#N/A</c:v>
                </c:pt>
                <c:pt idx="4">
                  <c:v>#N/A</c:v>
                </c:pt>
                <c:pt idx="5">
                  <c:v>#N/A</c:v>
                </c:pt>
                <c:pt idx="6">
                  <c:v>#N/A</c:v>
                </c:pt>
                <c:pt idx="7">
                  <c:v>5961.5384599999998</c:v>
                </c:pt>
                <c:pt idx="8">
                  <c:v>#N/A</c:v>
                </c:pt>
                <c:pt idx="9">
                  <c:v>#N/A</c:v>
                </c:pt>
                <c:pt idx="10">
                  <c:v>#N/A</c:v>
                </c:pt>
                <c:pt idx="11">
                  <c:v>#N/A</c:v>
                </c:pt>
                <c:pt idx="12">
                  <c:v>#N/A</c:v>
                </c:pt>
                <c:pt idx="13">
                  <c:v>#N/A</c:v>
                </c:pt>
                <c:pt idx="14">
                  <c:v>5961.5384599999998</c:v>
                </c:pt>
                <c:pt idx="15">
                  <c:v>#N/A</c:v>
                </c:pt>
                <c:pt idx="16">
                  <c:v>#N/A</c:v>
                </c:pt>
                <c:pt idx="17">
                  <c:v>#N/A</c:v>
                </c:pt>
                <c:pt idx="18">
                  <c:v>#N/A</c:v>
                </c:pt>
                <c:pt idx="19">
                  <c:v>#N/A</c:v>
                </c:pt>
                <c:pt idx="20">
                  <c:v>#N/A</c:v>
                </c:pt>
                <c:pt idx="21">
                  <c:v>5500</c:v>
                </c:pt>
                <c:pt idx="22">
                  <c:v>#N/A</c:v>
                </c:pt>
                <c:pt idx="23">
                  <c:v>#N/A</c:v>
                </c:pt>
                <c:pt idx="24">
                  <c:v>#N/A</c:v>
                </c:pt>
                <c:pt idx="25">
                  <c:v>#N/A</c:v>
                </c:pt>
                <c:pt idx="26">
                  <c:v>#N/A</c:v>
                </c:pt>
                <c:pt idx="27">
                  <c:v>#N/A</c:v>
                </c:pt>
                <c:pt idx="28">
                  <c:v>5500</c:v>
                </c:pt>
                <c:pt idx="29">
                  <c:v>#N/A</c:v>
                </c:pt>
                <c:pt idx="30">
                  <c:v>#N/A</c:v>
                </c:pt>
                <c:pt idx="31">
                  <c:v>#N/A</c:v>
                </c:pt>
                <c:pt idx="32">
                  <c:v>#N/A</c:v>
                </c:pt>
                <c:pt idx="33">
                  <c:v>#N/A</c:v>
                </c:pt>
                <c:pt idx="34">
                  <c:v>#N/A</c:v>
                </c:pt>
                <c:pt idx="35">
                  <c:v>6200</c:v>
                </c:pt>
                <c:pt idx="36">
                  <c:v>#N/A</c:v>
                </c:pt>
                <c:pt idx="37">
                  <c:v>#N/A</c:v>
                </c:pt>
                <c:pt idx="38">
                  <c:v>#N/A</c:v>
                </c:pt>
                <c:pt idx="39">
                  <c:v>#N/A</c:v>
                </c:pt>
                <c:pt idx="40">
                  <c:v>#N/A</c:v>
                </c:pt>
                <c:pt idx="41">
                  <c:v>#N/A</c:v>
                </c:pt>
                <c:pt idx="42">
                  <c:v>6200</c:v>
                </c:pt>
                <c:pt idx="43">
                  <c:v>#N/A</c:v>
                </c:pt>
                <c:pt idx="44">
                  <c:v>#N/A</c:v>
                </c:pt>
                <c:pt idx="45">
                  <c:v>#N/A</c:v>
                </c:pt>
                <c:pt idx="46">
                  <c:v>#N/A</c:v>
                </c:pt>
                <c:pt idx="47">
                  <c:v>#N/A</c:v>
                </c:pt>
                <c:pt idx="48">
                  <c:v>#N/A</c:v>
                </c:pt>
                <c:pt idx="49">
                  <c:v>6200</c:v>
                </c:pt>
                <c:pt idx="50">
                  <c:v>#N/A</c:v>
                </c:pt>
                <c:pt idx="51">
                  <c:v>#N/A</c:v>
                </c:pt>
                <c:pt idx="52">
                  <c:v>#N/A</c:v>
                </c:pt>
                <c:pt idx="53">
                  <c:v>#N/A</c:v>
                </c:pt>
                <c:pt idx="54">
                  <c:v>#N/A</c:v>
                </c:pt>
                <c:pt idx="55">
                  <c:v>#N/A</c:v>
                </c:pt>
                <c:pt idx="56">
                  <c:v>7000</c:v>
                </c:pt>
                <c:pt idx="57">
                  <c:v>#N/A</c:v>
                </c:pt>
                <c:pt idx="58">
                  <c:v>#N/A</c:v>
                </c:pt>
                <c:pt idx="60">
                  <c:v>#N/A</c:v>
                </c:pt>
                <c:pt idx="61">
                  <c:v>#N/A</c:v>
                </c:pt>
                <c:pt idx="62">
                  <c:v>#N/A</c:v>
                </c:pt>
                <c:pt idx="63">
                  <c:v>#N/A</c:v>
                </c:pt>
                <c:pt idx="64">
                  <c:v>9061.5384599999998</c:v>
                </c:pt>
                <c:pt idx="65">
                  <c:v>#N/A</c:v>
                </c:pt>
                <c:pt idx="66">
                  <c:v>#N/A</c:v>
                </c:pt>
                <c:pt idx="67">
                  <c:v>#N/A</c:v>
                </c:pt>
                <c:pt idx="68">
                  <c:v>#N/A</c:v>
                </c:pt>
                <c:pt idx="69">
                  <c:v>#N/A</c:v>
                </c:pt>
                <c:pt idx="70">
                  <c:v>#N/A</c:v>
                </c:pt>
                <c:pt idx="71">
                  <c:v>11028.57143</c:v>
                </c:pt>
                <c:pt idx="72">
                  <c:v>#N/A</c:v>
                </c:pt>
                <c:pt idx="73">
                  <c:v>#N/A</c:v>
                </c:pt>
                <c:pt idx="74">
                  <c:v>#N/A</c:v>
                </c:pt>
                <c:pt idx="75">
                  <c:v>#N/A</c:v>
                </c:pt>
                <c:pt idx="76">
                  <c:v>#N/A</c:v>
                </c:pt>
                <c:pt idx="77">
                  <c:v>#N/A</c:v>
                </c:pt>
                <c:pt idx="78">
                  <c:v>13371.42857</c:v>
                </c:pt>
                <c:pt idx="79">
                  <c:v>#N/A</c:v>
                </c:pt>
                <c:pt idx="80">
                  <c:v>#N/A</c:v>
                </c:pt>
                <c:pt idx="81">
                  <c:v>#N/A</c:v>
                </c:pt>
                <c:pt idx="82">
                  <c:v>#N/A</c:v>
                </c:pt>
                <c:pt idx="83">
                  <c:v>#N/A</c:v>
                </c:pt>
                <c:pt idx="84">
                  <c:v>#N/A</c:v>
                </c:pt>
                <c:pt idx="85">
                  <c:v>13278.57143</c:v>
                </c:pt>
                <c:pt idx="86">
                  <c:v>#N/A</c:v>
                </c:pt>
                <c:pt idx="87">
                  <c:v>#N/A</c:v>
                </c:pt>
                <c:pt idx="88">
                  <c:v>#N/A</c:v>
                </c:pt>
                <c:pt idx="89">
                  <c:v>#N/A</c:v>
                </c:pt>
                <c:pt idx="90">
                  <c:v>#N/A</c:v>
                </c:pt>
                <c:pt idx="91">
                  <c:v>#N/A</c:v>
                </c:pt>
                <c:pt idx="92">
                  <c:v>13421.42857</c:v>
                </c:pt>
                <c:pt idx="93">
                  <c:v>#N/A</c:v>
                </c:pt>
                <c:pt idx="94">
                  <c:v>#N/A</c:v>
                </c:pt>
                <c:pt idx="95">
                  <c:v>#N/A</c:v>
                </c:pt>
                <c:pt idx="96">
                  <c:v>#N/A</c:v>
                </c:pt>
                <c:pt idx="97">
                  <c:v>#N/A</c:v>
                </c:pt>
                <c:pt idx="98">
                  <c:v>#N/A</c:v>
                </c:pt>
                <c:pt idx="99">
                  <c:v>13335.71429</c:v>
                </c:pt>
                <c:pt idx="100">
                  <c:v>#N/A</c:v>
                </c:pt>
                <c:pt idx="101">
                  <c:v>#N/A</c:v>
                </c:pt>
                <c:pt idx="102">
                  <c:v>#N/A</c:v>
                </c:pt>
                <c:pt idx="103">
                  <c:v>#N/A</c:v>
                </c:pt>
                <c:pt idx="104">
                  <c:v>#N/A</c:v>
                </c:pt>
                <c:pt idx="105">
                  <c:v>#N/A</c:v>
                </c:pt>
                <c:pt idx="106">
                  <c:v>13428.57143</c:v>
                </c:pt>
                <c:pt idx="107">
                  <c:v>#N/A</c:v>
                </c:pt>
                <c:pt idx="108">
                  <c:v>#N/A</c:v>
                </c:pt>
                <c:pt idx="109">
                  <c:v>#N/A</c:v>
                </c:pt>
                <c:pt idx="110">
                  <c:v>#N/A</c:v>
                </c:pt>
                <c:pt idx="111">
                  <c:v>#N/A</c:v>
                </c:pt>
                <c:pt idx="112">
                  <c:v>#N/A</c:v>
                </c:pt>
                <c:pt idx="113">
                  <c:v>13400</c:v>
                </c:pt>
                <c:pt idx="114">
                  <c:v>#N/A</c:v>
                </c:pt>
                <c:pt idx="115">
                  <c:v>#N/A</c:v>
                </c:pt>
                <c:pt idx="116">
                  <c:v>#N/A</c:v>
                </c:pt>
                <c:pt idx="117">
                  <c:v>#N/A</c:v>
                </c:pt>
                <c:pt idx="118">
                  <c:v>#N/A</c:v>
                </c:pt>
                <c:pt idx="119">
                  <c:v>#N/A</c:v>
                </c:pt>
                <c:pt idx="120">
                  <c:v>12885.71429</c:v>
                </c:pt>
                <c:pt idx="121">
                  <c:v>#N/A</c:v>
                </c:pt>
                <c:pt idx="122">
                  <c:v>#N/A</c:v>
                </c:pt>
                <c:pt idx="123">
                  <c:v>#N/A</c:v>
                </c:pt>
                <c:pt idx="124">
                  <c:v>#N/A</c:v>
                </c:pt>
                <c:pt idx="125">
                  <c:v>#N/A</c:v>
                </c:pt>
                <c:pt idx="126">
                  <c:v>#N/A</c:v>
                </c:pt>
                <c:pt idx="127">
                  <c:v>11207.14286</c:v>
                </c:pt>
                <c:pt idx="128">
                  <c:v>#N/A</c:v>
                </c:pt>
                <c:pt idx="129">
                  <c:v>#N/A</c:v>
                </c:pt>
                <c:pt idx="130">
                  <c:v>#N/A</c:v>
                </c:pt>
                <c:pt idx="131">
                  <c:v>#N/A</c:v>
                </c:pt>
                <c:pt idx="132">
                  <c:v>#N/A</c:v>
                </c:pt>
                <c:pt idx="133">
                  <c:v>#N/A</c:v>
                </c:pt>
                <c:pt idx="134">
                  <c:v>10564.28571</c:v>
                </c:pt>
                <c:pt idx="135">
                  <c:v>#N/A</c:v>
                </c:pt>
                <c:pt idx="136">
                  <c:v>#N/A</c:v>
                </c:pt>
                <c:pt idx="137">
                  <c:v>#N/A</c:v>
                </c:pt>
                <c:pt idx="138">
                  <c:v>#N/A</c:v>
                </c:pt>
                <c:pt idx="139">
                  <c:v>#N/A</c:v>
                </c:pt>
                <c:pt idx="140">
                  <c:v>#N/A</c:v>
                </c:pt>
                <c:pt idx="141">
                  <c:v>11564.28571</c:v>
                </c:pt>
                <c:pt idx="142">
                  <c:v>#N/A</c:v>
                </c:pt>
                <c:pt idx="143">
                  <c:v>#N/A</c:v>
                </c:pt>
                <c:pt idx="144">
                  <c:v>#N/A</c:v>
                </c:pt>
                <c:pt idx="145">
                  <c:v>#N/A</c:v>
                </c:pt>
                <c:pt idx="146">
                  <c:v>#N/A</c:v>
                </c:pt>
                <c:pt idx="147">
                  <c:v>#N/A</c:v>
                </c:pt>
                <c:pt idx="148">
                  <c:v>11514.28571</c:v>
                </c:pt>
                <c:pt idx="149">
                  <c:v>#N/A</c:v>
                </c:pt>
                <c:pt idx="150">
                  <c:v>#N/A</c:v>
                </c:pt>
                <c:pt idx="151">
                  <c:v>#N/A</c:v>
                </c:pt>
                <c:pt idx="152">
                  <c:v>#N/A</c:v>
                </c:pt>
                <c:pt idx="153">
                  <c:v>#N/A</c:v>
                </c:pt>
                <c:pt idx="154">
                  <c:v>#N/A</c:v>
                </c:pt>
                <c:pt idx="155">
                  <c:v>11435.71429</c:v>
                </c:pt>
                <c:pt idx="156">
                  <c:v>#N/A</c:v>
                </c:pt>
                <c:pt idx="157">
                  <c:v>#N/A</c:v>
                </c:pt>
                <c:pt idx="158">
                  <c:v>#N/A</c:v>
                </c:pt>
                <c:pt idx="159">
                  <c:v>#N/A</c:v>
                </c:pt>
                <c:pt idx="160">
                  <c:v>#N/A</c:v>
                </c:pt>
                <c:pt idx="161">
                  <c:v>#N/A</c:v>
                </c:pt>
                <c:pt idx="162">
                  <c:v>12050</c:v>
                </c:pt>
                <c:pt idx="163">
                  <c:v>#N/A</c:v>
                </c:pt>
                <c:pt idx="164">
                  <c:v>#N/A</c:v>
                </c:pt>
                <c:pt idx="165">
                  <c:v>#N/A</c:v>
                </c:pt>
                <c:pt idx="166">
                  <c:v>#N/A</c:v>
                </c:pt>
                <c:pt idx="167">
                  <c:v>#N/A</c:v>
                </c:pt>
                <c:pt idx="168">
                  <c:v>#N/A</c:v>
                </c:pt>
                <c:pt idx="169">
                  <c:v>15050</c:v>
                </c:pt>
                <c:pt idx="170">
                  <c:v>#N/A</c:v>
                </c:pt>
                <c:pt idx="171">
                  <c:v>#N/A</c:v>
                </c:pt>
                <c:pt idx="172">
                  <c:v>#N/A</c:v>
                </c:pt>
                <c:pt idx="173">
                  <c:v>#N/A</c:v>
                </c:pt>
                <c:pt idx="174">
                  <c:v>#N/A</c:v>
                </c:pt>
                <c:pt idx="175">
                  <c:v>#N/A</c:v>
                </c:pt>
                <c:pt idx="176">
                  <c:v>14900</c:v>
                </c:pt>
                <c:pt idx="177">
                  <c:v>#N/A</c:v>
                </c:pt>
                <c:pt idx="178">
                  <c:v>#N/A</c:v>
                </c:pt>
                <c:pt idx="179">
                  <c:v>#N/A</c:v>
                </c:pt>
                <c:pt idx="180">
                  <c:v>#N/A</c:v>
                </c:pt>
                <c:pt idx="181">
                  <c:v>#N/A</c:v>
                </c:pt>
                <c:pt idx="182">
                  <c:v>#N/A</c:v>
                </c:pt>
                <c:pt idx="183">
                  <c:v>14800</c:v>
                </c:pt>
                <c:pt idx="184">
                  <c:v>#N/A</c:v>
                </c:pt>
                <c:pt idx="185">
                  <c:v>#N/A</c:v>
                </c:pt>
                <c:pt idx="186">
                  <c:v>#N/A</c:v>
                </c:pt>
                <c:pt idx="187">
                  <c:v>#N/A</c:v>
                </c:pt>
                <c:pt idx="188">
                  <c:v>#N/A</c:v>
                </c:pt>
                <c:pt idx="189">
                  <c:v>#N/A</c:v>
                </c:pt>
                <c:pt idx="190">
                  <c:v>14800</c:v>
                </c:pt>
                <c:pt idx="191">
                  <c:v>#N/A</c:v>
                </c:pt>
                <c:pt idx="192">
                  <c:v>#N/A</c:v>
                </c:pt>
                <c:pt idx="193">
                  <c:v>#N/A</c:v>
                </c:pt>
                <c:pt idx="194">
                  <c:v>#N/A</c:v>
                </c:pt>
                <c:pt idx="195">
                  <c:v>#N/A</c:v>
                </c:pt>
                <c:pt idx="196">
                  <c:v>#N/A</c:v>
                </c:pt>
                <c:pt idx="197">
                  <c:v>14700</c:v>
                </c:pt>
                <c:pt idx="198">
                  <c:v>#N/A</c:v>
                </c:pt>
                <c:pt idx="199">
                  <c:v>#N/A</c:v>
                </c:pt>
                <c:pt idx="200">
                  <c:v>#N/A</c:v>
                </c:pt>
                <c:pt idx="201">
                  <c:v>#N/A</c:v>
                </c:pt>
                <c:pt idx="202">
                  <c:v>#N/A</c:v>
                </c:pt>
                <c:pt idx="203">
                  <c:v>#N/A</c:v>
                </c:pt>
                <c:pt idx="204">
                  <c:v>14700</c:v>
                </c:pt>
                <c:pt idx="205">
                  <c:v>#N/A</c:v>
                </c:pt>
                <c:pt idx="206">
                  <c:v>#N/A</c:v>
                </c:pt>
                <c:pt idx="207">
                  <c:v>#N/A</c:v>
                </c:pt>
                <c:pt idx="208">
                  <c:v>#N/A</c:v>
                </c:pt>
                <c:pt idx="209">
                  <c:v>#N/A</c:v>
                </c:pt>
                <c:pt idx="210">
                  <c:v>#N/A</c:v>
                </c:pt>
                <c:pt idx="211">
                  <c:v>14500</c:v>
                </c:pt>
                <c:pt idx="212">
                  <c:v>#N/A</c:v>
                </c:pt>
                <c:pt idx="213">
                  <c:v>#N/A</c:v>
                </c:pt>
                <c:pt idx="214">
                  <c:v>#N/A</c:v>
                </c:pt>
                <c:pt idx="215">
                  <c:v>#N/A</c:v>
                </c:pt>
                <c:pt idx="216">
                  <c:v>#N/A</c:v>
                </c:pt>
                <c:pt idx="217">
                  <c:v>#N/A</c:v>
                </c:pt>
                <c:pt idx="218">
                  <c:v>14328.57143</c:v>
                </c:pt>
                <c:pt idx="219">
                  <c:v>#N/A</c:v>
                </c:pt>
                <c:pt idx="220">
                  <c:v>#N/A</c:v>
                </c:pt>
                <c:pt idx="221">
                  <c:v>#N/A</c:v>
                </c:pt>
                <c:pt idx="222">
                  <c:v>#N/A</c:v>
                </c:pt>
                <c:pt idx="223">
                  <c:v>#N/A</c:v>
                </c:pt>
                <c:pt idx="224">
                  <c:v>#N/A</c:v>
                </c:pt>
                <c:pt idx="225">
                  <c:v>13964.28571</c:v>
                </c:pt>
                <c:pt idx="226">
                  <c:v>#N/A</c:v>
                </c:pt>
                <c:pt idx="227">
                  <c:v>#N/A</c:v>
                </c:pt>
                <c:pt idx="228">
                  <c:v>#N/A</c:v>
                </c:pt>
                <c:pt idx="229">
                  <c:v>#N/A</c:v>
                </c:pt>
                <c:pt idx="230">
                  <c:v>#N/A</c:v>
                </c:pt>
                <c:pt idx="231">
                  <c:v>#N/A</c:v>
                </c:pt>
                <c:pt idx="232">
                  <c:v>15880</c:v>
                </c:pt>
                <c:pt idx="233">
                  <c:v>#N/A</c:v>
                </c:pt>
                <c:pt idx="234">
                  <c:v>#N/A</c:v>
                </c:pt>
                <c:pt idx="235">
                  <c:v>#N/A</c:v>
                </c:pt>
                <c:pt idx="236">
                  <c:v>#N/A</c:v>
                </c:pt>
                <c:pt idx="237">
                  <c:v>#N/A</c:v>
                </c:pt>
                <c:pt idx="238">
                  <c:v>#N/A</c:v>
                </c:pt>
                <c:pt idx="239">
                  <c:v>15000</c:v>
                </c:pt>
                <c:pt idx="240">
                  <c:v>#N/A</c:v>
                </c:pt>
                <c:pt idx="241">
                  <c:v>#N/A</c:v>
                </c:pt>
                <c:pt idx="242">
                  <c:v>#N/A</c:v>
                </c:pt>
                <c:pt idx="243">
                  <c:v>#N/A</c:v>
                </c:pt>
                <c:pt idx="244">
                  <c:v>#N/A</c:v>
                </c:pt>
                <c:pt idx="245">
                  <c:v>#N/A</c:v>
                </c:pt>
                <c:pt idx="246">
                  <c:v>15500</c:v>
                </c:pt>
                <c:pt idx="247">
                  <c:v>#N/A</c:v>
                </c:pt>
                <c:pt idx="248">
                  <c:v>#N/A</c:v>
                </c:pt>
                <c:pt idx="249">
                  <c:v>#N/A</c:v>
                </c:pt>
                <c:pt idx="250">
                  <c:v>#N/A</c:v>
                </c:pt>
                <c:pt idx="251">
                  <c:v>#N/A</c:v>
                </c:pt>
                <c:pt idx="252">
                  <c:v>#N/A</c:v>
                </c:pt>
                <c:pt idx="253">
                  <c:v>14500</c:v>
                </c:pt>
                <c:pt idx="254">
                  <c:v>#N/A</c:v>
                </c:pt>
                <c:pt idx="255">
                  <c:v>#N/A</c:v>
                </c:pt>
                <c:pt idx="256">
                  <c:v>#N/A</c:v>
                </c:pt>
                <c:pt idx="257">
                  <c:v>#N/A</c:v>
                </c:pt>
                <c:pt idx="258">
                  <c:v>#N/A</c:v>
                </c:pt>
                <c:pt idx="259">
                  <c:v>#N/A</c:v>
                </c:pt>
                <c:pt idx="260">
                  <c:v>11625</c:v>
                </c:pt>
                <c:pt idx="261">
                  <c:v>#N/A</c:v>
                </c:pt>
                <c:pt idx="262">
                  <c:v>#N/A</c:v>
                </c:pt>
                <c:pt idx="263">
                  <c:v>#N/A</c:v>
                </c:pt>
                <c:pt idx="264">
                  <c:v>#N/A</c:v>
                </c:pt>
                <c:pt idx="265">
                  <c:v>#N/A</c:v>
                </c:pt>
                <c:pt idx="266">
                  <c:v>#N/A</c:v>
                </c:pt>
                <c:pt idx="267">
                  <c:v>10500</c:v>
                </c:pt>
                <c:pt idx="268">
                  <c:v>#N/A</c:v>
                </c:pt>
                <c:pt idx="269">
                  <c:v>#N/A</c:v>
                </c:pt>
                <c:pt idx="270">
                  <c:v>#N/A</c:v>
                </c:pt>
                <c:pt idx="271">
                  <c:v>#N/A</c:v>
                </c:pt>
                <c:pt idx="272">
                  <c:v>#N/A</c:v>
                </c:pt>
                <c:pt idx="273">
                  <c:v>#N/A</c:v>
                </c:pt>
                <c:pt idx="274">
                  <c:v>18248.57143</c:v>
                </c:pt>
                <c:pt idx="275">
                  <c:v>#N/A</c:v>
                </c:pt>
                <c:pt idx="276">
                  <c:v>#N/A</c:v>
                </c:pt>
                <c:pt idx="277">
                  <c:v>#N/A</c:v>
                </c:pt>
                <c:pt idx="278">
                  <c:v>#N/A</c:v>
                </c:pt>
                <c:pt idx="279">
                  <c:v>#N/A</c:v>
                </c:pt>
                <c:pt idx="280">
                  <c:v>#N/A</c:v>
                </c:pt>
                <c:pt idx="281">
                  <c:v>18248.57143</c:v>
                </c:pt>
                <c:pt idx="282">
                  <c:v>#N/A</c:v>
                </c:pt>
                <c:pt idx="283">
                  <c:v>#N/A</c:v>
                </c:pt>
                <c:pt idx="284">
                  <c:v>#N/A</c:v>
                </c:pt>
                <c:pt idx="285">
                  <c:v>#N/A</c:v>
                </c:pt>
                <c:pt idx="286">
                  <c:v>#N/A</c:v>
                </c:pt>
                <c:pt idx="287">
                  <c:v>#N/A</c:v>
                </c:pt>
                <c:pt idx="288">
                  <c:v>18212.85714</c:v>
                </c:pt>
                <c:pt idx="289">
                  <c:v>#N/A</c:v>
                </c:pt>
                <c:pt idx="290">
                  <c:v>#N/A</c:v>
                </c:pt>
                <c:pt idx="291">
                  <c:v>#N/A</c:v>
                </c:pt>
                <c:pt idx="292">
                  <c:v>#N/A</c:v>
                </c:pt>
                <c:pt idx="293">
                  <c:v>#N/A</c:v>
                </c:pt>
                <c:pt idx="294">
                  <c:v>#N/A</c:v>
                </c:pt>
                <c:pt idx="295">
                  <c:v>18620.57143</c:v>
                </c:pt>
                <c:pt idx="296">
                  <c:v>#N/A</c:v>
                </c:pt>
                <c:pt idx="297">
                  <c:v>#N/A</c:v>
                </c:pt>
                <c:pt idx="298">
                  <c:v>#N/A</c:v>
                </c:pt>
                <c:pt idx="299">
                  <c:v>#N/A</c:v>
                </c:pt>
                <c:pt idx="300">
                  <c:v>#N/A</c:v>
                </c:pt>
                <c:pt idx="301">
                  <c:v>#N/A</c:v>
                </c:pt>
                <c:pt idx="302">
                  <c:v>13477.71429</c:v>
                </c:pt>
                <c:pt idx="303">
                  <c:v>#N/A</c:v>
                </c:pt>
                <c:pt idx="304">
                  <c:v>#N/A</c:v>
                </c:pt>
                <c:pt idx="305">
                  <c:v>#N/A</c:v>
                </c:pt>
                <c:pt idx="306">
                  <c:v>#N/A</c:v>
                </c:pt>
                <c:pt idx="307">
                  <c:v>#N/A</c:v>
                </c:pt>
                <c:pt idx="308">
                  <c:v>#N/A</c:v>
                </c:pt>
                <c:pt idx="309">
                  <c:v>8785.7142899999999</c:v>
                </c:pt>
                <c:pt idx="310">
                  <c:v>#N/A</c:v>
                </c:pt>
                <c:pt idx="311">
                  <c:v>#N/A</c:v>
                </c:pt>
                <c:pt idx="312">
                  <c:v>#N/A</c:v>
                </c:pt>
                <c:pt idx="313">
                  <c:v>#N/A</c:v>
                </c:pt>
                <c:pt idx="314">
                  <c:v>#N/A</c:v>
                </c:pt>
                <c:pt idx="315">
                  <c:v>#N/A</c:v>
                </c:pt>
                <c:pt idx="316">
                  <c:v>5000</c:v>
                </c:pt>
                <c:pt idx="317">
                  <c:v>#N/A</c:v>
                </c:pt>
                <c:pt idx="318">
                  <c:v>#N/A</c:v>
                </c:pt>
                <c:pt idx="319">
                  <c:v>#N/A</c:v>
                </c:pt>
                <c:pt idx="320">
                  <c:v>#N/A</c:v>
                </c:pt>
                <c:pt idx="321">
                  <c:v>#N/A</c:v>
                </c:pt>
                <c:pt idx="322">
                  <c:v>#N/A</c:v>
                </c:pt>
                <c:pt idx="323">
                  <c:v>4921.42857</c:v>
                </c:pt>
                <c:pt idx="324">
                  <c:v>#N/A</c:v>
                </c:pt>
                <c:pt idx="325">
                  <c:v>#N/A</c:v>
                </c:pt>
                <c:pt idx="326">
                  <c:v>#N/A</c:v>
                </c:pt>
                <c:pt idx="327">
                  <c:v>#N/A</c:v>
                </c:pt>
                <c:pt idx="328">
                  <c:v>#N/A</c:v>
                </c:pt>
                <c:pt idx="329">
                  <c:v>#N/A</c:v>
                </c:pt>
                <c:pt idx="330">
                  <c:v>5950</c:v>
                </c:pt>
                <c:pt idx="331">
                  <c:v>#N/A</c:v>
                </c:pt>
                <c:pt idx="332">
                  <c:v>#N/A</c:v>
                </c:pt>
                <c:pt idx="333">
                  <c:v>#N/A</c:v>
                </c:pt>
                <c:pt idx="334">
                  <c:v>#N/A</c:v>
                </c:pt>
                <c:pt idx="335">
                  <c:v>#N/A</c:v>
                </c:pt>
                <c:pt idx="336">
                  <c:v>#N/A</c:v>
                </c:pt>
                <c:pt idx="337">
                  <c:v>5114.2857100000001</c:v>
                </c:pt>
                <c:pt idx="338">
                  <c:v>#N/A</c:v>
                </c:pt>
                <c:pt idx="339">
                  <c:v>#N/A</c:v>
                </c:pt>
                <c:pt idx="340">
                  <c:v>#N/A</c:v>
                </c:pt>
                <c:pt idx="341">
                  <c:v>#N/A</c:v>
                </c:pt>
                <c:pt idx="342">
                  <c:v>#N/A</c:v>
                </c:pt>
                <c:pt idx="343">
                  <c:v>#N/A</c:v>
                </c:pt>
                <c:pt idx="344">
                  <c:v>4871.42857</c:v>
                </c:pt>
                <c:pt idx="345">
                  <c:v>#N/A</c:v>
                </c:pt>
                <c:pt idx="346">
                  <c:v>#N/A</c:v>
                </c:pt>
                <c:pt idx="347">
                  <c:v>#N/A</c:v>
                </c:pt>
                <c:pt idx="348">
                  <c:v>#N/A</c:v>
                </c:pt>
                <c:pt idx="349">
                  <c:v>#N/A</c:v>
                </c:pt>
                <c:pt idx="350">
                  <c:v>#N/A</c:v>
                </c:pt>
                <c:pt idx="351">
                  <c:v>2607.1428599999999</c:v>
                </c:pt>
                <c:pt idx="352">
                  <c:v>#N/A</c:v>
                </c:pt>
                <c:pt idx="353">
                  <c:v>#N/A</c:v>
                </c:pt>
                <c:pt idx="354">
                  <c:v>#N/A</c:v>
                </c:pt>
                <c:pt idx="355">
                  <c:v>#N/A</c:v>
                </c:pt>
                <c:pt idx="356">
                  <c:v>#N/A</c:v>
                </c:pt>
                <c:pt idx="357">
                  <c:v>#N/A</c:v>
                </c:pt>
                <c:pt idx="358">
                  <c:v>4035.7142899999999</c:v>
                </c:pt>
                <c:pt idx="359">
                  <c:v>#N/A</c:v>
                </c:pt>
                <c:pt idx="360">
                  <c:v>#N/A</c:v>
                </c:pt>
                <c:pt idx="361">
                  <c:v>#N/A</c:v>
                </c:pt>
                <c:pt idx="362">
                  <c:v>#N/A</c:v>
                </c:pt>
                <c:pt idx="363">
                  <c:v>#N/A</c:v>
                </c:pt>
                <c:pt idx="364">
                  <c:v>#N/A</c:v>
                </c:pt>
                <c:pt idx="365">
                  <c:v>6428.57143</c:v>
                </c:pt>
              </c:numCache>
            </c:numRef>
          </c:val>
          <c:smooth val="0"/>
          <c:extLst>
            <c:ext xmlns:c16="http://schemas.microsoft.com/office/drawing/2014/chart" uri="{C3380CC4-5D6E-409C-BE32-E72D297353CC}">
              <c16:uniqueId val="{00000001-0D4C-439F-A557-FB61B0A55CBD}"/>
            </c:ext>
          </c:extLst>
        </c:ser>
        <c:ser>
          <c:idx val="2"/>
          <c:order val="1"/>
          <c:tx>
            <c:strRef>
              <c:f>有机硅开工!$Z$2</c:f>
              <c:strCache>
                <c:ptCount val="1"/>
                <c:pt idx="0">
                  <c:v>2022</c:v>
                </c:pt>
              </c:strCache>
            </c:strRef>
          </c:tx>
          <c:spPr>
            <a:ln w="19050" cap="rnd">
              <a:solidFill>
                <a:schemeClr val="bg1">
                  <a:lumMod val="75000"/>
                </a:schemeClr>
              </a:solidFill>
              <a:round/>
            </a:ln>
            <a:effectLst/>
          </c:spPr>
          <c:marker>
            <c:symbol val="none"/>
          </c:marker>
          <c:cat>
            <c:strRef>
              <c:f>有机硅开工!$W$3:$W$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Z$3:$Z$368</c:f>
              <c:numCache>
                <c:formatCode>General</c:formatCode>
                <c:ptCount val="366"/>
                <c:pt idx="0">
                  <c:v>#N/A</c:v>
                </c:pt>
                <c:pt idx="1">
                  <c:v>#N/A</c:v>
                </c:pt>
                <c:pt idx="2">
                  <c:v>#N/A</c:v>
                </c:pt>
                <c:pt idx="3">
                  <c:v>#N/A</c:v>
                </c:pt>
                <c:pt idx="4">
                  <c:v>#N/A</c:v>
                </c:pt>
                <c:pt idx="5">
                  <c:v>#N/A</c:v>
                </c:pt>
                <c:pt idx="6">
                  <c:v>7542.8571400000001</c:v>
                </c:pt>
                <c:pt idx="7">
                  <c:v>#N/A</c:v>
                </c:pt>
                <c:pt idx="8">
                  <c:v>#N/A</c:v>
                </c:pt>
                <c:pt idx="9">
                  <c:v>#N/A</c:v>
                </c:pt>
                <c:pt idx="10">
                  <c:v>#N/A</c:v>
                </c:pt>
                <c:pt idx="11">
                  <c:v>#N/A</c:v>
                </c:pt>
                <c:pt idx="12">
                  <c:v>#N/A</c:v>
                </c:pt>
                <c:pt idx="13">
                  <c:v>10557.14286</c:v>
                </c:pt>
                <c:pt idx="14">
                  <c:v>#N/A</c:v>
                </c:pt>
                <c:pt idx="15">
                  <c:v>#N/A</c:v>
                </c:pt>
                <c:pt idx="16">
                  <c:v>#N/A</c:v>
                </c:pt>
                <c:pt idx="17">
                  <c:v>#N/A</c:v>
                </c:pt>
                <c:pt idx="18">
                  <c:v>#N/A</c:v>
                </c:pt>
                <c:pt idx="19">
                  <c:v>#N/A</c:v>
                </c:pt>
                <c:pt idx="20">
                  <c:v>12007.14286</c:v>
                </c:pt>
                <c:pt idx="21">
                  <c:v>#N/A</c:v>
                </c:pt>
                <c:pt idx="22">
                  <c:v>#N/A</c:v>
                </c:pt>
                <c:pt idx="23">
                  <c:v>#N/A</c:v>
                </c:pt>
                <c:pt idx="24">
                  <c:v>#N/A</c:v>
                </c:pt>
                <c:pt idx="25">
                  <c:v>#N/A</c:v>
                </c:pt>
                <c:pt idx="26">
                  <c:v>#N/A</c:v>
                </c:pt>
                <c:pt idx="27">
                  <c:v>11907.14286</c:v>
                </c:pt>
                <c:pt idx="28">
                  <c:v>#N/A</c:v>
                </c:pt>
                <c:pt idx="29">
                  <c:v>#N/A</c:v>
                </c:pt>
                <c:pt idx="30">
                  <c:v>#N/A</c:v>
                </c:pt>
                <c:pt idx="31">
                  <c:v>#N/A</c:v>
                </c:pt>
                <c:pt idx="32">
                  <c:v>#N/A</c:v>
                </c:pt>
                <c:pt idx="33">
                  <c:v>#N/A</c:v>
                </c:pt>
                <c:pt idx="34">
                  <c:v>11764.28571</c:v>
                </c:pt>
                <c:pt idx="35">
                  <c:v>#N/A</c:v>
                </c:pt>
                <c:pt idx="36">
                  <c:v>#N/A</c:v>
                </c:pt>
                <c:pt idx="37">
                  <c:v>#N/A</c:v>
                </c:pt>
                <c:pt idx="38">
                  <c:v>#N/A</c:v>
                </c:pt>
                <c:pt idx="39">
                  <c:v>#N/A</c:v>
                </c:pt>
                <c:pt idx="40">
                  <c:v>#N/A</c:v>
                </c:pt>
                <c:pt idx="41">
                  <c:v>11766.666670000001</c:v>
                </c:pt>
                <c:pt idx="42">
                  <c:v>#N/A</c:v>
                </c:pt>
                <c:pt idx="43">
                  <c:v>#N/A</c:v>
                </c:pt>
                <c:pt idx="44">
                  <c:v>#N/A</c:v>
                </c:pt>
                <c:pt idx="45">
                  <c:v>#N/A</c:v>
                </c:pt>
                <c:pt idx="46">
                  <c:v>#N/A</c:v>
                </c:pt>
                <c:pt idx="47">
                  <c:v>#N/A</c:v>
                </c:pt>
                <c:pt idx="48">
                  <c:v>12750</c:v>
                </c:pt>
                <c:pt idx="49">
                  <c:v>#N/A</c:v>
                </c:pt>
                <c:pt idx="50">
                  <c:v>#N/A</c:v>
                </c:pt>
                <c:pt idx="51">
                  <c:v>#N/A</c:v>
                </c:pt>
                <c:pt idx="52">
                  <c:v>#N/A</c:v>
                </c:pt>
                <c:pt idx="53">
                  <c:v>#N/A</c:v>
                </c:pt>
                <c:pt idx="54">
                  <c:v>#N/A</c:v>
                </c:pt>
                <c:pt idx="55">
                  <c:v>15290</c:v>
                </c:pt>
                <c:pt idx="56">
                  <c:v>#N/A</c:v>
                </c:pt>
                <c:pt idx="57">
                  <c:v>#N/A</c:v>
                </c:pt>
                <c:pt idx="58">
                  <c:v>#N/A</c:v>
                </c:pt>
                <c:pt idx="60">
                  <c:v>#N/A</c:v>
                </c:pt>
                <c:pt idx="61">
                  <c:v>#N/A</c:v>
                </c:pt>
                <c:pt idx="62">
                  <c:v>#N/A</c:v>
                </c:pt>
                <c:pt idx="63">
                  <c:v>16566.666669999999</c:v>
                </c:pt>
                <c:pt idx="64">
                  <c:v>#N/A</c:v>
                </c:pt>
                <c:pt idx="65">
                  <c:v>#N/A</c:v>
                </c:pt>
                <c:pt idx="66">
                  <c:v>#N/A</c:v>
                </c:pt>
                <c:pt idx="67">
                  <c:v>#N/A</c:v>
                </c:pt>
                <c:pt idx="68">
                  <c:v>#N/A</c:v>
                </c:pt>
                <c:pt idx="69">
                  <c:v>#N/A</c:v>
                </c:pt>
                <c:pt idx="70">
                  <c:v>17666.666669999999</c:v>
                </c:pt>
                <c:pt idx="71">
                  <c:v>#N/A</c:v>
                </c:pt>
                <c:pt idx="72">
                  <c:v>#N/A</c:v>
                </c:pt>
                <c:pt idx="73">
                  <c:v>#N/A</c:v>
                </c:pt>
                <c:pt idx="74">
                  <c:v>#N/A</c:v>
                </c:pt>
                <c:pt idx="75">
                  <c:v>#N/A</c:v>
                </c:pt>
                <c:pt idx="76">
                  <c:v>#N/A</c:v>
                </c:pt>
                <c:pt idx="77">
                  <c:v>17375</c:v>
                </c:pt>
                <c:pt idx="78">
                  <c:v>#N/A</c:v>
                </c:pt>
                <c:pt idx="79">
                  <c:v>#N/A</c:v>
                </c:pt>
                <c:pt idx="80">
                  <c:v>#N/A</c:v>
                </c:pt>
                <c:pt idx="81">
                  <c:v>#N/A</c:v>
                </c:pt>
                <c:pt idx="82">
                  <c:v>#N/A</c:v>
                </c:pt>
                <c:pt idx="83">
                  <c:v>#N/A</c:v>
                </c:pt>
                <c:pt idx="84">
                  <c:v>11500</c:v>
                </c:pt>
                <c:pt idx="85">
                  <c:v>#N/A</c:v>
                </c:pt>
                <c:pt idx="86">
                  <c:v>#N/A</c:v>
                </c:pt>
                <c:pt idx="87">
                  <c:v>#N/A</c:v>
                </c:pt>
                <c:pt idx="88">
                  <c:v>#N/A</c:v>
                </c:pt>
                <c:pt idx="89">
                  <c:v>#N/A</c:v>
                </c:pt>
                <c:pt idx="90">
                  <c:v>#N/A</c:v>
                </c:pt>
                <c:pt idx="91">
                  <c:v>6781.25</c:v>
                </c:pt>
                <c:pt idx="92">
                  <c:v>#N/A</c:v>
                </c:pt>
                <c:pt idx="93">
                  <c:v>#N/A</c:v>
                </c:pt>
                <c:pt idx="94">
                  <c:v>#N/A</c:v>
                </c:pt>
                <c:pt idx="95">
                  <c:v>#N/A</c:v>
                </c:pt>
                <c:pt idx="96">
                  <c:v>#N/A</c:v>
                </c:pt>
                <c:pt idx="97">
                  <c:v>#N/A</c:v>
                </c:pt>
                <c:pt idx="98">
                  <c:v>6487.5</c:v>
                </c:pt>
                <c:pt idx="99">
                  <c:v>#N/A</c:v>
                </c:pt>
                <c:pt idx="100">
                  <c:v>#N/A</c:v>
                </c:pt>
                <c:pt idx="101">
                  <c:v>#N/A</c:v>
                </c:pt>
                <c:pt idx="102">
                  <c:v>#N/A</c:v>
                </c:pt>
                <c:pt idx="103">
                  <c:v>#N/A</c:v>
                </c:pt>
                <c:pt idx="104">
                  <c:v>#N/A</c:v>
                </c:pt>
                <c:pt idx="105">
                  <c:v>7500</c:v>
                </c:pt>
                <c:pt idx="106">
                  <c:v>#N/A</c:v>
                </c:pt>
                <c:pt idx="107">
                  <c:v>#N/A</c:v>
                </c:pt>
                <c:pt idx="108">
                  <c:v>#N/A</c:v>
                </c:pt>
                <c:pt idx="109">
                  <c:v>#N/A</c:v>
                </c:pt>
                <c:pt idx="110">
                  <c:v>#N/A</c:v>
                </c:pt>
                <c:pt idx="111">
                  <c:v>#N/A</c:v>
                </c:pt>
                <c:pt idx="112">
                  <c:v>7500</c:v>
                </c:pt>
                <c:pt idx="113">
                  <c:v>#N/A</c:v>
                </c:pt>
                <c:pt idx="114">
                  <c:v>#N/A</c:v>
                </c:pt>
                <c:pt idx="115">
                  <c:v>#N/A</c:v>
                </c:pt>
                <c:pt idx="116">
                  <c:v>#N/A</c:v>
                </c:pt>
                <c:pt idx="117">
                  <c:v>#N/A</c:v>
                </c:pt>
                <c:pt idx="118">
                  <c:v>#N/A</c:v>
                </c:pt>
                <c:pt idx="119">
                  <c:v>8000</c:v>
                </c:pt>
                <c:pt idx="120">
                  <c:v>#N/A</c:v>
                </c:pt>
                <c:pt idx="121">
                  <c:v>#N/A</c:v>
                </c:pt>
                <c:pt idx="122">
                  <c:v>#N/A</c:v>
                </c:pt>
                <c:pt idx="123">
                  <c:v>#N/A</c:v>
                </c:pt>
                <c:pt idx="124">
                  <c:v>#N/A</c:v>
                </c:pt>
                <c:pt idx="125">
                  <c:v>#N/A</c:v>
                </c:pt>
                <c:pt idx="126">
                  <c:v>7031.25</c:v>
                </c:pt>
                <c:pt idx="127">
                  <c:v>#N/A</c:v>
                </c:pt>
                <c:pt idx="128">
                  <c:v>#N/A</c:v>
                </c:pt>
                <c:pt idx="129">
                  <c:v>#N/A</c:v>
                </c:pt>
                <c:pt idx="130">
                  <c:v>#N/A</c:v>
                </c:pt>
                <c:pt idx="131">
                  <c:v>#N/A</c:v>
                </c:pt>
                <c:pt idx="132">
                  <c:v>#N/A</c:v>
                </c:pt>
                <c:pt idx="133">
                  <c:v>7031.25</c:v>
                </c:pt>
                <c:pt idx="134">
                  <c:v>#N/A</c:v>
                </c:pt>
                <c:pt idx="135">
                  <c:v>#N/A</c:v>
                </c:pt>
                <c:pt idx="136">
                  <c:v>#N/A</c:v>
                </c:pt>
                <c:pt idx="137">
                  <c:v>#N/A</c:v>
                </c:pt>
                <c:pt idx="138">
                  <c:v>#N/A</c:v>
                </c:pt>
                <c:pt idx="139">
                  <c:v>#N/A</c:v>
                </c:pt>
                <c:pt idx="140">
                  <c:v>6587.5</c:v>
                </c:pt>
                <c:pt idx="141">
                  <c:v>#N/A</c:v>
                </c:pt>
                <c:pt idx="142">
                  <c:v>#N/A</c:v>
                </c:pt>
                <c:pt idx="143">
                  <c:v>#N/A</c:v>
                </c:pt>
                <c:pt idx="144">
                  <c:v>#N/A</c:v>
                </c:pt>
                <c:pt idx="145">
                  <c:v>#N/A</c:v>
                </c:pt>
                <c:pt idx="146">
                  <c:v>#N/A</c:v>
                </c:pt>
                <c:pt idx="147">
                  <c:v>5281.25</c:v>
                </c:pt>
                <c:pt idx="148">
                  <c:v>#N/A</c:v>
                </c:pt>
                <c:pt idx="149">
                  <c:v>#N/A</c:v>
                </c:pt>
                <c:pt idx="150">
                  <c:v>#N/A</c:v>
                </c:pt>
                <c:pt idx="151">
                  <c:v>#N/A</c:v>
                </c:pt>
                <c:pt idx="152">
                  <c:v>#N/A</c:v>
                </c:pt>
                <c:pt idx="153">
                  <c:v>#N/A</c:v>
                </c:pt>
                <c:pt idx="154">
                  <c:v>3762.5</c:v>
                </c:pt>
                <c:pt idx="155">
                  <c:v>#N/A</c:v>
                </c:pt>
                <c:pt idx="156">
                  <c:v>#N/A</c:v>
                </c:pt>
                <c:pt idx="157">
                  <c:v>#N/A</c:v>
                </c:pt>
                <c:pt idx="158">
                  <c:v>#N/A</c:v>
                </c:pt>
                <c:pt idx="159">
                  <c:v>#N/A</c:v>
                </c:pt>
                <c:pt idx="160">
                  <c:v>#N/A</c:v>
                </c:pt>
                <c:pt idx="161">
                  <c:v>3543.75</c:v>
                </c:pt>
                <c:pt idx="162">
                  <c:v>#N/A</c:v>
                </c:pt>
                <c:pt idx="163">
                  <c:v>#N/A</c:v>
                </c:pt>
                <c:pt idx="164">
                  <c:v>#N/A</c:v>
                </c:pt>
                <c:pt idx="165">
                  <c:v>#N/A</c:v>
                </c:pt>
                <c:pt idx="166">
                  <c:v>#N/A</c:v>
                </c:pt>
                <c:pt idx="167">
                  <c:v>#N/A</c:v>
                </c:pt>
                <c:pt idx="168">
                  <c:v>4650</c:v>
                </c:pt>
                <c:pt idx="169">
                  <c:v>#N/A</c:v>
                </c:pt>
                <c:pt idx="170">
                  <c:v>#N/A</c:v>
                </c:pt>
                <c:pt idx="171">
                  <c:v>#N/A</c:v>
                </c:pt>
                <c:pt idx="172">
                  <c:v>#N/A</c:v>
                </c:pt>
                <c:pt idx="173">
                  <c:v>#N/A</c:v>
                </c:pt>
                <c:pt idx="174">
                  <c:v>#N/A</c:v>
                </c:pt>
                <c:pt idx="175">
                  <c:v>2575</c:v>
                </c:pt>
                <c:pt idx="176">
                  <c:v>#N/A</c:v>
                </c:pt>
                <c:pt idx="177">
                  <c:v>#N/A</c:v>
                </c:pt>
                <c:pt idx="178">
                  <c:v>#N/A</c:v>
                </c:pt>
                <c:pt idx="179">
                  <c:v>#N/A</c:v>
                </c:pt>
                <c:pt idx="180">
                  <c:v>#N/A</c:v>
                </c:pt>
                <c:pt idx="181">
                  <c:v>#N/A</c:v>
                </c:pt>
                <c:pt idx="182">
                  <c:v>2368.75</c:v>
                </c:pt>
                <c:pt idx="183">
                  <c:v>#N/A</c:v>
                </c:pt>
                <c:pt idx="184">
                  <c:v>#N/A</c:v>
                </c:pt>
                <c:pt idx="185">
                  <c:v>#N/A</c:v>
                </c:pt>
                <c:pt idx="186">
                  <c:v>#N/A</c:v>
                </c:pt>
                <c:pt idx="187">
                  <c:v>#N/A</c:v>
                </c:pt>
                <c:pt idx="188">
                  <c:v>#N/A</c:v>
                </c:pt>
                <c:pt idx="189">
                  <c:v>2856.25</c:v>
                </c:pt>
                <c:pt idx="190">
                  <c:v>#N/A</c:v>
                </c:pt>
                <c:pt idx="191">
                  <c:v>#N/A</c:v>
                </c:pt>
                <c:pt idx="192">
                  <c:v>#N/A</c:v>
                </c:pt>
                <c:pt idx="193">
                  <c:v>#N/A</c:v>
                </c:pt>
                <c:pt idx="194">
                  <c:v>#N/A</c:v>
                </c:pt>
                <c:pt idx="195">
                  <c:v>#N/A</c:v>
                </c:pt>
                <c:pt idx="196">
                  <c:v>3475</c:v>
                </c:pt>
                <c:pt idx="197">
                  <c:v>#N/A</c:v>
                </c:pt>
                <c:pt idx="198">
                  <c:v>#N/A</c:v>
                </c:pt>
                <c:pt idx="199">
                  <c:v>#N/A</c:v>
                </c:pt>
                <c:pt idx="200">
                  <c:v>#N/A</c:v>
                </c:pt>
                <c:pt idx="201">
                  <c:v>#N/A</c:v>
                </c:pt>
                <c:pt idx="202">
                  <c:v>#N/A</c:v>
                </c:pt>
                <c:pt idx="203">
                  <c:v>3425</c:v>
                </c:pt>
                <c:pt idx="204">
                  <c:v>#N/A</c:v>
                </c:pt>
                <c:pt idx="205">
                  <c:v>#N/A</c:v>
                </c:pt>
                <c:pt idx="206">
                  <c:v>#N/A</c:v>
                </c:pt>
                <c:pt idx="207">
                  <c:v>#N/A</c:v>
                </c:pt>
                <c:pt idx="208">
                  <c:v>#N/A</c:v>
                </c:pt>
                <c:pt idx="209">
                  <c:v>#N/A</c:v>
                </c:pt>
                <c:pt idx="210">
                  <c:v>2831.25</c:v>
                </c:pt>
                <c:pt idx="211">
                  <c:v>#N/A</c:v>
                </c:pt>
                <c:pt idx="212">
                  <c:v>#N/A</c:v>
                </c:pt>
                <c:pt idx="213">
                  <c:v>#N/A</c:v>
                </c:pt>
                <c:pt idx="214">
                  <c:v>#N/A</c:v>
                </c:pt>
                <c:pt idx="215">
                  <c:v>#N/A</c:v>
                </c:pt>
                <c:pt idx="216">
                  <c:v>#N/A</c:v>
                </c:pt>
                <c:pt idx="217">
                  <c:v>2100</c:v>
                </c:pt>
                <c:pt idx="218">
                  <c:v>#N/A</c:v>
                </c:pt>
                <c:pt idx="219">
                  <c:v>#N/A</c:v>
                </c:pt>
                <c:pt idx="220">
                  <c:v>#N/A</c:v>
                </c:pt>
                <c:pt idx="221">
                  <c:v>#N/A</c:v>
                </c:pt>
                <c:pt idx="222">
                  <c:v>#N/A</c:v>
                </c:pt>
                <c:pt idx="223">
                  <c:v>#N/A</c:v>
                </c:pt>
                <c:pt idx="224">
                  <c:v>1393.75</c:v>
                </c:pt>
                <c:pt idx="225">
                  <c:v>#N/A</c:v>
                </c:pt>
                <c:pt idx="226">
                  <c:v>#N/A</c:v>
                </c:pt>
                <c:pt idx="227">
                  <c:v>#N/A</c:v>
                </c:pt>
                <c:pt idx="228">
                  <c:v>#N/A</c:v>
                </c:pt>
                <c:pt idx="229">
                  <c:v>#N/A</c:v>
                </c:pt>
                <c:pt idx="230">
                  <c:v>#N/A</c:v>
                </c:pt>
                <c:pt idx="231">
                  <c:v>968.75</c:v>
                </c:pt>
                <c:pt idx="232">
                  <c:v>#N/A</c:v>
                </c:pt>
                <c:pt idx="233">
                  <c:v>#N/A</c:v>
                </c:pt>
                <c:pt idx="234">
                  <c:v>#N/A</c:v>
                </c:pt>
                <c:pt idx="235">
                  <c:v>#N/A</c:v>
                </c:pt>
                <c:pt idx="236">
                  <c:v>#N/A</c:v>
                </c:pt>
                <c:pt idx="237">
                  <c:v>#N/A</c:v>
                </c:pt>
                <c:pt idx="238">
                  <c:v>1468.75</c:v>
                </c:pt>
                <c:pt idx="239">
                  <c:v>#N/A</c:v>
                </c:pt>
                <c:pt idx="240">
                  <c:v>#N/A</c:v>
                </c:pt>
                <c:pt idx="241">
                  <c:v>#N/A</c:v>
                </c:pt>
                <c:pt idx="242">
                  <c:v>#N/A</c:v>
                </c:pt>
                <c:pt idx="243">
                  <c:v>#N/A</c:v>
                </c:pt>
                <c:pt idx="244">
                  <c:v>#N/A</c:v>
                </c:pt>
                <c:pt idx="245">
                  <c:v>1037.5</c:v>
                </c:pt>
                <c:pt idx="246">
                  <c:v>#N/A</c:v>
                </c:pt>
                <c:pt idx="247">
                  <c:v>#N/A</c:v>
                </c:pt>
                <c:pt idx="248">
                  <c:v>#N/A</c:v>
                </c:pt>
                <c:pt idx="249">
                  <c:v>#N/A</c:v>
                </c:pt>
                <c:pt idx="250">
                  <c:v>#N/A</c:v>
                </c:pt>
                <c:pt idx="251">
                  <c:v>#N/A</c:v>
                </c:pt>
                <c:pt idx="252">
                  <c:v>1062.5</c:v>
                </c:pt>
                <c:pt idx="253">
                  <c:v>#N/A</c:v>
                </c:pt>
                <c:pt idx="254">
                  <c:v>#N/A</c:v>
                </c:pt>
                <c:pt idx="255">
                  <c:v>#N/A</c:v>
                </c:pt>
                <c:pt idx="256">
                  <c:v>#N/A</c:v>
                </c:pt>
                <c:pt idx="257">
                  <c:v>#N/A</c:v>
                </c:pt>
                <c:pt idx="258">
                  <c:v>#N/A</c:v>
                </c:pt>
                <c:pt idx="259">
                  <c:v>456.25</c:v>
                </c:pt>
                <c:pt idx="260">
                  <c:v>#N/A</c:v>
                </c:pt>
                <c:pt idx="261">
                  <c:v>#N/A</c:v>
                </c:pt>
                <c:pt idx="262">
                  <c:v>#N/A</c:v>
                </c:pt>
                <c:pt idx="263">
                  <c:v>#N/A</c:v>
                </c:pt>
                <c:pt idx="264">
                  <c:v>#N/A</c:v>
                </c:pt>
                <c:pt idx="265">
                  <c:v>#N/A</c:v>
                </c:pt>
                <c:pt idx="266">
                  <c:v>343.75</c:v>
                </c:pt>
                <c:pt idx="267">
                  <c:v>#N/A</c:v>
                </c:pt>
                <c:pt idx="268">
                  <c:v>#N/A</c:v>
                </c:pt>
                <c:pt idx="269">
                  <c:v>#N/A</c:v>
                </c:pt>
                <c:pt idx="270">
                  <c:v>#N/A</c:v>
                </c:pt>
                <c:pt idx="271">
                  <c:v>#N/A</c:v>
                </c:pt>
                <c:pt idx="272">
                  <c:v>#N/A</c:v>
                </c:pt>
                <c:pt idx="273">
                  <c:v>-862.5</c:v>
                </c:pt>
                <c:pt idx="274">
                  <c:v>#N/A</c:v>
                </c:pt>
                <c:pt idx="275">
                  <c:v>#N/A</c:v>
                </c:pt>
                <c:pt idx="276">
                  <c:v>#N/A</c:v>
                </c:pt>
                <c:pt idx="277">
                  <c:v>#N/A</c:v>
                </c:pt>
                <c:pt idx="278">
                  <c:v>#N/A</c:v>
                </c:pt>
                <c:pt idx="279">
                  <c:v>#N/A</c:v>
                </c:pt>
                <c:pt idx="280">
                  <c:v>-962.5</c:v>
                </c:pt>
                <c:pt idx="281">
                  <c:v>#N/A</c:v>
                </c:pt>
                <c:pt idx="282">
                  <c:v>#N/A</c:v>
                </c:pt>
                <c:pt idx="283">
                  <c:v>#N/A</c:v>
                </c:pt>
                <c:pt idx="284">
                  <c:v>#N/A</c:v>
                </c:pt>
                <c:pt idx="285">
                  <c:v>#N/A</c:v>
                </c:pt>
                <c:pt idx="286">
                  <c:v>#N/A</c:v>
                </c:pt>
                <c:pt idx="287">
                  <c:v>-1431.25</c:v>
                </c:pt>
                <c:pt idx="288">
                  <c:v>#N/A</c:v>
                </c:pt>
                <c:pt idx="289">
                  <c:v>#N/A</c:v>
                </c:pt>
                <c:pt idx="290">
                  <c:v>#N/A</c:v>
                </c:pt>
                <c:pt idx="291">
                  <c:v>#N/A</c:v>
                </c:pt>
                <c:pt idx="292">
                  <c:v>#N/A</c:v>
                </c:pt>
                <c:pt idx="293">
                  <c:v>#N/A</c:v>
                </c:pt>
                <c:pt idx="294">
                  <c:v>-1431.25</c:v>
                </c:pt>
                <c:pt idx="295">
                  <c:v>#N/A</c:v>
                </c:pt>
                <c:pt idx="296">
                  <c:v>#N/A</c:v>
                </c:pt>
                <c:pt idx="297">
                  <c:v>#N/A</c:v>
                </c:pt>
                <c:pt idx="298">
                  <c:v>#N/A</c:v>
                </c:pt>
                <c:pt idx="299">
                  <c:v>#N/A</c:v>
                </c:pt>
                <c:pt idx="300">
                  <c:v>#N/A</c:v>
                </c:pt>
                <c:pt idx="301">
                  <c:v>-1312.5</c:v>
                </c:pt>
                <c:pt idx="302">
                  <c:v>#N/A</c:v>
                </c:pt>
                <c:pt idx="303">
                  <c:v>#N/A</c:v>
                </c:pt>
                <c:pt idx="304">
                  <c:v>#N/A</c:v>
                </c:pt>
                <c:pt idx="305">
                  <c:v>#N/A</c:v>
                </c:pt>
                <c:pt idx="306">
                  <c:v>#N/A</c:v>
                </c:pt>
                <c:pt idx="307">
                  <c:v>#N/A</c:v>
                </c:pt>
                <c:pt idx="308">
                  <c:v>-1287.5</c:v>
                </c:pt>
                <c:pt idx="309">
                  <c:v>#N/A</c:v>
                </c:pt>
                <c:pt idx="310">
                  <c:v>#N/A</c:v>
                </c:pt>
                <c:pt idx="311">
                  <c:v>#N/A</c:v>
                </c:pt>
                <c:pt idx="312">
                  <c:v>#N/A</c:v>
                </c:pt>
                <c:pt idx="313">
                  <c:v>#N/A</c:v>
                </c:pt>
                <c:pt idx="314">
                  <c:v>#N/A</c:v>
                </c:pt>
                <c:pt idx="315">
                  <c:v>-1299.25</c:v>
                </c:pt>
                <c:pt idx="316">
                  <c:v>#N/A</c:v>
                </c:pt>
                <c:pt idx="317">
                  <c:v>#N/A</c:v>
                </c:pt>
                <c:pt idx="318">
                  <c:v>#N/A</c:v>
                </c:pt>
                <c:pt idx="319">
                  <c:v>#N/A</c:v>
                </c:pt>
                <c:pt idx="320">
                  <c:v>#N/A</c:v>
                </c:pt>
                <c:pt idx="321">
                  <c:v>#N/A</c:v>
                </c:pt>
                <c:pt idx="322">
                  <c:v>-968.75</c:v>
                </c:pt>
                <c:pt idx="323">
                  <c:v>#N/A</c:v>
                </c:pt>
                <c:pt idx="324">
                  <c:v>#N/A</c:v>
                </c:pt>
                <c:pt idx="325">
                  <c:v>#N/A</c:v>
                </c:pt>
                <c:pt idx="326">
                  <c:v>#N/A</c:v>
                </c:pt>
                <c:pt idx="327">
                  <c:v>#N/A</c:v>
                </c:pt>
                <c:pt idx="328">
                  <c:v>#N/A</c:v>
                </c:pt>
                <c:pt idx="329">
                  <c:v>-1256.25</c:v>
                </c:pt>
                <c:pt idx="330">
                  <c:v>#N/A</c:v>
                </c:pt>
                <c:pt idx="331">
                  <c:v>#N/A</c:v>
                </c:pt>
                <c:pt idx="332">
                  <c:v>#N/A</c:v>
                </c:pt>
                <c:pt idx="333">
                  <c:v>#N/A</c:v>
                </c:pt>
                <c:pt idx="334">
                  <c:v>#N/A</c:v>
                </c:pt>
                <c:pt idx="335">
                  <c:v>#N/A</c:v>
                </c:pt>
                <c:pt idx="336">
                  <c:v>-1025</c:v>
                </c:pt>
                <c:pt idx="337">
                  <c:v>#N/A</c:v>
                </c:pt>
                <c:pt idx="338">
                  <c:v>#N/A</c:v>
                </c:pt>
                <c:pt idx="339">
                  <c:v>#N/A</c:v>
                </c:pt>
                <c:pt idx="340">
                  <c:v>#N/A</c:v>
                </c:pt>
                <c:pt idx="341">
                  <c:v>#N/A</c:v>
                </c:pt>
                <c:pt idx="342">
                  <c:v>#N/A</c:v>
                </c:pt>
                <c:pt idx="343">
                  <c:v>-1000</c:v>
                </c:pt>
                <c:pt idx="344">
                  <c:v>#N/A</c:v>
                </c:pt>
                <c:pt idx="345">
                  <c:v>#N/A</c:v>
                </c:pt>
                <c:pt idx="346">
                  <c:v>#N/A</c:v>
                </c:pt>
                <c:pt idx="347">
                  <c:v>#N/A</c:v>
                </c:pt>
                <c:pt idx="348">
                  <c:v>#N/A</c:v>
                </c:pt>
                <c:pt idx="349">
                  <c:v>#N/A</c:v>
                </c:pt>
                <c:pt idx="350">
                  <c:v>-1262.5</c:v>
                </c:pt>
                <c:pt idx="351">
                  <c:v>#N/A</c:v>
                </c:pt>
                <c:pt idx="352">
                  <c:v>#N/A</c:v>
                </c:pt>
                <c:pt idx="353">
                  <c:v>#N/A</c:v>
                </c:pt>
                <c:pt idx="354">
                  <c:v>#N/A</c:v>
                </c:pt>
                <c:pt idx="355">
                  <c:v>#N/A</c:v>
                </c:pt>
                <c:pt idx="356">
                  <c:v>#N/A</c:v>
                </c:pt>
                <c:pt idx="357">
                  <c:v>-862.5</c:v>
                </c:pt>
                <c:pt idx="358">
                  <c:v>#N/A</c:v>
                </c:pt>
                <c:pt idx="359">
                  <c:v>#N/A</c:v>
                </c:pt>
                <c:pt idx="360">
                  <c:v>#N/A</c:v>
                </c:pt>
                <c:pt idx="361">
                  <c:v>#N/A</c:v>
                </c:pt>
                <c:pt idx="362">
                  <c:v>#N/A</c:v>
                </c:pt>
                <c:pt idx="363">
                  <c:v>#N/A</c:v>
                </c:pt>
                <c:pt idx="364">
                  <c:v>-806.25</c:v>
                </c:pt>
                <c:pt idx="365">
                  <c:v>#N/A</c:v>
                </c:pt>
              </c:numCache>
            </c:numRef>
          </c:val>
          <c:smooth val="0"/>
          <c:extLst>
            <c:ext xmlns:c16="http://schemas.microsoft.com/office/drawing/2014/chart" uri="{C3380CC4-5D6E-409C-BE32-E72D297353CC}">
              <c16:uniqueId val="{00000002-0D4C-439F-A557-FB61B0A55CBD}"/>
            </c:ext>
          </c:extLst>
        </c:ser>
        <c:ser>
          <c:idx val="3"/>
          <c:order val="2"/>
          <c:tx>
            <c:strRef>
              <c:f>有机硅开工!$AA$2</c:f>
              <c:strCache>
                <c:ptCount val="1"/>
                <c:pt idx="0">
                  <c:v>2023</c:v>
                </c:pt>
              </c:strCache>
            </c:strRef>
          </c:tx>
          <c:spPr>
            <a:ln w="19050" cap="rnd">
              <a:solidFill>
                <a:srgbClr val="55A5AB">
                  <a:alpha val="60000"/>
                </a:srgbClr>
              </a:solidFill>
              <a:round/>
            </a:ln>
            <a:effectLst/>
          </c:spPr>
          <c:marker>
            <c:symbol val="none"/>
          </c:marker>
          <c:cat>
            <c:strRef>
              <c:f>有机硅开工!$W$3:$W$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AA$3:$AA$368</c:f>
              <c:numCache>
                <c:formatCode>General</c:formatCode>
                <c:ptCount val="366"/>
                <c:pt idx="0">
                  <c:v>#N/A</c:v>
                </c:pt>
                <c:pt idx="1">
                  <c:v>#N/A</c:v>
                </c:pt>
                <c:pt idx="2">
                  <c:v>#N/A</c:v>
                </c:pt>
                <c:pt idx="3">
                  <c:v>#N/A</c:v>
                </c:pt>
                <c:pt idx="4">
                  <c:v>#N/A</c:v>
                </c:pt>
                <c:pt idx="5">
                  <c:v>-490.625</c:v>
                </c:pt>
                <c:pt idx="6">
                  <c:v>#N/A</c:v>
                </c:pt>
                <c:pt idx="7">
                  <c:v>#N/A</c:v>
                </c:pt>
                <c:pt idx="8">
                  <c:v>#N/A</c:v>
                </c:pt>
                <c:pt idx="9">
                  <c:v>#N/A</c:v>
                </c:pt>
                <c:pt idx="10">
                  <c:v>#N/A</c:v>
                </c:pt>
                <c:pt idx="11">
                  <c:v>#N/A</c:v>
                </c:pt>
                <c:pt idx="12">
                  <c:v>-381.25</c:v>
                </c:pt>
                <c:pt idx="13">
                  <c:v>#N/A</c:v>
                </c:pt>
                <c:pt idx="14">
                  <c:v>#N/A</c:v>
                </c:pt>
                <c:pt idx="15">
                  <c:v>#N/A</c:v>
                </c:pt>
                <c:pt idx="16">
                  <c:v>#N/A</c:v>
                </c:pt>
                <c:pt idx="17">
                  <c:v>#N/A</c:v>
                </c:pt>
                <c:pt idx="18">
                  <c:v>#N/A</c:v>
                </c:pt>
                <c:pt idx="19">
                  <c:v>-371.875</c:v>
                </c:pt>
                <c:pt idx="20">
                  <c:v>#N/A</c:v>
                </c:pt>
                <c:pt idx="21">
                  <c:v>#N/A</c:v>
                </c:pt>
                <c:pt idx="22">
                  <c:v>#N/A</c:v>
                </c:pt>
                <c:pt idx="23">
                  <c:v>#N/A</c:v>
                </c:pt>
                <c:pt idx="24">
                  <c:v>#N/A</c:v>
                </c:pt>
                <c:pt idx="25">
                  <c:v>#N/A</c:v>
                </c:pt>
                <c:pt idx="26">
                  <c:v>-406.25</c:v>
                </c:pt>
                <c:pt idx="27">
                  <c:v>#N/A</c:v>
                </c:pt>
                <c:pt idx="28">
                  <c:v>#N/A</c:v>
                </c:pt>
                <c:pt idx="29">
                  <c:v>#N/A</c:v>
                </c:pt>
                <c:pt idx="30">
                  <c:v>#N/A</c:v>
                </c:pt>
                <c:pt idx="31">
                  <c:v>#N/A</c:v>
                </c:pt>
                <c:pt idx="32">
                  <c:v>#N/A</c:v>
                </c:pt>
                <c:pt idx="33">
                  <c:v>-559.375</c:v>
                </c:pt>
                <c:pt idx="34">
                  <c:v>#N/A</c:v>
                </c:pt>
                <c:pt idx="35">
                  <c:v>#N/A</c:v>
                </c:pt>
                <c:pt idx="36">
                  <c:v>#N/A</c:v>
                </c:pt>
                <c:pt idx="37">
                  <c:v>#N/A</c:v>
                </c:pt>
                <c:pt idx="38">
                  <c:v>#N/A</c:v>
                </c:pt>
                <c:pt idx="39">
                  <c:v>#N/A</c:v>
                </c:pt>
                <c:pt idx="40">
                  <c:v>-56.25</c:v>
                </c:pt>
                <c:pt idx="41">
                  <c:v>#N/A</c:v>
                </c:pt>
                <c:pt idx="42">
                  <c:v>#N/A</c:v>
                </c:pt>
                <c:pt idx="43">
                  <c:v>#N/A</c:v>
                </c:pt>
                <c:pt idx="44">
                  <c:v>#N/A</c:v>
                </c:pt>
                <c:pt idx="45">
                  <c:v>#N/A</c:v>
                </c:pt>
                <c:pt idx="46">
                  <c:v>#N/A</c:v>
                </c:pt>
                <c:pt idx="47">
                  <c:v>-12.5</c:v>
                </c:pt>
                <c:pt idx="48">
                  <c:v>#N/A</c:v>
                </c:pt>
                <c:pt idx="49">
                  <c:v>#N/A</c:v>
                </c:pt>
                <c:pt idx="50">
                  <c:v>#N/A</c:v>
                </c:pt>
                <c:pt idx="51">
                  <c:v>#N/A</c:v>
                </c:pt>
                <c:pt idx="52">
                  <c:v>#N/A</c:v>
                </c:pt>
                <c:pt idx="53">
                  <c:v>#N/A</c:v>
                </c:pt>
                <c:pt idx="54">
                  <c:v>134.375</c:v>
                </c:pt>
                <c:pt idx="55">
                  <c:v>#N/A</c:v>
                </c:pt>
                <c:pt idx="56">
                  <c:v>#N/A</c:v>
                </c:pt>
                <c:pt idx="57">
                  <c:v>#N/A</c:v>
                </c:pt>
                <c:pt idx="58">
                  <c:v>#N/A</c:v>
                </c:pt>
                <c:pt idx="60">
                  <c:v>#N/A</c:v>
                </c:pt>
                <c:pt idx="61">
                  <c:v>#N/A</c:v>
                </c:pt>
                <c:pt idx="62">
                  <c:v>-171.875</c:v>
                </c:pt>
                <c:pt idx="63">
                  <c:v>#N/A</c:v>
                </c:pt>
                <c:pt idx="64">
                  <c:v>#N/A</c:v>
                </c:pt>
                <c:pt idx="65">
                  <c:v>#N/A</c:v>
                </c:pt>
                <c:pt idx="66">
                  <c:v>#N/A</c:v>
                </c:pt>
                <c:pt idx="67">
                  <c:v>#N/A</c:v>
                </c:pt>
                <c:pt idx="68">
                  <c:v>#N/A</c:v>
                </c:pt>
                <c:pt idx="69">
                  <c:v>-484.375</c:v>
                </c:pt>
                <c:pt idx="70">
                  <c:v>#N/A</c:v>
                </c:pt>
                <c:pt idx="71">
                  <c:v>#N/A</c:v>
                </c:pt>
                <c:pt idx="72">
                  <c:v>#N/A</c:v>
                </c:pt>
                <c:pt idx="73">
                  <c:v>#N/A</c:v>
                </c:pt>
                <c:pt idx="74">
                  <c:v>#N/A</c:v>
                </c:pt>
                <c:pt idx="75">
                  <c:v>#N/A</c:v>
                </c:pt>
                <c:pt idx="76">
                  <c:v>-676.25</c:v>
                </c:pt>
                <c:pt idx="77">
                  <c:v>#N/A</c:v>
                </c:pt>
                <c:pt idx="78">
                  <c:v>#N/A</c:v>
                </c:pt>
                <c:pt idx="79">
                  <c:v>#N/A</c:v>
                </c:pt>
                <c:pt idx="80">
                  <c:v>#N/A</c:v>
                </c:pt>
                <c:pt idx="81">
                  <c:v>#N/A</c:v>
                </c:pt>
                <c:pt idx="82">
                  <c:v>#N/A</c:v>
                </c:pt>
                <c:pt idx="83">
                  <c:v>-462.5</c:v>
                </c:pt>
                <c:pt idx="84">
                  <c:v>#N/A</c:v>
                </c:pt>
                <c:pt idx="85">
                  <c:v>#N/A</c:v>
                </c:pt>
                <c:pt idx="86">
                  <c:v>#N/A</c:v>
                </c:pt>
                <c:pt idx="87">
                  <c:v>#N/A</c:v>
                </c:pt>
                <c:pt idx="88">
                  <c:v>#N/A</c:v>
                </c:pt>
                <c:pt idx="89">
                  <c:v>#N/A</c:v>
                </c:pt>
                <c:pt idx="90">
                  <c:v>-868.75</c:v>
                </c:pt>
                <c:pt idx="91">
                  <c:v>#N/A</c:v>
                </c:pt>
                <c:pt idx="92">
                  <c:v>#N/A</c:v>
                </c:pt>
                <c:pt idx="93">
                  <c:v>#N/A</c:v>
                </c:pt>
                <c:pt idx="94">
                  <c:v>#N/A</c:v>
                </c:pt>
                <c:pt idx="95">
                  <c:v>#N/A</c:v>
                </c:pt>
                <c:pt idx="96">
                  <c:v>#N/A</c:v>
                </c:pt>
                <c:pt idx="97">
                  <c:v>-1250</c:v>
                </c:pt>
                <c:pt idx="98">
                  <c:v>#N/A</c:v>
                </c:pt>
                <c:pt idx="99">
                  <c:v>#N/A</c:v>
                </c:pt>
                <c:pt idx="100">
                  <c:v>#N/A</c:v>
                </c:pt>
                <c:pt idx="101">
                  <c:v>#N/A</c:v>
                </c:pt>
                <c:pt idx="102">
                  <c:v>#N/A</c:v>
                </c:pt>
                <c:pt idx="103">
                  <c:v>#N/A</c:v>
                </c:pt>
                <c:pt idx="104">
                  <c:v>-718.75</c:v>
                </c:pt>
                <c:pt idx="105">
                  <c:v>#N/A</c:v>
                </c:pt>
                <c:pt idx="106">
                  <c:v>#N/A</c:v>
                </c:pt>
                <c:pt idx="107">
                  <c:v>#N/A</c:v>
                </c:pt>
                <c:pt idx="108">
                  <c:v>#N/A</c:v>
                </c:pt>
                <c:pt idx="109">
                  <c:v>#N/A</c:v>
                </c:pt>
                <c:pt idx="110">
                  <c:v>#N/A</c:v>
                </c:pt>
                <c:pt idx="111">
                  <c:v>-778.125</c:v>
                </c:pt>
                <c:pt idx="112">
                  <c:v>#N/A</c:v>
                </c:pt>
                <c:pt idx="113">
                  <c:v>#N/A</c:v>
                </c:pt>
                <c:pt idx="114">
                  <c:v>#N/A</c:v>
                </c:pt>
                <c:pt idx="115">
                  <c:v>#N/A</c:v>
                </c:pt>
                <c:pt idx="116">
                  <c:v>#N/A</c:v>
                </c:pt>
                <c:pt idx="117">
                  <c:v>#N/A</c:v>
                </c:pt>
                <c:pt idx="118">
                  <c:v>-737.5</c:v>
                </c:pt>
                <c:pt idx="119">
                  <c:v>#N/A</c:v>
                </c:pt>
                <c:pt idx="120">
                  <c:v>#N/A</c:v>
                </c:pt>
                <c:pt idx="121">
                  <c:v>#N/A</c:v>
                </c:pt>
                <c:pt idx="122">
                  <c:v>#N/A</c:v>
                </c:pt>
                <c:pt idx="123">
                  <c:v>#N/A</c:v>
                </c:pt>
                <c:pt idx="124">
                  <c:v>#N/A</c:v>
                </c:pt>
                <c:pt idx="125">
                  <c:v>-693.75</c:v>
                </c:pt>
                <c:pt idx="126">
                  <c:v>#N/A</c:v>
                </c:pt>
                <c:pt idx="127">
                  <c:v>#N/A</c:v>
                </c:pt>
                <c:pt idx="128">
                  <c:v>#N/A</c:v>
                </c:pt>
                <c:pt idx="129">
                  <c:v>#N/A</c:v>
                </c:pt>
                <c:pt idx="130">
                  <c:v>#N/A</c:v>
                </c:pt>
                <c:pt idx="131">
                  <c:v>#N/A</c:v>
                </c:pt>
                <c:pt idx="132">
                  <c:v>-1106.25</c:v>
                </c:pt>
                <c:pt idx="133">
                  <c:v>#N/A</c:v>
                </c:pt>
                <c:pt idx="134">
                  <c:v>#N/A</c:v>
                </c:pt>
                <c:pt idx="135">
                  <c:v>#N/A</c:v>
                </c:pt>
                <c:pt idx="136">
                  <c:v>#N/A</c:v>
                </c:pt>
                <c:pt idx="137">
                  <c:v>#N/A</c:v>
                </c:pt>
                <c:pt idx="138">
                  <c:v>#N/A</c:v>
                </c:pt>
                <c:pt idx="139">
                  <c:v>-1120.625</c:v>
                </c:pt>
                <c:pt idx="140">
                  <c:v>#N/A</c:v>
                </c:pt>
                <c:pt idx="141">
                  <c:v>#N/A</c:v>
                </c:pt>
                <c:pt idx="142">
                  <c:v>#N/A</c:v>
                </c:pt>
                <c:pt idx="143">
                  <c:v>#N/A</c:v>
                </c:pt>
                <c:pt idx="144">
                  <c:v>#N/A</c:v>
                </c:pt>
                <c:pt idx="145">
                  <c:v>#N/A</c:v>
                </c:pt>
                <c:pt idx="146">
                  <c:v>-612.5</c:v>
                </c:pt>
                <c:pt idx="147">
                  <c:v>#N/A</c:v>
                </c:pt>
                <c:pt idx="148">
                  <c:v>#N/A</c:v>
                </c:pt>
                <c:pt idx="149">
                  <c:v>#N/A</c:v>
                </c:pt>
                <c:pt idx="150">
                  <c:v>#N/A</c:v>
                </c:pt>
                <c:pt idx="151">
                  <c:v>#N/A</c:v>
                </c:pt>
                <c:pt idx="152">
                  <c:v>#N/A</c:v>
                </c:pt>
                <c:pt idx="153">
                  <c:v>-221.875</c:v>
                </c:pt>
                <c:pt idx="154">
                  <c:v>#N/A</c:v>
                </c:pt>
                <c:pt idx="155">
                  <c:v>#N/A</c:v>
                </c:pt>
                <c:pt idx="156">
                  <c:v>#N/A</c:v>
                </c:pt>
                <c:pt idx="157">
                  <c:v>#N/A</c:v>
                </c:pt>
                <c:pt idx="158">
                  <c:v>#N/A</c:v>
                </c:pt>
                <c:pt idx="159">
                  <c:v>#N/A</c:v>
                </c:pt>
                <c:pt idx="160">
                  <c:v>-212.5</c:v>
                </c:pt>
                <c:pt idx="161">
                  <c:v>#N/A</c:v>
                </c:pt>
                <c:pt idx="162">
                  <c:v>#N/A</c:v>
                </c:pt>
                <c:pt idx="163">
                  <c:v>#N/A</c:v>
                </c:pt>
                <c:pt idx="164">
                  <c:v>#N/A</c:v>
                </c:pt>
                <c:pt idx="165">
                  <c:v>#N/A</c:v>
                </c:pt>
                <c:pt idx="166">
                  <c:v>#N/A</c:v>
                </c:pt>
                <c:pt idx="167">
                  <c:v>93.75</c:v>
                </c:pt>
                <c:pt idx="168">
                  <c:v>#N/A</c:v>
                </c:pt>
                <c:pt idx="169">
                  <c:v>#N/A</c:v>
                </c:pt>
                <c:pt idx="170">
                  <c:v>#N/A</c:v>
                </c:pt>
                <c:pt idx="171">
                  <c:v>#N/A</c:v>
                </c:pt>
                <c:pt idx="172">
                  <c:v>#N/A</c:v>
                </c:pt>
                <c:pt idx="173">
                  <c:v>#N/A</c:v>
                </c:pt>
                <c:pt idx="174">
                  <c:v>-131.25</c:v>
                </c:pt>
                <c:pt idx="175">
                  <c:v>#N/A</c:v>
                </c:pt>
                <c:pt idx="176">
                  <c:v>#N/A</c:v>
                </c:pt>
                <c:pt idx="177">
                  <c:v>#N/A</c:v>
                </c:pt>
                <c:pt idx="178">
                  <c:v>#N/A</c:v>
                </c:pt>
                <c:pt idx="179">
                  <c:v>#N/A</c:v>
                </c:pt>
                <c:pt idx="180">
                  <c:v>#N/A</c:v>
                </c:pt>
                <c:pt idx="181">
                  <c:v>-293.75</c:v>
                </c:pt>
                <c:pt idx="182">
                  <c:v>#N/A</c:v>
                </c:pt>
                <c:pt idx="183">
                  <c:v>#N/A</c:v>
                </c:pt>
                <c:pt idx="184">
                  <c:v>#N/A</c:v>
                </c:pt>
                <c:pt idx="185">
                  <c:v>#N/A</c:v>
                </c:pt>
                <c:pt idx="186">
                  <c:v>#N/A</c:v>
                </c:pt>
                <c:pt idx="187">
                  <c:v>#N/A</c:v>
                </c:pt>
                <c:pt idx="188">
                  <c:v>-500</c:v>
                </c:pt>
                <c:pt idx="189">
                  <c:v>#N/A</c:v>
                </c:pt>
                <c:pt idx="190">
                  <c:v>#N/A</c:v>
                </c:pt>
                <c:pt idx="191">
                  <c:v>#N/A</c:v>
                </c:pt>
                <c:pt idx="192">
                  <c:v>#N/A</c:v>
                </c:pt>
                <c:pt idx="193">
                  <c:v>#N/A</c:v>
                </c:pt>
                <c:pt idx="194">
                  <c:v>#N/A</c:v>
                </c:pt>
                <c:pt idx="195">
                  <c:v>-1072.5</c:v>
                </c:pt>
                <c:pt idx="196">
                  <c:v>#N/A</c:v>
                </c:pt>
                <c:pt idx="197">
                  <c:v>#N/A</c:v>
                </c:pt>
                <c:pt idx="198">
                  <c:v>#N/A</c:v>
                </c:pt>
                <c:pt idx="199">
                  <c:v>#N/A</c:v>
                </c:pt>
                <c:pt idx="200">
                  <c:v>#N/A</c:v>
                </c:pt>
                <c:pt idx="201">
                  <c:v>#N/A</c:v>
                </c:pt>
                <c:pt idx="202">
                  <c:v>-1063.125</c:v>
                </c:pt>
                <c:pt idx="203">
                  <c:v>#N/A</c:v>
                </c:pt>
                <c:pt idx="204">
                  <c:v>#N/A</c:v>
                </c:pt>
                <c:pt idx="205">
                  <c:v>#N/A</c:v>
                </c:pt>
                <c:pt idx="206">
                  <c:v>#N/A</c:v>
                </c:pt>
                <c:pt idx="207">
                  <c:v>#N/A</c:v>
                </c:pt>
                <c:pt idx="208">
                  <c:v>#N/A</c:v>
                </c:pt>
                <c:pt idx="209">
                  <c:v>-1541.25</c:v>
                </c:pt>
                <c:pt idx="210">
                  <c:v>#N/A</c:v>
                </c:pt>
                <c:pt idx="211">
                  <c:v>#N/A</c:v>
                </c:pt>
                <c:pt idx="212">
                  <c:v>#N/A</c:v>
                </c:pt>
                <c:pt idx="213">
                  <c:v>#N/A</c:v>
                </c:pt>
                <c:pt idx="214">
                  <c:v>#N/A</c:v>
                </c:pt>
                <c:pt idx="215">
                  <c:v>#N/A</c:v>
                </c:pt>
                <c:pt idx="216">
                  <c:v>-1662.5</c:v>
                </c:pt>
                <c:pt idx="217">
                  <c:v>#N/A</c:v>
                </c:pt>
                <c:pt idx="218">
                  <c:v>#N/A</c:v>
                </c:pt>
                <c:pt idx="219">
                  <c:v>#N/A</c:v>
                </c:pt>
                <c:pt idx="220">
                  <c:v>#N/A</c:v>
                </c:pt>
                <c:pt idx="221">
                  <c:v>#N/A</c:v>
                </c:pt>
                <c:pt idx="222">
                  <c:v>#N/A</c:v>
                </c:pt>
                <c:pt idx="223">
                  <c:v>-1131.25</c:v>
                </c:pt>
                <c:pt idx="224">
                  <c:v>#N/A</c:v>
                </c:pt>
                <c:pt idx="225">
                  <c:v>#N/A</c:v>
                </c:pt>
                <c:pt idx="226">
                  <c:v>#N/A</c:v>
                </c:pt>
                <c:pt idx="227">
                  <c:v>#N/A</c:v>
                </c:pt>
                <c:pt idx="228">
                  <c:v>#N/A</c:v>
                </c:pt>
                <c:pt idx="229">
                  <c:v>#N/A</c:v>
                </c:pt>
                <c:pt idx="230">
                  <c:v>-1362.5</c:v>
                </c:pt>
                <c:pt idx="231">
                  <c:v>#N/A</c:v>
                </c:pt>
                <c:pt idx="232">
                  <c:v>#N/A</c:v>
                </c:pt>
                <c:pt idx="233">
                  <c:v>#N/A</c:v>
                </c:pt>
                <c:pt idx="234">
                  <c:v>#N/A</c:v>
                </c:pt>
                <c:pt idx="235">
                  <c:v>#N/A</c:v>
                </c:pt>
                <c:pt idx="236">
                  <c:v>#N/A</c:v>
                </c:pt>
                <c:pt idx="237">
                  <c:v>-1600</c:v>
                </c:pt>
                <c:pt idx="238">
                  <c:v>#N/A</c:v>
                </c:pt>
                <c:pt idx="239">
                  <c:v>#N/A</c:v>
                </c:pt>
                <c:pt idx="240">
                  <c:v>#N/A</c:v>
                </c:pt>
                <c:pt idx="241">
                  <c:v>#N/A</c:v>
                </c:pt>
                <c:pt idx="242">
                  <c:v>#N/A</c:v>
                </c:pt>
                <c:pt idx="243">
                  <c:v>#N/A</c:v>
                </c:pt>
                <c:pt idx="244">
                  <c:v>-1706.25</c:v>
                </c:pt>
                <c:pt idx="245">
                  <c:v>#N/A</c:v>
                </c:pt>
                <c:pt idx="246">
                  <c:v>#N/A</c:v>
                </c:pt>
                <c:pt idx="247">
                  <c:v>#N/A</c:v>
                </c:pt>
                <c:pt idx="248">
                  <c:v>#N/A</c:v>
                </c:pt>
                <c:pt idx="249">
                  <c:v>#N/A</c:v>
                </c:pt>
                <c:pt idx="250">
                  <c:v>#N/A</c:v>
                </c:pt>
                <c:pt idx="251">
                  <c:v>-2143.75</c:v>
                </c:pt>
                <c:pt idx="252">
                  <c:v>#N/A</c:v>
                </c:pt>
                <c:pt idx="253">
                  <c:v>#N/A</c:v>
                </c:pt>
                <c:pt idx="254">
                  <c:v>#N/A</c:v>
                </c:pt>
                <c:pt idx="255">
                  <c:v>#N/A</c:v>
                </c:pt>
                <c:pt idx="256">
                  <c:v>#N/A</c:v>
                </c:pt>
                <c:pt idx="257">
                  <c:v>#N/A</c:v>
                </c:pt>
                <c:pt idx="258">
                  <c:v>-903.125</c:v>
                </c:pt>
                <c:pt idx="259">
                  <c:v>#N/A</c:v>
                </c:pt>
                <c:pt idx="260">
                  <c:v>#N/A</c:v>
                </c:pt>
                <c:pt idx="261">
                  <c:v>#N/A</c:v>
                </c:pt>
                <c:pt idx="262">
                  <c:v>#N/A</c:v>
                </c:pt>
                <c:pt idx="263">
                  <c:v>#N/A</c:v>
                </c:pt>
                <c:pt idx="264">
                  <c:v>#N/A</c:v>
                </c:pt>
                <c:pt idx="265">
                  <c:v>-1387.5</c:v>
                </c:pt>
                <c:pt idx="266">
                  <c:v>#N/A</c:v>
                </c:pt>
                <c:pt idx="267">
                  <c:v>#N/A</c:v>
                </c:pt>
                <c:pt idx="268">
                  <c:v>#N/A</c:v>
                </c:pt>
                <c:pt idx="269">
                  <c:v>#N/A</c:v>
                </c:pt>
                <c:pt idx="270">
                  <c:v>#N/A</c:v>
                </c:pt>
                <c:pt idx="271">
                  <c:v>#N/A</c:v>
                </c:pt>
                <c:pt idx="272">
                  <c:v>-1737.5</c:v>
                </c:pt>
                <c:pt idx="273">
                  <c:v>#N/A</c:v>
                </c:pt>
                <c:pt idx="274">
                  <c:v>#N/A</c:v>
                </c:pt>
                <c:pt idx="275">
                  <c:v>#N/A</c:v>
                </c:pt>
                <c:pt idx="276">
                  <c:v>#N/A</c:v>
                </c:pt>
                <c:pt idx="277">
                  <c:v>#N/A</c:v>
                </c:pt>
                <c:pt idx="278">
                  <c:v>#N/A</c:v>
                </c:pt>
                <c:pt idx="279">
                  <c:v>-1659.375</c:v>
                </c:pt>
                <c:pt idx="280">
                  <c:v>#N/A</c:v>
                </c:pt>
                <c:pt idx="281">
                  <c:v>#N/A</c:v>
                </c:pt>
                <c:pt idx="282">
                  <c:v>#N/A</c:v>
                </c:pt>
                <c:pt idx="283">
                  <c:v>#N/A</c:v>
                </c:pt>
                <c:pt idx="284">
                  <c:v>#N/A</c:v>
                </c:pt>
                <c:pt idx="285">
                  <c:v>#N/A</c:v>
                </c:pt>
                <c:pt idx="286">
                  <c:v>-1578.125</c:v>
                </c:pt>
                <c:pt idx="287">
                  <c:v>#N/A</c:v>
                </c:pt>
                <c:pt idx="288">
                  <c:v>#N/A</c:v>
                </c:pt>
                <c:pt idx="289">
                  <c:v>#N/A</c:v>
                </c:pt>
                <c:pt idx="290">
                  <c:v>#N/A</c:v>
                </c:pt>
                <c:pt idx="291">
                  <c:v>#N/A</c:v>
                </c:pt>
                <c:pt idx="292">
                  <c:v>#N/A</c:v>
                </c:pt>
                <c:pt idx="293">
                  <c:v>-1329.375</c:v>
                </c:pt>
                <c:pt idx="294">
                  <c:v>#N/A</c:v>
                </c:pt>
                <c:pt idx="295">
                  <c:v>#N/A</c:v>
                </c:pt>
                <c:pt idx="296">
                  <c:v>#N/A</c:v>
                </c:pt>
                <c:pt idx="297">
                  <c:v>#N/A</c:v>
                </c:pt>
                <c:pt idx="298">
                  <c:v>#N/A</c:v>
                </c:pt>
                <c:pt idx="299">
                  <c:v>#N/A</c:v>
                </c:pt>
                <c:pt idx="300">
                  <c:v>-1262.5</c:v>
                </c:pt>
                <c:pt idx="301">
                  <c:v>#N/A</c:v>
                </c:pt>
                <c:pt idx="302">
                  <c:v>#N/A</c:v>
                </c:pt>
                <c:pt idx="303">
                  <c:v>#N/A</c:v>
                </c:pt>
                <c:pt idx="304">
                  <c:v>#N/A</c:v>
                </c:pt>
                <c:pt idx="305">
                  <c:v>#N/A</c:v>
                </c:pt>
                <c:pt idx="306">
                  <c:v>#N/A</c:v>
                </c:pt>
                <c:pt idx="307">
                  <c:v>-1125</c:v>
                </c:pt>
                <c:pt idx="308">
                  <c:v>#N/A</c:v>
                </c:pt>
                <c:pt idx="309">
                  <c:v>#N/A</c:v>
                </c:pt>
                <c:pt idx="310">
                  <c:v>#N/A</c:v>
                </c:pt>
                <c:pt idx="311">
                  <c:v>#N/A</c:v>
                </c:pt>
                <c:pt idx="312">
                  <c:v>#N/A</c:v>
                </c:pt>
                <c:pt idx="313">
                  <c:v>#N/A</c:v>
                </c:pt>
                <c:pt idx="314">
                  <c:v>-1259.375</c:v>
                </c:pt>
                <c:pt idx="315">
                  <c:v>#N/A</c:v>
                </c:pt>
                <c:pt idx="316">
                  <c:v>#N/A</c:v>
                </c:pt>
                <c:pt idx="317">
                  <c:v>#N/A</c:v>
                </c:pt>
                <c:pt idx="318">
                  <c:v>#N/A</c:v>
                </c:pt>
                <c:pt idx="319">
                  <c:v>#N/A</c:v>
                </c:pt>
                <c:pt idx="320">
                  <c:v>#N/A</c:v>
                </c:pt>
                <c:pt idx="321">
                  <c:v>-1300</c:v>
                </c:pt>
                <c:pt idx="322">
                  <c:v>#N/A</c:v>
                </c:pt>
                <c:pt idx="323">
                  <c:v>#N/A</c:v>
                </c:pt>
                <c:pt idx="324">
                  <c:v>#N/A</c:v>
                </c:pt>
                <c:pt idx="325">
                  <c:v>#N/A</c:v>
                </c:pt>
                <c:pt idx="326">
                  <c:v>#N/A</c:v>
                </c:pt>
                <c:pt idx="327">
                  <c:v>#N/A</c:v>
                </c:pt>
                <c:pt idx="328">
                  <c:v>-1000</c:v>
                </c:pt>
                <c:pt idx="329">
                  <c:v>#N/A</c:v>
                </c:pt>
                <c:pt idx="330">
                  <c:v>#N/A</c:v>
                </c:pt>
                <c:pt idx="331">
                  <c:v>#N/A</c:v>
                </c:pt>
                <c:pt idx="332">
                  <c:v>#N/A</c:v>
                </c:pt>
                <c:pt idx="333">
                  <c:v>#N/A</c:v>
                </c:pt>
                <c:pt idx="334">
                  <c:v>#N/A</c:v>
                </c:pt>
                <c:pt idx="335">
                  <c:v>-1000</c:v>
                </c:pt>
                <c:pt idx="336">
                  <c:v>#N/A</c:v>
                </c:pt>
                <c:pt idx="337">
                  <c:v>#N/A</c:v>
                </c:pt>
                <c:pt idx="338">
                  <c:v>#N/A</c:v>
                </c:pt>
                <c:pt idx="339">
                  <c:v>#N/A</c:v>
                </c:pt>
                <c:pt idx="340">
                  <c:v>#N/A</c:v>
                </c:pt>
                <c:pt idx="341">
                  <c:v>#N/A</c:v>
                </c:pt>
                <c:pt idx="342">
                  <c:v>-1300</c:v>
                </c:pt>
                <c:pt idx="343">
                  <c:v>#N/A</c:v>
                </c:pt>
                <c:pt idx="344">
                  <c:v>#N/A</c:v>
                </c:pt>
                <c:pt idx="345">
                  <c:v>#N/A</c:v>
                </c:pt>
                <c:pt idx="346">
                  <c:v>#N/A</c:v>
                </c:pt>
                <c:pt idx="347">
                  <c:v>#N/A</c:v>
                </c:pt>
                <c:pt idx="348">
                  <c:v>#N/A</c:v>
                </c:pt>
                <c:pt idx="349">
                  <c:v>-1596.875</c:v>
                </c:pt>
                <c:pt idx="350">
                  <c:v>#N/A</c:v>
                </c:pt>
                <c:pt idx="351">
                  <c:v>#N/A</c:v>
                </c:pt>
                <c:pt idx="352">
                  <c:v>#N/A</c:v>
                </c:pt>
                <c:pt idx="353">
                  <c:v>#N/A</c:v>
                </c:pt>
                <c:pt idx="354">
                  <c:v>#N/A</c:v>
                </c:pt>
                <c:pt idx="355">
                  <c:v>#N/A</c:v>
                </c:pt>
                <c:pt idx="356">
                  <c:v>-2065.625</c:v>
                </c:pt>
                <c:pt idx="357">
                  <c:v>#N/A</c:v>
                </c:pt>
                <c:pt idx="358">
                  <c:v>#N/A</c:v>
                </c:pt>
                <c:pt idx="359">
                  <c:v>#N/A</c:v>
                </c:pt>
                <c:pt idx="360">
                  <c:v>#N/A</c:v>
                </c:pt>
                <c:pt idx="361">
                  <c:v>#N/A</c:v>
                </c:pt>
                <c:pt idx="362">
                  <c:v>#N/A</c:v>
                </c:pt>
                <c:pt idx="363">
                  <c:v>-1971.875</c:v>
                </c:pt>
                <c:pt idx="364">
                  <c:v>#N/A</c:v>
                </c:pt>
                <c:pt idx="365">
                  <c:v>#N/A</c:v>
                </c:pt>
              </c:numCache>
            </c:numRef>
          </c:val>
          <c:smooth val="0"/>
          <c:extLst>
            <c:ext xmlns:c16="http://schemas.microsoft.com/office/drawing/2014/chart" uri="{C3380CC4-5D6E-409C-BE32-E72D297353CC}">
              <c16:uniqueId val="{00000003-0D4C-439F-A557-FB61B0A55CBD}"/>
            </c:ext>
          </c:extLst>
        </c:ser>
        <c:ser>
          <c:idx val="4"/>
          <c:order val="3"/>
          <c:tx>
            <c:strRef>
              <c:f>有机硅开工!$AB$2</c:f>
              <c:strCache>
                <c:ptCount val="1"/>
                <c:pt idx="0">
                  <c:v>2024</c:v>
                </c:pt>
              </c:strCache>
            </c:strRef>
          </c:tx>
          <c:spPr>
            <a:ln w="28575" cap="rnd">
              <a:solidFill>
                <a:schemeClr val="tx1"/>
              </a:solidFill>
              <a:round/>
            </a:ln>
            <a:effectLst/>
          </c:spPr>
          <c:marker>
            <c:symbol val="none"/>
          </c:marker>
          <c:cat>
            <c:strRef>
              <c:f>有机硅开工!$W$3:$W$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有机硅开工!$AB$3:$AB$368</c:f>
              <c:numCache>
                <c:formatCode>General</c:formatCode>
                <c:ptCount val="366"/>
                <c:pt idx="0">
                  <c:v>-1796.875</c:v>
                </c:pt>
                <c:pt idx="1">
                  <c:v>-1796.875</c:v>
                </c:pt>
                <c:pt idx="2">
                  <c:v>-1796.875</c:v>
                </c:pt>
                <c:pt idx="3">
                  <c:v>-1796.875</c:v>
                </c:pt>
                <c:pt idx="4">
                  <c:v>-1796.875</c:v>
                </c:pt>
                <c:pt idx="5">
                  <c:v>-1309.375</c:v>
                </c:pt>
                <c:pt idx="6">
                  <c:v>-1309.375</c:v>
                </c:pt>
                <c:pt idx="7">
                  <c:v>-1309.375</c:v>
                </c:pt>
                <c:pt idx="8">
                  <c:v>-1309.375</c:v>
                </c:pt>
                <c:pt idx="9">
                  <c:v>-1309.375</c:v>
                </c:pt>
                <c:pt idx="10">
                  <c:v>-1309.375</c:v>
                </c:pt>
                <c:pt idx="11">
                  <c:v>-1309.375</c:v>
                </c:pt>
                <c:pt idx="12">
                  <c:v>-1090.625</c:v>
                </c:pt>
                <c:pt idx="13">
                  <c:v>-1090.625</c:v>
                </c:pt>
                <c:pt idx="14">
                  <c:v>-1090.625</c:v>
                </c:pt>
                <c:pt idx="15">
                  <c:v>-1090.625</c:v>
                </c:pt>
                <c:pt idx="16">
                  <c:v>-1090.625</c:v>
                </c:pt>
                <c:pt idx="17">
                  <c:v>-1090.625</c:v>
                </c:pt>
                <c:pt idx="18">
                  <c:v>-1090.625</c:v>
                </c:pt>
                <c:pt idx="19">
                  <c:v>-321.875</c:v>
                </c:pt>
                <c:pt idx="20">
                  <c:v>-321.875</c:v>
                </c:pt>
                <c:pt idx="21">
                  <c:v>-321.875</c:v>
                </c:pt>
                <c:pt idx="22">
                  <c:v>-321.875</c:v>
                </c:pt>
                <c:pt idx="23">
                  <c:v>-321.875</c:v>
                </c:pt>
                <c:pt idx="24">
                  <c:v>-321.875</c:v>
                </c:pt>
                <c:pt idx="25">
                  <c:v>-321.875</c:v>
                </c:pt>
                <c:pt idx="26">
                  <c:v>-665.625</c:v>
                </c:pt>
                <c:pt idx="27">
                  <c:v>-665.625</c:v>
                </c:pt>
                <c:pt idx="28">
                  <c:v>-665.625</c:v>
                </c:pt>
                <c:pt idx="29">
                  <c:v>-665.625</c:v>
                </c:pt>
                <c:pt idx="30">
                  <c:v>-665.625</c:v>
                </c:pt>
                <c:pt idx="31">
                  <c:v>-665.625</c:v>
                </c:pt>
                <c:pt idx="32">
                  <c:v>-665.625</c:v>
                </c:pt>
                <c:pt idx="33">
                  <c:v>-846.875</c:v>
                </c:pt>
                <c:pt idx="34">
                  <c:v>-846.875</c:v>
                </c:pt>
                <c:pt idx="35">
                  <c:v>-846.875</c:v>
                </c:pt>
                <c:pt idx="36">
                  <c:v>-846.875</c:v>
                </c:pt>
                <c:pt idx="37">
                  <c:v>-846.875</c:v>
                </c:pt>
                <c:pt idx="38">
                  <c:v>-846.875</c:v>
                </c:pt>
                <c:pt idx="39">
                  <c:v>-846.875</c:v>
                </c:pt>
                <c:pt idx="40">
                  <c:v>-846.875</c:v>
                </c:pt>
                <c:pt idx="41">
                  <c:v>-846.875</c:v>
                </c:pt>
                <c:pt idx="42">
                  <c:v>-846.875</c:v>
                </c:pt>
                <c:pt idx="43">
                  <c:v>-846.875</c:v>
                </c:pt>
                <c:pt idx="44">
                  <c:v>-846.875</c:v>
                </c:pt>
                <c:pt idx="45">
                  <c:v>-846.875</c:v>
                </c:pt>
                <c:pt idx="46">
                  <c:v>-846.875</c:v>
                </c:pt>
                <c:pt idx="47">
                  <c:v>-571.875</c:v>
                </c:pt>
                <c:pt idx="48">
                  <c:v>-571.875</c:v>
                </c:pt>
                <c:pt idx="49">
                  <c:v>-571.875</c:v>
                </c:pt>
                <c:pt idx="50">
                  <c:v>-571.875</c:v>
                </c:pt>
                <c:pt idx="51">
                  <c:v>-571.875</c:v>
                </c:pt>
                <c:pt idx="52">
                  <c:v>-571.875</c:v>
                </c:pt>
                <c:pt idx="53">
                  <c:v>-571.875</c:v>
                </c:pt>
                <c:pt idx="54">
                  <c:v>153.125</c:v>
                </c:pt>
                <c:pt idx="55">
                  <c:v>153.125</c:v>
                </c:pt>
                <c:pt idx="56">
                  <c:v>153.125</c:v>
                </c:pt>
                <c:pt idx="57">
                  <c:v>153.125</c:v>
                </c:pt>
                <c:pt idx="58">
                  <c:v>153.125</c:v>
                </c:pt>
                <c:pt idx="59">
                  <c:v>153.125</c:v>
                </c:pt>
                <c:pt idx="60">
                  <c:v>153.125</c:v>
                </c:pt>
                <c:pt idx="61">
                  <c:v>846.875</c:v>
                </c:pt>
                <c:pt idx="62">
                  <c:v>846.875</c:v>
                </c:pt>
                <c:pt idx="63">
                  <c:v>846.875</c:v>
                </c:pt>
                <c:pt idx="64">
                  <c:v>846.875</c:v>
                </c:pt>
                <c:pt idx="65">
                  <c:v>846.875</c:v>
                </c:pt>
                <c:pt idx="66">
                  <c:v>846.875</c:v>
                </c:pt>
                <c:pt idx="67">
                  <c:v>846.875</c:v>
                </c:pt>
                <c:pt idx="68">
                  <c:v>846.875</c:v>
                </c:pt>
                <c:pt idx="69">
                  <c:v>846.875</c:v>
                </c:pt>
                <c:pt idx="70">
                  <c:v>846.875</c:v>
                </c:pt>
                <c:pt idx="71">
                  <c:v>846.875</c:v>
                </c:pt>
                <c:pt idx="72">
                  <c:v>846.875</c:v>
                </c:pt>
                <c:pt idx="73">
                  <c:v>846.875</c:v>
                </c:pt>
                <c:pt idx="74">
                  <c:v>846.875</c:v>
                </c:pt>
                <c:pt idx="75">
                  <c:v>546.875</c:v>
                </c:pt>
                <c:pt idx="76">
                  <c:v>546.875</c:v>
                </c:pt>
                <c:pt idx="77">
                  <c:v>546.875</c:v>
                </c:pt>
                <c:pt idx="78">
                  <c:v>546.875</c:v>
                </c:pt>
                <c:pt idx="79">
                  <c:v>546.875</c:v>
                </c:pt>
                <c:pt idx="80">
                  <c:v>546.875</c:v>
                </c:pt>
                <c:pt idx="81">
                  <c:v>546.875</c:v>
                </c:pt>
                <c:pt idx="82">
                  <c:v>-490.625</c:v>
                </c:pt>
                <c:pt idx="83">
                  <c:v>-490.625</c:v>
                </c:pt>
                <c:pt idx="84">
                  <c:v>-490.625</c:v>
                </c:pt>
                <c:pt idx="85">
                  <c:v>-490.625</c:v>
                </c:pt>
                <c:pt idx="86">
                  <c:v>-490.625</c:v>
                </c:pt>
                <c:pt idx="87">
                  <c:v>-490.625</c:v>
                </c:pt>
                <c:pt idx="88">
                  <c:v>-490.625</c:v>
                </c:pt>
                <c:pt idx="89">
                  <c:v>-490.625</c:v>
                </c:pt>
                <c:pt idx="90">
                  <c:v>-490.625</c:v>
                </c:pt>
                <c:pt idx="91">
                  <c:v>-490.625</c:v>
                </c:pt>
                <c:pt idx="92">
                  <c:v>-490.625</c:v>
                </c:pt>
                <c:pt idx="93">
                  <c:v>-490.625</c:v>
                </c:pt>
                <c:pt idx="94">
                  <c:v>-490.625</c:v>
                </c:pt>
                <c:pt idx="95">
                  <c:v>-490.625</c:v>
                </c:pt>
                <c:pt idx="96">
                  <c:v>-1053.125</c:v>
                </c:pt>
                <c:pt idx="97">
                  <c:v>-1053.125</c:v>
                </c:pt>
                <c:pt idx="98">
                  <c:v>-1053.125</c:v>
                </c:pt>
                <c:pt idx="99">
                  <c:v>-1053.125</c:v>
                </c:pt>
                <c:pt idx="100">
                  <c:v>-1053.125</c:v>
                </c:pt>
                <c:pt idx="101">
                  <c:v>-1053.125</c:v>
                </c:pt>
                <c:pt idx="102">
                  <c:v>-1053.125</c:v>
                </c:pt>
                <c:pt idx="103">
                  <c:v>-1603.125</c:v>
                </c:pt>
                <c:pt idx="104">
                  <c:v>-1603.125</c:v>
                </c:pt>
                <c:pt idx="105">
                  <c:v>-1603.125</c:v>
                </c:pt>
                <c:pt idx="106">
                  <c:v>-1603.125</c:v>
                </c:pt>
                <c:pt idx="107">
                  <c:v>-1603.125</c:v>
                </c:pt>
                <c:pt idx="108">
                  <c:v>-1603.125</c:v>
                </c:pt>
                <c:pt idx="109">
                  <c:v>-1603.125</c:v>
                </c:pt>
                <c:pt idx="110">
                  <c:v>-2003.125</c:v>
                </c:pt>
                <c:pt idx="111">
                  <c:v>-2003.125</c:v>
                </c:pt>
                <c:pt idx="112">
                  <c:v>-2003.125</c:v>
                </c:pt>
                <c:pt idx="113">
                  <c:v>-2003.125</c:v>
                </c:pt>
                <c:pt idx="114">
                  <c:v>-2003.125</c:v>
                </c:pt>
                <c:pt idx="115">
                  <c:v>-2003.125</c:v>
                </c:pt>
                <c:pt idx="116">
                  <c:v>-2003.125</c:v>
                </c:pt>
                <c:pt idx="117">
                  <c:v>-2003.125</c:v>
                </c:pt>
                <c:pt idx="118">
                  <c:v>-2003.125</c:v>
                </c:pt>
                <c:pt idx="119">
                  <c:v>-2003.125</c:v>
                </c:pt>
                <c:pt idx="120">
                  <c:v>-2003.125</c:v>
                </c:pt>
                <c:pt idx="121">
                  <c:v>-2003.125</c:v>
                </c:pt>
                <c:pt idx="122">
                  <c:v>-2003.125</c:v>
                </c:pt>
                <c:pt idx="123">
                  <c:v>-2003.125</c:v>
                </c:pt>
                <c:pt idx="124">
                  <c:v>-2084.375</c:v>
                </c:pt>
                <c:pt idx="125">
                  <c:v>-2084.375</c:v>
                </c:pt>
                <c:pt idx="126">
                  <c:v>-2084.375</c:v>
                </c:pt>
                <c:pt idx="127">
                  <c:v>-2084.375</c:v>
                </c:pt>
                <c:pt idx="128">
                  <c:v>-2084.375</c:v>
                </c:pt>
                <c:pt idx="129">
                  <c:v>-2084.375</c:v>
                </c:pt>
                <c:pt idx="130">
                  <c:v>-2084.375</c:v>
                </c:pt>
                <c:pt idx="131">
                  <c:v>-2287.5</c:v>
                </c:pt>
                <c:pt idx="132">
                  <c:v>-2287.5</c:v>
                </c:pt>
                <c:pt idx="133">
                  <c:v>-2287.5</c:v>
                </c:pt>
                <c:pt idx="134">
                  <c:v>-2287.5</c:v>
                </c:pt>
                <c:pt idx="135">
                  <c:v>-2287.5</c:v>
                </c:pt>
                <c:pt idx="136">
                  <c:v>-2287.5</c:v>
                </c:pt>
                <c:pt idx="137">
                  <c:v>-2287.5</c:v>
                </c:pt>
                <c:pt idx="138">
                  <c:v>-2196.875</c:v>
                </c:pt>
                <c:pt idx="139">
                  <c:v>-2196.875</c:v>
                </c:pt>
                <c:pt idx="140">
                  <c:v>-2196.875</c:v>
                </c:pt>
                <c:pt idx="141">
                  <c:v>-2196.875</c:v>
                </c:pt>
                <c:pt idx="142">
                  <c:v>-2196.875</c:v>
                </c:pt>
                <c:pt idx="143">
                  <c:v>-2196.875</c:v>
                </c:pt>
                <c:pt idx="144">
                  <c:v>-2196.875</c:v>
                </c:pt>
                <c:pt idx="145">
                  <c:v>-2121.875</c:v>
                </c:pt>
                <c:pt idx="146">
                  <c:v>-2121.875</c:v>
                </c:pt>
                <c:pt idx="147">
                  <c:v>-2121.875</c:v>
                </c:pt>
                <c:pt idx="148">
                  <c:v>-2121.875</c:v>
                </c:pt>
                <c:pt idx="149">
                  <c:v>-2121.875</c:v>
                </c:pt>
                <c:pt idx="150">
                  <c:v>-2121.875</c:v>
                </c:pt>
                <c:pt idx="151">
                  <c:v>-2121.875</c:v>
                </c:pt>
                <c:pt idx="152">
                  <c:v>-1921.875</c:v>
                </c:pt>
                <c:pt idx="153">
                  <c:v>-1921.875</c:v>
                </c:pt>
                <c:pt idx="154">
                  <c:v>-1921.875</c:v>
                </c:pt>
                <c:pt idx="155">
                  <c:v>-1921.875</c:v>
                </c:pt>
                <c:pt idx="156">
                  <c:v>-1921.875</c:v>
                </c:pt>
                <c:pt idx="157">
                  <c:v>-1921.875</c:v>
                </c:pt>
                <c:pt idx="158">
                  <c:v>-1921.875</c:v>
                </c:pt>
                <c:pt idx="159">
                  <c:v>-1796.875</c:v>
                </c:pt>
                <c:pt idx="160">
                  <c:v>-1796.875</c:v>
                </c:pt>
                <c:pt idx="161">
                  <c:v>-1796.875</c:v>
                </c:pt>
                <c:pt idx="162">
                  <c:v>-1796.875</c:v>
                </c:pt>
                <c:pt idx="163">
                  <c:v>-1796.875</c:v>
                </c:pt>
                <c:pt idx="164">
                  <c:v>-1796.875</c:v>
                </c:pt>
                <c:pt idx="165">
                  <c:v>-1796.875</c:v>
                </c:pt>
                <c:pt idx="166">
                  <c:v>-1609.375</c:v>
                </c:pt>
                <c:pt idx="167">
                  <c:v>-1609.375</c:v>
                </c:pt>
                <c:pt idx="168">
                  <c:v>-1609.375</c:v>
                </c:pt>
                <c:pt idx="169">
                  <c:v>-1609.375</c:v>
                </c:pt>
                <c:pt idx="170">
                  <c:v>-1609.375</c:v>
                </c:pt>
                <c:pt idx="171">
                  <c:v>-1609.375</c:v>
                </c:pt>
                <c:pt idx="172">
                  <c:v>-1609.375</c:v>
                </c:pt>
                <c:pt idx="173">
                  <c:v>-1365.625</c:v>
                </c:pt>
                <c:pt idx="174">
                  <c:v>-1365.625</c:v>
                </c:pt>
                <c:pt idx="175">
                  <c:v>-1365.625</c:v>
                </c:pt>
                <c:pt idx="176">
                  <c:v>-1365.625</c:v>
                </c:pt>
                <c:pt idx="177">
                  <c:v>-1365.625</c:v>
                </c:pt>
                <c:pt idx="178">
                  <c:v>-1365.625</c:v>
                </c:pt>
                <c:pt idx="179">
                  <c:v>-1365.625</c:v>
                </c:pt>
                <c:pt idx="180">
                  <c:v>-1453.125</c:v>
                </c:pt>
                <c:pt idx="181">
                  <c:v>-1453.125</c:v>
                </c:pt>
                <c:pt idx="182">
                  <c:v>-1453.125</c:v>
                </c:pt>
                <c:pt idx="183">
                  <c:v>-1453.125</c:v>
                </c:pt>
                <c:pt idx="184">
                  <c:v>-1453.125</c:v>
                </c:pt>
                <c:pt idx="185">
                  <c:v>-1453.125</c:v>
                </c:pt>
                <c:pt idx="186">
                  <c:v>-1453.125</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4-0D4C-439F-A557-FB61B0A55CBD}"/>
            </c:ext>
          </c:extLst>
        </c:ser>
        <c:dLbls>
          <c:showLegendKey val="0"/>
          <c:showVal val="0"/>
          <c:showCatName val="0"/>
          <c:showSerName val="0"/>
          <c:showPercent val="0"/>
          <c:showBubbleSize val="0"/>
        </c:dLbls>
        <c:smooth val="0"/>
        <c:axId val="948473311"/>
        <c:axId val="698527567"/>
      </c:lineChart>
      <c:catAx>
        <c:axId val="94847331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698527567"/>
        <c:crosses val="autoZero"/>
        <c:auto val="1"/>
        <c:lblAlgn val="ctr"/>
        <c:lblOffset val="100"/>
        <c:noMultiLvlLbl val="0"/>
      </c:catAx>
      <c:valAx>
        <c:axId val="698527567"/>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9484733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ysClr val="windowText" lastClr="000000"/>
                </a:solidFill>
                <a:latin typeface="+mn-lt"/>
                <a:ea typeface="+mn-ea"/>
                <a:cs typeface="+mn-ea"/>
                <a:sym typeface="+mn-lt"/>
              </a:defRPr>
            </a:pPr>
            <a:r>
              <a:rPr lang="zh-CN"/>
              <a:t>华东</a:t>
            </a:r>
            <a:r>
              <a:rPr lang="en-US"/>
              <a:t>ADC12</a:t>
            </a:r>
            <a:r>
              <a:rPr lang="zh-CN"/>
              <a:t>铝合金均价</a:t>
            </a:r>
          </a:p>
        </c:rich>
      </c:tx>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mn-lt"/>
              <a:ea typeface="+mn-ea"/>
              <a:cs typeface="+mn-ea"/>
              <a:sym typeface="+mn-lt"/>
            </a:defRPr>
          </a:pPr>
          <a:endParaRPr lang="zh-CN"/>
        </a:p>
      </c:txPr>
    </c:title>
    <c:autoTitleDeleted val="0"/>
    <c:plotArea>
      <c:layout/>
      <c:lineChart>
        <c:grouping val="standard"/>
        <c:varyColors val="0"/>
        <c:ser>
          <c:idx val="0"/>
          <c:order val="0"/>
          <c:tx>
            <c:strRef>
              <c:f>铝合金价格图表!$AD$4</c:f>
              <c:strCache>
                <c:ptCount val="1"/>
                <c:pt idx="0">
                  <c:v>2020</c:v>
                </c:pt>
              </c:strCache>
            </c:strRef>
          </c:tx>
          <c:spPr>
            <a:ln w="19050" cap="rnd">
              <a:solidFill>
                <a:srgbClr val="7030A0">
                  <a:alpha val="60000"/>
                </a:srgbClr>
              </a:solidFill>
              <a:round/>
            </a:ln>
            <a:effectLst/>
          </c:spPr>
          <c:marker>
            <c:symbol val="none"/>
          </c:marker>
          <c:cat>
            <c:strRef>
              <c:f>铝合金价格图表!$AC$5:$AC$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铝合金价格图表!$AD$5:$AD$370</c:f>
              <c:numCache>
                <c:formatCode>General</c:formatCode>
                <c:ptCount val="366"/>
                <c:pt idx="0">
                  <c:v>#N/A</c:v>
                </c:pt>
                <c:pt idx="1">
                  <c:v>15000</c:v>
                </c:pt>
                <c:pt idx="2">
                  <c:v>15000</c:v>
                </c:pt>
                <c:pt idx="3">
                  <c:v>#N/A</c:v>
                </c:pt>
                <c:pt idx="4">
                  <c:v>#N/A</c:v>
                </c:pt>
                <c:pt idx="5">
                  <c:v>15000</c:v>
                </c:pt>
                <c:pt idx="6">
                  <c:v>15000</c:v>
                </c:pt>
                <c:pt idx="7">
                  <c:v>15000</c:v>
                </c:pt>
                <c:pt idx="8">
                  <c:v>15000</c:v>
                </c:pt>
                <c:pt idx="9">
                  <c:v>15000</c:v>
                </c:pt>
                <c:pt idx="10">
                  <c:v>#N/A</c:v>
                </c:pt>
                <c:pt idx="11">
                  <c:v>#N/A</c:v>
                </c:pt>
                <c:pt idx="12">
                  <c:v>15000</c:v>
                </c:pt>
                <c:pt idx="13">
                  <c:v>15000</c:v>
                </c:pt>
                <c:pt idx="14">
                  <c:v>15000</c:v>
                </c:pt>
                <c:pt idx="15">
                  <c:v>14950</c:v>
                </c:pt>
                <c:pt idx="16">
                  <c:v>15000</c:v>
                </c:pt>
                <c:pt idx="17">
                  <c:v>#N/A</c:v>
                </c:pt>
                <c:pt idx="18">
                  <c:v>#N/A</c:v>
                </c:pt>
                <c:pt idx="19">
                  <c:v>15000</c:v>
                </c:pt>
                <c:pt idx="20">
                  <c:v>15000</c:v>
                </c:pt>
                <c:pt idx="21">
                  <c:v>15000</c:v>
                </c:pt>
                <c:pt idx="22">
                  <c:v>15000</c:v>
                </c:pt>
                <c:pt idx="23">
                  <c:v>#N/A</c:v>
                </c:pt>
                <c:pt idx="24">
                  <c:v>#N/A</c:v>
                </c:pt>
                <c:pt idx="25">
                  <c:v>#N/A</c:v>
                </c:pt>
                <c:pt idx="26">
                  <c:v>#N/A</c:v>
                </c:pt>
                <c:pt idx="27">
                  <c:v>#N/A</c:v>
                </c:pt>
                <c:pt idx="28">
                  <c:v>#N/A</c:v>
                </c:pt>
                <c:pt idx="29">
                  <c:v>#N/A</c:v>
                </c:pt>
                <c:pt idx="30">
                  <c:v>#N/A</c:v>
                </c:pt>
                <c:pt idx="31">
                  <c:v>#N/A</c:v>
                </c:pt>
                <c:pt idx="32">
                  <c:v>#N/A</c:v>
                </c:pt>
                <c:pt idx="33">
                  <c:v>15000</c:v>
                </c:pt>
                <c:pt idx="34">
                  <c:v>15000</c:v>
                </c:pt>
                <c:pt idx="35">
                  <c:v>15000</c:v>
                </c:pt>
                <c:pt idx="36">
                  <c:v>15000</c:v>
                </c:pt>
                <c:pt idx="37">
                  <c:v>15000</c:v>
                </c:pt>
                <c:pt idx="38">
                  <c:v>#N/A</c:v>
                </c:pt>
                <c:pt idx="39">
                  <c:v>#N/A</c:v>
                </c:pt>
                <c:pt idx="40">
                  <c:v>15000</c:v>
                </c:pt>
                <c:pt idx="41">
                  <c:v>15000</c:v>
                </c:pt>
                <c:pt idx="42">
                  <c:v>15000</c:v>
                </c:pt>
                <c:pt idx="43">
                  <c:v>15000</c:v>
                </c:pt>
                <c:pt idx="44">
                  <c:v>15000</c:v>
                </c:pt>
                <c:pt idx="45">
                  <c:v>#N/A</c:v>
                </c:pt>
                <c:pt idx="46">
                  <c:v>#N/A</c:v>
                </c:pt>
                <c:pt idx="47">
                  <c:v>15000</c:v>
                </c:pt>
                <c:pt idx="48">
                  <c:v>15000</c:v>
                </c:pt>
                <c:pt idx="49">
                  <c:v>15000</c:v>
                </c:pt>
                <c:pt idx="50">
                  <c:v>15000</c:v>
                </c:pt>
                <c:pt idx="51">
                  <c:v>15000</c:v>
                </c:pt>
                <c:pt idx="52">
                  <c:v>#N/A</c:v>
                </c:pt>
                <c:pt idx="53">
                  <c:v>#N/A</c:v>
                </c:pt>
                <c:pt idx="54">
                  <c:v>15000</c:v>
                </c:pt>
                <c:pt idx="55">
                  <c:v>15000</c:v>
                </c:pt>
                <c:pt idx="56">
                  <c:v>15000</c:v>
                </c:pt>
                <c:pt idx="57">
                  <c:v>14950</c:v>
                </c:pt>
                <c:pt idx="58">
                  <c:v>14850</c:v>
                </c:pt>
                <c:pt idx="59">
                  <c:v>#N/A</c:v>
                </c:pt>
                <c:pt idx="60">
                  <c:v>#N/A</c:v>
                </c:pt>
                <c:pt idx="61">
                  <c:v>14800</c:v>
                </c:pt>
                <c:pt idx="62">
                  <c:v>14800</c:v>
                </c:pt>
                <c:pt idx="63">
                  <c:v>14800</c:v>
                </c:pt>
                <c:pt idx="64">
                  <c:v>14750</c:v>
                </c:pt>
                <c:pt idx="65">
                  <c:v>14750</c:v>
                </c:pt>
                <c:pt idx="66">
                  <c:v>#N/A</c:v>
                </c:pt>
                <c:pt idx="67">
                  <c:v>#N/A</c:v>
                </c:pt>
                <c:pt idx="68">
                  <c:v>14700</c:v>
                </c:pt>
                <c:pt idx="69">
                  <c:v>14700</c:v>
                </c:pt>
                <c:pt idx="70">
                  <c:v>14700</c:v>
                </c:pt>
                <c:pt idx="71">
                  <c:v>14700</c:v>
                </c:pt>
                <c:pt idx="72">
                  <c:v>14600</c:v>
                </c:pt>
                <c:pt idx="73">
                  <c:v>#N/A</c:v>
                </c:pt>
                <c:pt idx="74">
                  <c:v>#N/A</c:v>
                </c:pt>
                <c:pt idx="75">
                  <c:v>14600</c:v>
                </c:pt>
                <c:pt idx="76">
                  <c:v>14550</c:v>
                </c:pt>
                <c:pt idx="77">
                  <c:v>14500</c:v>
                </c:pt>
                <c:pt idx="78">
                  <c:v>14300</c:v>
                </c:pt>
                <c:pt idx="79">
                  <c:v>14300</c:v>
                </c:pt>
                <c:pt idx="80">
                  <c:v>#N/A</c:v>
                </c:pt>
                <c:pt idx="81">
                  <c:v>#N/A</c:v>
                </c:pt>
                <c:pt idx="82">
                  <c:v>14000</c:v>
                </c:pt>
                <c:pt idx="83">
                  <c:v>14000</c:v>
                </c:pt>
                <c:pt idx="84">
                  <c:v>14000</c:v>
                </c:pt>
                <c:pt idx="85">
                  <c:v>14000</c:v>
                </c:pt>
                <c:pt idx="86">
                  <c:v>14000</c:v>
                </c:pt>
                <c:pt idx="87">
                  <c:v>#N/A</c:v>
                </c:pt>
                <c:pt idx="88">
                  <c:v>#N/A</c:v>
                </c:pt>
                <c:pt idx="89">
                  <c:v>14000</c:v>
                </c:pt>
                <c:pt idx="90">
                  <c:v>13950</c:v>
                </c:pt>
                <c:pt idx="91">
                  <c:v>13950</c:v>
                </c:pt>
                <c:pt idx="92">
                  <c:v>13800</c:v>
                </c:pt>
                <c:pt idx="93">
                  <c:v>13850</c:v>
                </c:pt>
                <c:pt idx="94">
                  <c:v>#N/A</c:v>
                </c:pt>
                <c:pt idx="95">
                  <c:v>#N/A</c:v>
                </c:pt>
                <c:pt idx="96">
                  <c:v>#N/A</c:v>
                </c:pt>
                <c:pt idx="97">
                  <c:v>13850</c:v>
                </c:pt>
                <c:pt idx="98">
                  <c:v>13850</c:v>
                </c:pt>
                <c:pt idx="99">
                  <c:v>13850</c:v>
                </c:pt>
                <c:pt idx="100">
                  <c:v>13800</c:v>
                </c:pt>
                <c:pt idx="101">
                  <c:v>#N/A</c:v>
                </c:pt>
                <c:pt idx="102">
                  <c:v>#N/A</c:v>
                </c:pt>
                <c:pt idx="103">
                  <c:v>13800</c:v>
                </c:pt>
                <c:pt idx="104">
                  <c:v>13750</c:v>
                </c:pt>
                <c:pt idx="105">
                  <c:v>13750</c:v>
                </c:pt>
                <c:pt idx="106">
                  <c:v>13750</c:v>
                </c:pt>
                <c:pt idx="107">
                  <c:v>13800</c:v>
                </c:pt>
                <c:pt idx="108">
                  <c:v>#N/A</c:v>
                </c:pt>
                <c:pt idx="109">
                  <c:v>#N/A</c:v>
                </c:pt>
                <c:pt idx="110">
                  <c:v>13900</c:v>
                </c:pt>
                <c:pt idx="111">
                  <c:v>13850</c:v>
                </c:pt>
                <c:pt idx="112">
                  <c:v>13850</c:v>
                </c:pt>
                <c:pt idx="113">
                  <c:v>13850</c:v>
                </c:pt>
                <c:pt idx="114">
                  <c:v>13850</c:v>
                </c:pt>
                <c:pt idx="115">
                  <c:v>#N/A</c:v>
                </c:pt>
                <c:pt idx="116">
                  <c:v>#N/A</c:v>
                </c:pt>
                <c:pt idx="117">
                  <c:v>13850</c:v>
                </c:pt>
                <c:pt idx="118">
                  <c:v>13850</c:v>
                </c:pt>
                <c:pt idx="119">
                  <c:v>13900</c:v>
                </c:pt>
                <c:pt idx="120">
                  <c:v>13900</c:v>
                </c:pt>
                <c:pt idx="121">
                  <c:v>#N/A</c:v>
                </c:pt>
                <c:pt idx="122">
                  <c:v>#N/A</c:v>
                </c:pt>
                <c:pt idx="123">
                  <c:v>#N/A</c:v>
                </c:pt>
                <c:pt idx="124">
                  <c:v>#N/A</c:v>
                </c:pt>
                <c:pt idx="125">
                  <c:v>#N/A</c:v>
                </c:pt>
                <c:pt idx="126">
                  <c:v>13950</c:v>
                </c:pt>
                <c:pt idx="127">
                  <c:v>13950</c:v>
                </c:pt>
                <c:pt idx="128">
                  <c:v>13950</c:v>
                </c:pt>
                <c:pt idx="129">
                  <c:v>#N/A</c:v>
                </c:pt>
                <c:pt idx="130">
                  <c:v>#N/A</c:v>
                </c:pt>
                <c:pt idx="131">
                  <c:v>13950</c:v>
                </c:pt>
                <c:pt idx="132">
                  <c:v>13950</c:v>
                </c:pt>
                <c:pt idx="133">
                  <c:v>13950</c:v>
                </c:pt>
                <c:pt idx="134">
                  <c:v>13950</c:v>
                </c:pt>
                <c:pt idx="135">
                  <c:v>13950</c:v>
                </c:pt>
                <c:pt idx="136">
                  <c:v>#N/A</c:v>
                </c:pt>
                <c:pt idx="137">
                  <c:v>#N/A</c:v>
                </c:pt>
                <c:pt idx="138">
                  <c:v>13950</c:v>
                </c:pt>
                <c:pt idx="139">
                  <c:v>14050</c:v>
                </c:pt>
                <c:pt idx="140">
                  <c:v>14050</c:v>
                </c:pt>
                <c:pt idx="141">
                  <c:v>14050</c:v>
                </c:pt>
                <c:pt idx="142">
                  <c:v>13950</c:v>
                </c:pt>
                <c:pt idx="143">
                  <c:v>#N/A</c:v>
                </c:pt>
                <c:pt idx="144">
                  <c:v>#N/A</c:v>
                </c:pt>
                <c:pt idx="145">
                  <c:v>13950</c:v>
                </c:pt>
                <c:pt idx="146">
                  <c:v>13950</c:v>
                </c:pt>
                <c:pt idx="147">
                  <c:v>13950</c:v>
                </c:pt>
                <c:pt idx="148">
                  <c:v>13950</c:v>
                </c:pt>
                <c:pt idx="149">
                  <c:v>13950</c:v>
                </c:pt>
                <c:pt idx="150">
                  <c:v>#N/A</c:v>
                </c:pt>
                <c:pt idx="151">
                  <c:v>#N/A</c:v>
                </c:pt>
                <c:pt idx="152">
                  <c:v>13950</c:v>
                </c:pt>
                <c:pt idx="153">
                  <c:v>13950</c:v>
                </c:pt>
                <c:pt idx="154">
                  <c:v>13950</c:v>
                </c:pt>
                <c:pt idx="155">
                  <c:v>13950</c:v>
                </c:pt>
                <c:pt idx="156">
                  <c:v>13950</c:v>
                </c:pt>
                <c:pt idx="157">
                  <c:v>#N/A</c:v>
                </c:pt>
                <c:pt idx="158">
                  <c:v>#N/A</c:v>
                </c:pt>
                <c:pt idx="159">
                  <c:v>13950</c:v>
                </c:pt>
                <c:pt idx="160">
                  <c:v>13950</c:v>
                </c:pt>
                <c:pt idx="161">
                  <c:v>13950</c:v>
                </c:pt>
                <c:pt idx="162">
                  <c:v>13950</c:v>
                </c:pt>
                <c:pt idx="163">
                  <c:v>13950</c:v>
                </c:pt>
                <c:pt idx="164">
                  <c:v>#N/A</c:v>
                </c:pt>
                <c:pt idx="165">
                  <c:v>#N/A</c:v>
                </c:pt>
                <c:pt idx="166">
                  <c:v>13950</c:v>
                </c:pt>
                <c:pt idx="167">
                  <c:v>13950</c:v>
                </c:pt>
                <c:pt idx="168">
                  <c:v>13950</c:v>
                </c:pt>
                <c:pt idx="169">
                  <c:v>13950</c:v>
                </c:pt>
                <c:pt idx="170">
                  <c:v>13950</c:v>
                </c:pt>
                <c:pt idx="171">
                  <c:v>#N/A</c:v>
                </c:pt>
                <c:pt idx="172">
                  <c:v>#N/A</c:v>
                </c:pt>
                <c:pt idx="173">
                  <c:v>13950</c:v>
                </c:pt>
                <c:pt idx="174">
                  <c:v>13950</c:v>
                </c:pt>
                <c:pt idx="175">
                  <c:v>13950</c:v>
                </c:pt>
                <c:pt idx="176">
                  <c:v>#N/A</c:v>
                </c:pt>
                <c:pt idx="177">
                  <c:v>#N/A</c:v>
                </c:pt>
                <c:pt idx="178">
                  <c:v>#N/A</c:v>
                </c:pt>
                <c:pt idx="179">
                  <c:v>#N/A</c:v>
                </c:pt>
                <c:pt idx="180">
                  <c:v>13950</c:v>
                </c:pt>
                <c:pt idx="181">
                  <c:v>13950</c:v>
                </c:pt>
                <c:pt idx="182">
                  <c:v>13950</c:v>
                </c:pt>
                <c:pt idx="183">
                  <c:v>13950</c:v>
                </c:pt>
                <c:pt idx="184">
                  <c:v>13950</c:v>
                </c:pt>
                <c:pt idx="185">
                  <c:v>#N/A</c:v>
                </c:pt>
                <c:pt idx="186">
                  <c:v>#N/A</c:v>
                </c:pt>
                <c:pt idx="187">
                  <c:v>13950</c:v>
                </c:pt>
                <c:pt idx="188">
                  <c:v>13950</c:v>
                </c:pt>
                <c:pt idx="189">
                  <c:v>13950</c:v>
                </c:pt>
                <c:pt idx="190">
                  <c:v>13950</c:v>
                </c:pt>
                <c:pt idx="191">
                  <c:v>13950</c:v>
                </c:pt>
                <c:pt idx="192">
                  <c:v>#N/A</c:v>
                </c:pt>
                <c:pt idx="193">
                  <c:v>#N/A</c:v>
                </c:pt>
                <c:pt idx="194">
                  <c:v>14100</c:v>
                </c:pt>
                <c:pt idx="195">
                  <c:v>14050</c:v>
                </c:pt>
                <c:pt idx="196">
                  <c:v>14050</c:v>
                </c:pt>
                <c:pt idx="197">
                  <c:v>14000</c:v>
                </c:pt>
                <c:pt idx="198">
                  <c:v>13950</c:v>
                </c:pt>
                <c:pt idx="199">
                  <c:v>#N/A</c:v>
                </c:pt>
                <c:pt idx="200">
                  <c:v>#N/A</c:v>
                </c:pt>
                <c:pt idx="201">
                  <c:v>13950</c:v>
                </c:pt>
                <c:pt idx="202">
                  <c:v>13950</c:v>
                </c:pt>
                <c:pt idx="203">
                  <c:v>13950</c:v>
                </c:pt>
                <c:pt idx="204">
                  <c:v>13950</c:v>
                </c:pt>
                <c:pt idx="205">
                  <c:v>13950</c:v>
                </c:pt>
                <c:pt idx="206">
                  <c:v>#N/A</c:v>
                </c:pt>
                <c:pt idx="207">
                  <c:v>#N/A</c:v>
                </c:pt>
                <c:pt idx="208">
                  <c:v>13950</c:v>
                </c:pt>
                <c:pt idx="209">
                  <c:v>13950</c:v>
                </c:pt>
                <c:pt idx="210">
                  <c:v>13950</c:v>
                </c:pt>
                <c:pt idx="211">
                  <c:v>14000</c:v>
                </c:pt>
                <c:pt idx="212">
                  <c:v>14000</c:v>
                </c:pt>
                <c:pt idx="213">
                  <c:v>#N/A</c:v>
                </c:pt>
                <c:pt idx="214">
                  <c:v>#N/A</c:v>
                </c:pt>
                <c:pt idx="215">
                  <c:v>14000</c:v>
                </c:pt>
                <c:pt idx="216">
                  <c:v>14000</c:v>
                </c:pt>
                <c:pt idx="217">
                  <c:v>14000</c:v>
                </c:pt>
                <c:pt idx="218">
                  <c:v>14000</c:v>
                </c:pt>
                <c:pt idx="219">
                  <c:v>14000</c:v>
                </c:pt>
                <c:pt idx="220">
                  <c:v>#N/A</c:v>
                </c:pt>
                <c:pt idx="221">
                  <c:v>#N/A</c:v>
                </c:pt>
                <c:pt idx="222">
                  <c:v>14000</c:v>
                </c:pt>
                <c:pt idx="223">
                  <c:v>14000</c:v>
                </c:pt>
                <c:pt idx="224">
                  <c:v>14000</c:v>
                </c:pt>
                <c:pt idx="225">
                  <c:v>14000</c:v>
                </c:pt>
                <c:pt idx="226">
                  <c:v>14000</c:v>
                </c:pt>
                <c:pt idx="227">
                  <c:v>#N/A</c:v>
                </c:pt>
                <c:pt idx="228">
                  <c:v>#N/A</c:v>
                </c:pt>
                <c:pt idx="229">
                  <c:v>14000</c:v>
                </c:pt>
                <c:pt idx="230">
                  <c:v>14000</c:v>
                </c:pt>
                <c:pt idx="231">
                  <c:v>14000</c:v>
                </c:pt>
                <c:pt idx="232">
                  <c:v>14000</c:v>
                </c:pt>
                <c:pt idx="233">
                  <c:v>14000</c:v>
                </c:pt>
                <c:pt idx="234">
                  <c:v>#N/A</c:v>
                </c:pt>
                <c:pt idx="235">
                  <c:v>#N/A</c:v>
                </c:pt>
                <c:pt idx="236">
                  <c:v>14000</c:v>
                </c:pt>
                <c:pt idx="237">
                  <c:v>14000</c:v>
                </c:pt>
                <c:pt idx="238">
                  <c:v>14000</c:v>
                </c:pt>
                <c:pt idx="239">
                  <c:v>14000</c:v>
                </c:pt>
                <c:pt idx="240">
                  <c:v>14000</c:v>
                </c:pt>
                <c:pt idx="241">
                  <c:v>#N/A</c:v>
                </c:pt>
                <c:pt idx="242">
                  <c:v>#N/A</c:v>
                </c:pt>
                <c:pt idx="243">
                  <c:v>14000</c:v>
                </c:pt>
                <c:pt idx="244">
                  <c:v>14000</c:v>
                </c:pt>
                <c:pt idx="245">
                  <c:v>14000</c:v>
                </c:pt>
                <c:pt idx="246">
                  <c:v>14050</c:v>
                </c:pt>
                <c:pt idx="247">
                  <c:v>14050</c:v>
                </c:pt>
                <c:pt idx="248">
                  <c:v>#N/A</c:v>
                </c:pt>
                <c:pt idx="249">
                  <c:v>#N/A</c:v>
                </c:pt>
                <c:pt idx="250">
                  <c:v>14150</c:v>
                </c:pt>
                <c:pt idx="251">
                  <c:v>14150</c:v>
                </c:pt>
                <c:pt idx="252">
                  <c:v>14150</c:v>
                </c:pt>
                <c:pt idx="253">
                  <c:v>14150</c:v>
                </c:pt>
                <c:pt idx="254">
                  <c:v>14200</c:v>
                </c:pt>
                <c:pt idx="255">
                  <c:v>#N/A</c:v>
                </c:pt>
                <c:pt idx="256">
                  <c:v>#N/A</c:v>
                </c:pt>
                <c:pt idx="257">
                  <c:v>14300</c:v>
                </c:pt>
                <c:pt idx="258">
                  <c:v>14400</c:v>
                </c:pt>
                <c:pt idx="259">
                  <c:v>14550</c:v>
                </c:pt>
                <c:pt idx="260">
                  <c:v>14650</c:v>
                </c:pt>
                <c:pt idx="261">
                  <c:v>14800</c:v>
                </c:pt>
                <c:pt idx="262">
                  <c:v>#N/A</c:v>
                </c:pt>
                <c:pt idx="263">
                  <c:v>#N/A</c:v>
                </c:pt>
                <c:pt idx="264">
                  <c:v>14800</c:v>
                </c:pt>
                <c:pt idx="265">
                  <c:v>14800</c:v>
                </c:pt>
                <c:pt idx="266">
                  <c:v>14800</c:v>
                </c:pt>
                <c:pt idx="267">
                  <c:v>14800</c:v>
                </c:pt>
                <c:pt idx="268">
                  <c:v>14800</c:v>
                </c:pt>
                <c:pt idx="269">
                  <c:v>#N/A</c:v>
                </c:pt>
                <c:pt idx="270">
                  <c:v>#N/A</c:v>
                </c:pt>
                <c:pt idx="271">
                  <c:v>14850</c:v>
                </c:pt>
                <c:pt idx="272">
                  <c:v>14900</c:v>
                </c:pt>
                <c:pt idx="273">
                  <c:v>14900</c:v>
                </c:pt>
                <c:pt idx="274">
                  <c:v>#N/A</c:v>
                </c:pt>
                <c:pt idx="275">
                  <c:v>#N/A</c:v>
                </c:pt>
                <c:pt idx="276">
                  <c:v>#N/A</c:v>
                </c:pt>
                <c:pt idx="277">
                  <c:v>#N/A</c:v>
                </c:pt>
                <c:pt idx="278">
                  <c:v>#N/A</c:v>
                </c:pt>
                <c:pt idx="279">
                  <c:v>#N/A</c:v>
                </c:pt>
                <c:pt idx="280">
                  <c:v>#N/A</c:v>
                </c:pt>
                <c:pt idx="281">
                  <c:v>#N/A</c:v>
                </c:pt>
                <c:pt idx="282">
                  <c:v>15000</c:v>
                </c:pt>
                <c:pt idx="283">
                  <c:v>#N/A</c:v>
                </c:pt>
                <c:pt idx="284">
                  <c:v>#N/A</c:v>
                </c:pt>
                <c:pt idx="285">
                  <c:v>15150</c:v>
                </c:pt>
                <c:pt idx="286">
                  <c:v>15150</c:v>
                </c:pt>
                <c:pt idx="287">
                  <c:v>15150</c:v>
                </c:pt>
                <c:pt idx="288">
                  <c:v>15150</c:v>
                </c:pt>
                <c:pt idx="289">
                  <c:v>15150</c:v>
                </c:pt>
                <c:pt idx="290">
                  <c:v>#N/A</c:v>
                </c:pt>
                <c:pt idx="291">
                  <c:v>#N/A</c:v>
                </c:pt>
                <c:pt idx="292">
                  <c:v>15300</c:v>
                </c:pt>
                <c:pt idx="293">
                  <c:v>15300</c:v>
                </c:pt>
                <c:pt idx="294">
                  <c:v>15300</c:v>
                </c:pt>
                <c:pt idx="295">
                  <c:v>15300</c:v>
                </c:pt>
                <c:pt idx="296">
                  <c:v>15300</c:v>
                </c:pt>
                <c:pt idx="297">
                  <c:v>#N/A</c:v>
                </c:pt>
                <c:pt idx="298">
                  <c:v>#N/A</c:v>
                </c:pt>
                <c:pt idx="299">
                  <c:v>15300</c:v>
                </c:pt>
                <c:pt idx="300">
                  <c:v>15300</c:v>
                </c:pt>
                <c:pt idx="301">
                  <c:v>15300</c:v>
                </c:pt>
                <c:pt idx="302">
                  <c:v>15300</c:v>
                </c:pt>
                <c:pt idx="303">
                  <c:v>15300</c:v>
                </c:pt>
                <c:pt idx="304">
                  <c:v>#N/A</c:v>
                </c:pt>
                <c:pt idx="305">
                  <c:v>#N/A</c:v>
                </c:pt>
                <c:pt idx="306">
                  <c:v>15300</c:v>
                </c:pt>
                <c:pt idx="307">
                  <c:v>15350</c:v>
                </c:pt>
                <c:pt idx="308">
                  <c:v>15350</c:v>
                </c:pt>
                <c:pt idx="309">
                  <c:v>15350</c:v>
                </c:pt>
                <c:pt idx="310">
                  <c:v>15350</c:v>
                </c:pt>
                <c:pt idx="311">
                  <c:v>#N/A</c:v>
                </c:pt>
                <c:pt idx="312">
                  <c:v>#N/A</c:v>
                </c:pt>
                <c:pt idx="313">
                  <c:v>15350</c:v>
                </c:pt>
                <c:pt idx="314">
                  <c:v>15350</c:v>
                </c:pt>
                <c:pt idx="315">
                  <c:v>15400</c:v>
                </c:pt>
                <c:pt idx="316">
                  <c:v>15400</c:v>
                </c:pt>
                <c:pt idx="317">
                  <c:v>15400</c:v>
                </c:pt>
                <c:pt idx="318">
                  <c:v>#N/A</c:v>
                </c:pt>
                <c:pt idx="319">
                  <c:v>#N/A</c:v>
                </c:pt>
                <c:pt idx="320">
                  <c:v>15400</c:v>
                </c:pt>
                <c:pt idx="321">
                  <c:v>15400</c:v>
                </c:pt>
                <c:pt idx="322">
                  <c:v>15500</c:v>
                </c:pt>
                <c:pt idx="323">
                  <c:v>15650</c:v>
                </c:pt>
                <c:pt idx="324">
                  <c:v>15650</c:v>
                </c:pt>
                <c:pt idx="325">
                  <c:v>#N/A</c:v>
                </c:pt>
                <c:pt idx="326">
                  <c:v>#N/A</c:v>
                </c:pt>
                <c:pt idx="327">
                  <c:v>15650</c:v>
                </c:pt>
                <c:pt idx="328">
                  <c:v>15700</c:v>
                </c:pt>
                <c:pt idx="329">
                  <c:v>15800</c:v>
                </c:pt>
                <c:pt idx="330">
                  <c:v>15850</c:v>
                </c:pt>
                <c:pt idx="331">
                  <c:v>16150</c:v>
                </c:pt>
                <c:pt idx="332">
                  <c:v>#N/A</c:v>
                </c:pt>
                <c:pt idx="333">
                  <c:v>#N/A</c:v>
                </c:pt>
                <c:pt idx="334">
                  <c:v>16800</c:v>
                </c:pt>
                <c:pt idx="335">
                  <c:v>17100</c:v>
                </c:pt>
                <c:pt idx="336">
                  <c:v>17400</c:v>
                </c:pt>
                <c:pt idx="337">
                  <c:v>17400</c:v>
                </c:pt>
                <c:pt idx="338">
                  <c:v>17350</c:v>
                </c:pt>
                <c:pt idx="339">
                  <c:v>#N/A</c:v>
                </c:pt>
                <c:pt idx="340">
                  <c:v>#N/A</c:v>
                </c:pt>
                <c:pt idx="341">
                  <c:v>17350</c:v>
                </c:pt>
                <c:pt idx="342">
                  <c:v>17350</c:v>
                </c:pt>
                <c:pt idx="343">
                  <c:v>17350</c:v>
                </c:pt>
                <c:pt idx="344">
                  <c:v>17350</c:v>
                </c:pt>
                <c:pt idx="345">
                  <c:v>17400</c:v>
                </c:pt>
                <c:pt idx="346">
                  <c:v>#N/A</c:v>
                </c:pt>
                <c:pt idx="347">
                  <c:v>#N/A</c:v>
                </c:pt>
                <c:pt idx="348">
                  <c:v>17400</c:v>
                </c:pt>
                <c:pt idx="349">
                  <c:v>17400</c:v>
                </c:pt>
                <c:pt idx="350">
                  <c:v>17400</c:v>
                </c:pt>
                <c:pt idx="351">
                  <c:v>17400</c:v>
                </c:pt>
                <c:pt idx="352">
                  <c:v>17450</c:v>
                </c:pt>
                <c:pt idx="353">
                  <c:v>#N/A</c:v>
                </c:pt>
                <c:pt idx="354">
                  <c:v>#N/A</c:v>
                </c:pt>
                <c:pt idx="355">
                  <c:v>17400</c:v>
                </c:pt>
                <c:pt idx="356">
                  <c:v>17350</c:v>
                </c:pt>
                <c:pt idx="357">
                  <c:v>17300</c:v>
                </c:pt>
                <c:pt idx="358">
                  <c:v>17350</c:v>
                </c:pt>
                <c:pt idx="359">
                  <c:v>17350</c:v>
                </c:pt>
                <c:pt idx="360">
                  <c:v>#N/A</c:v>
                </c:pt>
                <c:pt idx="361">
                  <c:v>#N/A</c:v>
                </c:pt>
                <c:pt idx="362">
                  <c:v>17350</c:v>
                </c:pt>
                <c:pt idx="363">
                  <c:v>17250</c:v>
                </c:pt>
                <c:pt idx="364">
                  <c:v>17200</c:v>
                </c:pt>
                <c:pt idx="365">
                  <c:v>17200</c:v>
                </c:pt>
              </c:numCache>
            </c:numRef>
          </c:val>
          <c:smooth val="0"/>
          <c:extLst>
            <c:ext xmlns:c16="http://schemas.microsoft.com/office/drawing/2014/chart" uri="{C3380CC4-5D6E-409C-BE32-E72D297353CC}">
              <c16:uniqueId val="{00000000-28D2-4ACC-B13D-F6A9A407924B}"/>
            </c:ext>
          </c:extLst>
        </c:ser>
        <c:ser>
          <c:idx val="1"/>
          <c:order val="1"/>
          <c:tx>
            <c:strRef>
              <c:f>铝合金价格图表!$AE$4</c:f>
              <c:strCache>
                <c:ptCount val="1"/>
                <c:pt idx="0">
                  <c:v>2021</c:v>
                </c:pt>
              </c:strCache>
            </c:strRef>
          </c:tx>
          <c:spPr>
            <a:ln w="19050" cap="rnd">
              <a:solidFill>
                <a:schemeClr val="accent5">
                  <a:lumMod val="75000"/>
                  <a:alpha val="60000"/>
                </a:schemeClr>
              </a:solidFill>
              <a:round/>
            </a:ln>
            <a:effectLst/>
          </c:spPr>
          <c:marker>
            <c:symbol val="none"/>
          </c:marker>
          <c:cat>
            <c:strRef>
              <c:f>铝合金价格图表!$AC$5:$AC$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铝合金价格图表!$AE$5:$AE$370</c:f>
              <c:numCache>
                <c:formatCode>General</c:formatCode>
                <c:ptCount val="366"/>
                <c:pt idx="0">
                  <c:v>#N/A</c:v>
                </c:pt>
                <c:pt idx="1">
                  <c:v>#N/A</c:v>
                </c:pt>
                <c:pt idx="2">
                  <c:v>#N/A</c:v>
                </c:pt>
                <c:pt idx="3">
                  <c:v>17100</c:v>
                </c:pt>
                <c:pt idx="4">
                  <c:v>17100</c:v>
                </c:pt>
                <c:pt idx="5">
                  <c:v>17050</c:v>
                </c:pt>
                <c:pt idx="6">
                  <c:v>17000</c:v>
                </c:pt>
                <c:pt idx="7">
                  <c:v>17000</c:v>
                </c:pt>
                <c:pt idx="8">
                  <c:v>#N/A</c:v>
                </c:pt>
                <c:pt idx="9">
                  <c:v>#N/A</c:v>
                </c:pt>
                <c:pt idx="10">
                  <c:v>16900</c:v>
                </c:pt>
                <c:pt idx="11">
                  <c:v>16800</c:v>
                </c:pt>
                <c:pt idx="12">
                  <c:v>16750</c:v>
                </c:pt>
                <c:pt idx="13">
                  <c:v>16650</c:v>
                </c:pt>
                <c:pt idx="14">
                  <c:v>16650</c:v>
                </c:pt>
                <c:pt idx="15">
                  <c:v>#N/A</c:v>
                </c:pt>
                <c:pt idx="16">
                  <c:v>#N/A</c:v>
                </c:pt>
                <c:pt idx="17">
                  <c:v>16650</c:v>
                </c:pt>
                <c:pt idx="18">
                  <c:v>16650</c:v>
                </c:pt>
                <c:pt idx="19">
                  <c:v>16650</c:v>
                </c:pt>
                <c:pt idx="20">
                  <c:v>16750</c:v>
                </c:pt>
                <c:pt idx="21">
                  <c:v>16750</c:v>
                </c:pt>
                <c:pt idx="22">
                  <c:v>#N/A</c:v>
                </c:pt>
                <c:pt idx="23">
                  <c:v>#N/A</c:v>
                </c:pt>
                <c:pt idx="24">
                  <c:v>16750</c:v>
                </c:pt>
                <c:pt idx="25">
                  <c:v>16750</c:v>
                </c:pt>
                <c:pt idx="26">
                  <c:v>16750</c:v>
                </c:pt>
                <c:pt idx="27">
                  <c:v>16750</c:v>
                </c:pt>
                <c:pt idx="28">
                  <c:v>16800</c:v>
                </c:pt>
                <c:pt idx="29">
                  <c:v>#N/A</c:v>
                </c:pt>
                <c:pt idx="30">
                  <c:v>#N/A</c:v>
                </c:pt>
                <c:pt idx="31">
                  <c:v>16900</c:v>
                </c:pt>
                <c:pt idx="32">
                  <c:v>16900</c:v>
                </c:pt>
                <c:pt idx="33">
                  <c:v>16900</c:v>
                </c:pt>
                <c:pt idx="34">
                  <c:v>17000</c:v>
                </c:pt>
                <c:pt idx="35">
                  <c:v>17000</c:v>
                </c:pt>
                <c:pt idx="36">
                  <c:v>#N/A</c:v>
                </c:pt>
                <c:pt idx="37">
                  <c:v>#N/A</c:v>
                </c:pt>
                <c:pt idx="38">
                  <c:v>17050</c:v>
                </c:pt>
                <c:pt idx="39">
                  <c:v>17050</c:v>
                </c:pt>
                <c:pt idx="40">
                  <c:v>17100</c:v>
                </c:pt>
                <c:pt idx="41">
                  <c:v>#N/A</c:v>
                </c:pt>
                <c:pt idx="42">
                  <c:v>#N/A</c:v>
                </c:pt>
                <c:pt idx="43">
                  <c:v>#N/A</c:v>
                </c:pt>
                <c:pt idx="44">
                  <c:v>#N/A</c:v>
                </c:pt>
                <c:pt idx="45">
                  <c:v>#N/A</c:v>
                </c:pt>
                <c:pt idx="46">
                  <c:v>#N/A</c:v>
                </c:pt>
                <c:pt idx="47">
                  <c:v>#N/A</c:v>
                </c:pt>
                <c:pt idx="48">
                  <c:v>17350</c:v>
                </c:pt>
                <c:pt idx="49">
                  <c:v>17450</c:v>
                </c:pt>
                <c:pt idx="50">
                  <c:v>#N/A</c:v>
                </c:pt>
                <c:pt idx="51">
                  <c:v>#N/A</c:v>
                </c:pt>
                <c:pt idx="52">
                  <c:v>17750</c:v>
                </c:pt>
                <c:pt idx="53">
                  <c:v>17750</c:v>
                </c:pt>
                <c:pt idx="54">
                  <c:v>17750</c:v>
                </c:pt>
                <c:pt idx="55">
                  <c:v>18300</c:v>
                </c:pt>
                <c:pt idx="56">
                  <c:v>18200</c:v>
                </c:pt>
                <c:pt idx="57">
                  <c:v>#N/A</c:v>
                </c:pt>
                <c:pt idx="58">
                  <c:v>#N/A</c:v>
                </c:pt>
                <c:pt idx="60">
                  <c:v>18100</c:v>
                </c:pt>
                <c:pt idx="61">
                  <c:v>18050</c:v>
                </c:pt>
                <c:pt idx="62">
                  <c:v>18250</c:v>
                </c:pt>
                <c:pt idx="63">
                  <c:v>18250</c:v>
                </c:pt>
                <c:pt idx="64">
                  <c:v>18050</c:v>
                </c:pt>
                <c:pt idx="65">
                  <c:v>#N/A</c:v>
                </c:pt>
                <c:pt idx="66">
                  <c:v>#N/A</c:v>
                </c:pt>
                <c:pt idx="67">
                  <c:v>18100</c:v>
                </c:pt>
                <c:pt idx="68">
                  <c:v>18000</c:v>
                </c:pt>
                <c:pt idx="69">
                  <c:v>17950</c:v>
                </c:pt>
                <c:pt idx="70">
                  <c:v>18000</c:v>
                </c:pt>
                <c:pt idx="71">
                  <c:v>18000</c:v>
                </c:pt>
                <c:pt idx="72">
                  <c:v>#N/A</c:v>
                </c:pt>
                <c:pt idx="73">
                  <c:v>#N/A</c:v>
                </c:pt>
                <c:pt idx="74">
                  <c:v>18000</c:v>
                </c:pt>
                <c:pt idx="75">
                  <c:v>18100</c:v>
                </c:pt>
                <c:pt idx="76">
                  <c:v>18050</c:v>
                </c:pt>
                <c:pt idx="77">
                  <c:v>18050</c:v>
                </c:pt>
                <c:pt idx="78">
                  <c:v>18000</c:v>
                </c:pt>
                <c:pt idx="79">
                  <c:v>#N/A</c:v>
                </c:pt>
                <c:pt idx="80">
                  <c:v>#N/A</c:v>
                </c:pt>
                <c:pt idx="81">
                  <c:v>18100</c:v>
                </c:pt>
                <c:pt idx="82">
                  <c:v>18000</c:v>
                </c:pt>
                <c:pt idx="83">
                  <c:v>17900</c:v>
                </c:pt>
                <c:pt idx="84">
                  <c:v>17900</c:v>
                </c:pt>
                <c:pt idx="85">
                  <c:v>17950</c:v>
                </c:pt>
                <c:pt idx="86">
                  <c:v>#N/A</c:v>
                </c:pt>
                <c:pt idx="87">
                  <c:v>#N/A</c:v>
                </c:pt>
                <c:pt idx="88">
                  <c:v>17950</c:v>
                </c:pt>
                <c:pt idx="89">
                  <c:v>17950</c:v>
                </c:pt>
                <c:pt idx="90">
                  <c:v>17900</c:v>
                </c:pt>
                <c:pt idx="91">
                  <c:v>17900</c:v>
                </c:pt>
                <c:pt idx="92">
                  <c:v>17950</c:v>
                </c:pt>
                <c:pt idx="93">
                  <c:v>#N/A</c:v>
                </c:pt>
                <c:pt idx="94">
                  <c:v>#N/A</c:v>
                </c:pt>
                <c:pt idx="95">
                  <c:v>#N/A</c:v>
                </c:pt>
                <c:pt idx="96">
                  <c:v>17950</c:v>
                </c:pt>
                <c:pt idx="97">
                  <c:v>17850</c:v>
                </c:pt>
                <c:pt idx="98">
                  <c:v>17850</c:v>
                </c:pt>
                <c:pt idx="99">
                  <c:v>17850</c:v>
                </c:pt>
                <c:pt idx="100">
                  <c:v>#N/A</c:v>
                </c:pt>
                <c:pt idx="101">
                  <c:v>#N/A</c:v>
                </c:pt>
                <c:pt idx="102">
                  <c:v>17850</c:v>
                </c:pt>
                <c:pt idx="103">
                  <c:v>17850</c:v>
                </c:pt>
                <c:pt idx="104">
                  <c:v>17950</c:v>
                </c:pt>
                <c:pt idx="105">
                  <c:v>18100</c:v>
                </c:pt>
                <c:pt idx="106">
                  <c:v>18100</c:v>
                </c:pt>
                <c:pt idx="107">
                  <c:v>#N/A</c:v>
                </c:pt>
                <c:pt idx="108">
                  <c:v>#N/A</c:v>
                </c:pt>
                <c:pt idx="109">
                  <c:v>18100</c:v>
                </c:pt>
                <c:pt idx="110">
                  <c:v>18100</c:v>
                </c:pt>
                <c:pt idx="111">
                  <c:v>18050</c:v>
                </c:pt>
                <c:pt idx="112">
                  <c:v>18050</c:v>
                </c:pt>
                <c:pt idx="113">
                  <c:v>18050</c:v>
                </c:pt>
                <c:pt idx="114">
                  <c:v>#N/A</c:v>
                </c:pt>
                <c:pt idx="115">
                  <c:v>#N/A</c:v>
                </c:pt>
                <c:pt idx="116">
                  <c:v>18050</c:v>
                </c:pt>
                <c:pt idx="117">
                  <c:v>18150</c:v>
                </c:pt>
                <c:pt idx="118">
                  <c:v>18150</c:v>
                </c:pt>
                <c:pt idx="119">
                  <c:v>18450</c:v>
                </c:pt>
                <c:pt idx="120">
                  <c:v>18450</c:v>
                </c:pt>
                <c:pt idx="121">
                  <c:v>#N/A</c:v>
                </c:pt>
                <c:pt idx="122">
                  <c:v>#N/A</c:v>
                </c:pt>
                <c:pt idx="123">
                  <c:v>#N/A</c:v>
                </c:pt>
                <c:pt idx="124">
                  <c:v>#N/A</c:v>
                </c:pt>
                <c:pt idx="125">
                  <c:v>#N/A</c:v>
                </c:pt>
                <c:pt idx="126">
                  <c:v>18650</c:v>
                </c:pt>
                <c:pt idx="127">
                  <c:v>19000</c:v>
                </c:pt>
                <c:pt idx="128">
                  <c:v>#N/A</c:v>
                </c:pt>
                <c:pt idx="129">
                  <c:v>#N/A</c:v>
                </c:pt>
                <c:pt idx="130">
                  <c:v>19500</c:v>
                </c:pt>
                <c:pt idx="131">
                  <c:v>19400</c:v>
                </c:pt>
                <c:pt idx="132">
                  <c:v>19500</c:v>
                </c:pt>
                <c:pt idx="133">
                  <c:v>19500</c:v>
                </c:pt>
                <c:pt idx="134">
                  <c:v>19400</c:v>
                </c:pt>
                <c:pt idx="135">
                  <c:v>#N/A</c:v>
                </c:pt>
                <c:pt idx="136">
                  <c:v>#N/A</c:v>
                </c:pt>
                <c:pt idx="137">
                  <c:v>19400</c:v>
                </c:pt>
                <c:pt idx="138">
                  <c:v>19550</c:v>
                </c:pt>
                <c:pt idx="139">
                  <c:v>19450</c:v>
                </c:pt>
                <c:pt idx="140">
                  <c:v>19300</c:v>
                </c:pt>
                <c:pt idx="141">
                  <c:v>19150</c:v>
                </c:pt>
                <c:pt idx="142">
                  <c:v>#N/A</c:v>
                </c:pt>
                <c:pt idx="143">
                  <c:v>#N/A</c:v>
                </c:pt>
                <c:pt idx="144">
                  <c:v>19100</c:v>
                </c:pt>
                <c:pt idx="145">
                  <c:v>19100</c:v>
                </c:pt>
                <c:pt idx="146">
                  <c:v>19100</c:v>
                </c:pt>
                <c:pt idx="147">
                  <c:v>19100</c:v>
                </c:pt>
                <c:pt idx="148">
                  <c:v>19250</c:v>
                </c:pt>
                <c:pt idx="149">
                  <c:v>#N/A</c:v>
                </c:pt>
                <c:pt idx="150">
                  <c:v>#N/A</c:v>
                </c:pt>
                <c:pt idx="151">
                  <c:v>19200</c:v>
                </c:pt>
                <c:pt idx="152">
                  <c:v>19100</c:v>
                </c:pt>
                <c:pt idx="153">
                  <c:v>19100</c:v>
                </c:pt>
                <c:pt idx="154">
                  <c:v>18900</c:v>
                </c:pt>
                <c:pt idx="155">
                  <c:v>18700</c:v>
                </c:pt>
                <c:pt idx="156">
                  <c:v>#N/A</c:v>
                </c:pt>
                <c:pt idx="157">
                  <c:v>#N/A</c:v>
                </c:pt>
                <c:pt idx="158">
                  <c:v>18750</c:v>
                </c:pt>
                <c:pt idx="159">
                  <c:v>18600</c:v>
                </c:pt>
                <c:pt idx="160">
                  <c:v>18600</c:v>
                </c:pt>
                <c:pt idx="161">
                  <c:v>18600</c:v>
                </c:pt>
                <c:pt idx="162">
                  <c:v>18600</c:v>
                </c:pt>
                <c:pt idx="163">
                  <c:v>#N/A</c:v>
                </c:pt>
                <c:pt idx="164">
                  <c:v>#N/A</c:v>
                </c:pt>
                <c:pt idx="165">
                  <c:v>#N/A</c:v>
                </c:pt>
                <c:pt idx="166">
                  <c:v>18600</c:v>
                </c:pt>
                <c:pt idx="167">
                  <c:v>18550</c:v>
                </c:pt>
                <c:pt idx="168">
                  <c:v>18500</c:v>
                </c:pt>
                <c:pt idx="169">
                  <c:v>18400</c:v>
                </c:pt>
                <c:pt idx="170">
                  <c:v>#N/A</c:v>
                </c:pt>
                <c:pt idx="171">
                  <c:v>#N/A</c:v>
                </c:pt>
                <c:pt idx="172">
                  <c:v>18300</c:v>
                </c:pt>
                <c:pt idx="173">
                  <c:v>18300</c:v>
                </c:pt>
                <c:pt idx="174">
                  <c:v>18300</c:v>
                </c:pt>
                <c:pt idx="175">
                  <c:v>18300</c:v>
                </c:pt>
                <c:pt idx="176">
                  <c:v>18300</c:v>
                </c:pt>
                <c:pt idx="177">
                  <c:v>#N/A</c:v>
                </c:pt>
                <c:pt idx="178">
                  <c:v>#N/A</c:v>
                </c:pt>
                <c:pt idx="179">
                  <c:v>18300</c:v>
                </c:pt>
                <c:pt idx="180">
                  <c:v>18300</c:v>
                </c:pt>
                <c:pt idx="181">
                  <c:v>18200</c:v>
                </c:pt>
                <c:pt idx="182">
                  <c:v>18150</c:v>
                </c:pt>
                <c:pt idx="183">
                  <c:v>18100</c:v>
                </c:pt>
                <c:pt idx="184">
                  <c:v>#N/A</c:v>
                </c:pt>
                <c:pt idx="185">
                  <c:v>#N/A</c:v>
                </c:pt>
                <c:pt idx="186">
                  <c:v>18200</c:v>
                </c:pt>
                <c:pt idx="187">
                  <c:v>18200</c:v>
                </c:pt>
                <c:pt idx="188">
                  <c:v>18200</c:v>
                </c:pt>
                <c:pt idx="189">
                  <c:v>18200</c:v>
                </c:pt>
                <c:pt idx="190">
                  <c:v>18200</c:v>
                </c:pt>
                <c:pt idx="191">
                  <c:v>#N/A</c:v>
                </c:pt>
                <c:pt idx="192">
                  <c:v>#N/A</c:v>
                </c:pt>
                <c:pt idx="193">
                  <c:v>18300</c:v>
                </c:pt>
                <c:pt idx="194">
                  <c:v>18350</c:v>
                </c:pt>
                <c:pt idx="195">
                  <c:v>18400</c:v>
                </c:pt>
                <c:pt idx="196">
                  <c:v>18500</c:v>
                </c:pt>
                <c:pt idx="197">
                  <c:v>18700</c:v>
                </c:pt>
                <c:pt idx="198">
                  <c:v>#N/A</c:v>
                </c:pt>
                <c:pt idx="199">
                  <c:v>#N/A</c:v>
                </c:pt>
                <c:pt idx="200">
                  <c:v>18700</c:v>
                </c:pt>
                <c:pt idx="201">
                  <c:v>18650</c:v>
                </c:pt>
                <c:pt idx="202">
                  <c:v>18650</c:v>
                </c:pt>
                <c:pt idx="203">
                  <c:v>18650</c:v>
                </c:pt>
                <c:pt idx="204">
                  <c:v>18850</c:v>
                </c:pt>
                <c:pt idx="205">
                  <c:v>#N/A</c:v>
                </c:pt>
                <c:pt idx="206">
                  <c:v>#N/A</c:v>
                </c:pt>
                <c:pt idx="207">
                  <c:v>19050</c:v>
                </c:pt>
                <c:pt idx="208">
                  <c:v>19050</c:v>
                </c:pt>
                <c:pt idx="209">
                  <c:v>19000</c:v>
                </c:pt>
                <c:pt idx="210">
                  <c:v>19050</c:v>
                </c:pt>
                <c:pt idx="211">
                  <c:v>19200</c:v>
                </c:pt>
                <c:pt idx="212">
                  <c:v>#N/A</c:v>
                </c:pt>
                <c:pt idx="213">
                  <c:v>#N/A</c:v>
                </c:pt>
                <c:pt idx="214">
                  <c:v>19200</c:v>
                </c:pt>
                <c:pt idx="215">
                  <c:v>19200</c:v>
                </c:pt>
                <c:pt idx="216">
                  <c:v>19200</c:v>
                </c:pt>
                <c:pt idx="217">
                  <c:v>19200</c:v>
                </c:pt>
                <c:pt idx="218">
                  <c:v>19300</c:v>
                </c:pt>
                <c:pt idx="219">
                  <c:v>#N/A</c:v>
                </c:pt>
                <c:pt idx="220">
                  <c:v>#N/A</c:v>
                </c:pt>
                <c:pt idx="221">
                  <c:v>19300</c:v>
                </c:pt>
                <c:pt idx="222">
                  <c:v>19300</c:v>
                </c:pt>
                <c:pt idx="223">
                  <c:v>19500</c:v>
                </c:pt>
                <c:pt idx="224">
                  <c:v>19500</c:v>
                </c:pt>
                <c:pt idx="225">
                  <c:v>19500</c:v>
                </c:pt>
                <c:pt idx="226">
                  <c:v>#N/A</c:v>
                </c:pt>
                <c:pt idx="227">
                  <c:v>#N/A</c:v>
                </c:pt>
                <c:pt idx="228">
                  <c:v>19700</c:v>
                </c:pt>
                <c:pt idx="229">
                  <c:v>19700</c:v>
                </c:pt>
                <c:pt idx="230">
                  <c:v>19700</c:v>
                </c:pt>
                <c:pt idx="231">
                  <c:v>19650</c:v>
                </c:pt>
                <c:pt idx="232">
                  <c:v>19650</c:v>
                </c:pt>
                <c:pt idx="233">
                  <c:v>#N/A</c:v>
                </c:pt>
                <c:pt idx="234">
                  <c:v>#N/A</c:v>
                </c:pt>
                <c:pt idx="235">
                  <c:v>19850</c:v>
                </c:pt>
                <c:pt idx="236">
                  <c:v>19950</c:v>
                </c:pt>
                <c:pt idx="237">
                  <c:v>20150</c:v>
                </c:pt>
                <c:pt idx="238">
                  <c:v>20150</c:v>
                </c:pt>
                <c:pt idx="239">
                  <c:v>20250</c:v>
                </c:pt>
                <c:pt idx="240">
                  <c:v>#N/A</c:v>
                </c:pt>
                <c:pt idx="241">
                  <c:v>#N/A</c:v>
                </c:pt>
                <c:pt idx="242">
                  <c:v>20650</c:v>
                </c:pt>
                <c:pt idx="243">
                  <c:v>20900</c:v>
                </c:pt>
                <c:pt idx="244">
                  <c:v>20900</c:v>
                </c:pt>
                <c:pt idx="245">
                  <c:v>20900</c:v>
                </c:pt>
                <c:pt idx="246">
                  <c:v>21100</c:v>
                </c:pt>
                <c:pt idx="247">
                  <c:v>#N/A</c:v>
                </c:pt>
                <c:pt idx="248">
                  <c:v>#N/A</c:v>
                </c:pt>
                <c:pt idx="249">
                  <c:v>21600</c:v>
                </c:pt>
                <c:pt idx="250">
                  <c:v>21600</c:v>
                </c:pt>
                <c:pt idx="251">
                  <c:v>21650</c:v>
                </c:pt>
                <c:pt idx="252">
                  <c:v>22000</c:v>
                </c:pt>
                <c:pt idx="253">
                  <c:v>22400</c:v>
                </c:pt>
                <c:pt idx="254">
                  <c:v>#N/A</c:v>
                </c:pt>
                <c:pt idx="255">
                  <c:v>#N/A</c:v>
                </c:pt>
                <c:pt idx="256">
                  <c:v>23500</c:v>
                </c:pt>
                <c:pt idx="257">
                  <c:v>23300</c:v>
                </c:pt>
                <c:pt idx="258">
                  <c:v>23100</c:v>
                </c:pt>
                <c:pt idx="259">
                  <c:v>23350</c:v>
                </c:pt>
                <c:pt idx="260">
                  <c:v>23650</c:v>
                </c:pt>
                <c:pt idx="261">
                  <c:v>#N/A</c:v>
                </c:pt>
                <c:pt idx="262">
                  <c:v>#N/A</c:v>
                </c:pt>
                <c:pt idx="263">
                  <c:v>#N/A</c:v>
                </c:pt>
                <c:pt idx="264">
                  <c:v>#N/A</c:v>
                </c:pt>
                <c:pt idx="265">
                  <c:v>23650</c:v>
                </c:pt>
                <c:pt idx="266">
                  <c:v>24650</c:v>
                </c:pt>
                <c:pt idx="267">
                  <c:v>24650</c:v>
                </c:pt>
                <c:pt idx="268">
                  <c:v>#N/A</c:v>
                </c:pt>
                <c:pt idx="269">
                  <c:v>#N/A</c:v>
                </c:pt>
                <c:pt idx="270">
                  <c:v>24650</c:v>
                </c:pt>
                <c:pt idx="271">
                  <c:v>24350</c:v>
                </c:pt>
                <c:pt idx="272">
                  <c:v>24400</c:v>
                </c:pt>
                <c:pt idx="273">
                  <c:v>24400</c:v>
                </c:pt>
                <c:pt idx="274">
                  <c:v>#N/A</c:v>
                </c:pt>
                <c:pt idx="275">
                  <c:v>#N/A</c:v>
                </c:pt>
                <c:pt idx="276">
                  <c:v>#N/A</c:v>
                </c:pt>
                <c:pt idx="277">
                  <c:v>#N/A</c:v>
                </c:pt>
                <c:pt idx="278">
                  <c:v>#N/A</c:v>
                </c:pt>
                <c:pt idx="279">
                  <c:v>#N/A</c:v>
                </c:pt>
                <c:pt idx="280">
                  <c:v>#N/A</c:v>
                </c:pt>
                <c:pt idx="281">
                  <c:v>24400</c:v>
                </c:pt>
                <c:pt idx="282">
                  <c:v>#N/A</c:v>
                </c:pt>
                <c:pt idx="283">
                  <c:v>#N/A</c:v>
                </c:pt>
                <c:pt idx="284">
                  <c:v>24400</c:v>
                </c:pt>
                <c:pt idx="285">
                  <c:v>24400</c:v>
                </c:pt>
                <c:pt idx="286">
                  <c:v>24400</c:v>
                </c:pt>
                <c:pt idx="287">
                  <c:v>24400</c:v>
                </c:pt>
                <c:pt idx="288">
                  <c:v>24450</c:v>
                </c:pt>
                <c:pt idx="289">
                  <c:v>#N/A</c:v>
                </c:pt>
                <c:pt idx="290">
                  <c:v>#N/A</c:v>
                </c:pt>
                <c:pt idx="291">
                  <c:v>24550</c:v>
                </c:pt>
                <c:pt idx="292">
                  <c:v>24550</c:v>
                </c:pt>
                <c:pt idx="293">
                  <c:v>24050</c:v>
                </c:pt>
                <c:pt idx="294">
                  <c:v>24050</c:v>
                </c:pt>
                <c:pt idx="295">
                  <c:v>23250</c:v>
                </c:pt>
                <c:pt idx="296">
                  <c:v>#N/A</c:v>
                </c:pt>
                <c:pt idx="297">
                  <c:v>#N/A</c:v>
                </c:pt>
                <c:pt idx="298">
                  <c:v>23000</c:v>
                </c:pt>
                <c:pt idx="299">
                  <c:v>22700</c:v>
                </c:pt>
                <c:pt idx="300">
                  <c:v>22500</c:v>
                </c:pt>
                <c:pt idx="301">
                  <c:v>21800</c:v>
                </c:pt>
                <c:pt idx="302">
                  <c:v>22100</c:v>
                </c:pt>
                <c:pt idx="303">
                  <c:v>#N/A</c:v>
                </c:pt>
                <c:pt idx="304">
                  <c:v>#N/A</c:v>
                </c:pt>
                <c:pt idx="305">
                  <c:v>22000</c:v>
                </c:pt>
                <c:pt idx="306">
                  <c:v>21800</c:v>
                </c:pt>
                <c:pt idx="307">
                  <c:v>21500</c:v>
                </c:pt>
                <c:pt idx="308">
                  <c:v>21400</c:v>
                </c:pt>
                <c:pt idx="309">
                  <c:v>20800</c:v>
                </c:pt>
                <c:pt idx="310">
                  <c:v>#N/A</c:v>
                </c:pt>
                <c:pt idx="311">
                  <c:v>#N/A</c:v>
                </c:pt>
                <c:pt idx="312">
                  <c:v>20600</c:v>
                </c:pt>
                <c:pt idx="313">
                  <c:v>20600</c:v>
                </c:pt>
                <c:pt idx="314">
                  <c:v>20300</c:v>
                </c:pt>
                <c:pt idx="315">
                  <c:v>20350</c:v>
                </c:pt>
                <c:pt idx="316">
                  <c:v>20550</c:v>
                </c:pt>
                <c:pt idx="317">
                  <c:v>#N/A</c:v>
                </c:pt>
                <c:pt idx="318">
                  <c:v>#N/A</c:v>
                </c:pt>
                <c:pt idx="319">
                  <c:v>20450</c:v>
                </c:pt>
                <c:pt idx="320">
                  <c:v>20350</c:v>
                </c:pt>
                <c:pt idx="321">
                  <c:v>20150</c:v>
                </c:pt>
                <c:pt idx="322">
                  <c:v>20150</c:v>
                </c:pt>
                <c:pt idx="323">
                  <c:v>20250</c:v>
                </c:pt>
                <c:pt idx="324">
                  <c:v>#N/A</c:v>
                </c:pt>
                <c:pt idx="325">
                  <c:v>#N/A</c:v>
                </c:pt>
                <c:pt idx="326">
                  <c:v>20400</c:v>
                </c:pt>
                <c:pt idx="327">
                  <c:v>20400</c:v>
                </c:pt>
                <c:pt idx="328">
                  <c:v>20300</c:v>
                </c:pt>
                <c:pt idx="329">
                  <c:v>20300</c:v>
                </c:pt>
                <c:pt idx="330">
                  <c:v>20200</c:v>
                </c:pt>
                <c:pt idx="331">
                  <c:v>#N/A</c:v>
                </c:pt>
                <c:pt idx="332">
                  <c:v>#N/A</c:v>
                </c:pt>
                <c:pt idx="333">
                  <c:v>20050</c:v>
                </c:pt>
                <c:pt idx="334">
                  <c:v>20050</c:v>
                </c:pt>
                <c:pt idx="335">
                  <c:v>20050</c:v>
                </c:pt>
                <c:pt idx="336">
                  <c:v>20050</c:v>
                </c:pt>
                <c:pt idx="337">
                  <c:v>20000</c:v>
                </c:pt>
                <c:pt idx="338">
                  <c:v>#N/A</c:v>
                </c:pt>
                <c:pt idx="339">
                  <c:v>#N/A</c:v>
                </c:pt>
                <c:pt idx="340">
                  <c:v>20000</c:v>
                </c:pt>
                <c:pt idx="341">
                  <c:v>20000</c:v>
                </c:pt>
                <c:pt idx="342">
                  <c:v>20100</c:v>
                </c:pt>
                <c:pt idx="343">
                  <c:v>20100</c:v>
                </c:pt>
                <c:pt idx="344">
                  <c:v>20100</c:v>
                </c:pt>
                <c:pt idx="345">
                  <c:v>#N/A</c:v>
                </c:pt>
                <c:pt idx="346">
                  <c:v>#N/A</c:v>
                </c:pt>
                <c:pt idx="347">
                  <c:v>20100</c:v>
                </c:pt>
                <c:pt idx="348">
                  <c:v>20200</c:v>
                </c:pt>
                <c:pt idx="349">
                  <c:v>20200</c:v>
                </c:pt>
                <c:pt idx="350">
                  <c:v>20200</c:v>
                </c:pt>
                <c:pt idx="351">
                  <c:v>20400</c:v>
                </c:pt>
                <c:pt idx="352">
                  <c:v>#N/A</c:v>
                </c:pt>
                <c:pt idx="353">
                  <c:v>#N/A</c:v>
                </c:pt>
                <c:pt idx="354">
                  <c:v>20400</c:v>
                </c:pt>
                <c:pt idx="355">
                  <c:v>20400</c:v>
                </c:pt>
                <c:pt idx="356">
                  <c:v>20400</c:v>
                </c:pt>
                <c:pt idx="357">
                  <c:v>20600</c:v>
                </c:pt>
                <c:pt idx="358">
                  <c:v>20600</c:v>
                </c:pt>
                <c:pt idx="359">
                  <c:v>#N/A</c:v>
                </c:pt>
                <c:pt idx="360">
                  <c:v>#N/A</c:v>
                </c:pt>
                <c:pt idx="361">
                  <c:v>20450</c:v>
                </c:pt>
                <c:pt idx="362">
                  <c:v>20450</c:v>
                </c:pt>
                <c:pt idx="363">
                  <c:v>20450</c:v>
                </c:pt>
                <c:pt idx="364">
                  <c:v>20550</c:v>
                </c:pt>
                <c:pt idx="365">
                  <c:v>20600</c:v>
                </c:pt>
              </c:numCache>
            </c:numRef>
          </c:val>
          <c:smooth val="0"/>
          <c:extLst>
            <c:ext xmlns:c16="http://schemas.microsoft.com/office/drawing/2014/chart" uri="{C3380CC4-5D6E-409C-BE32-E72D297353CC}">
              <c16:uniqueId val="{00000001-28D2-4ACC-B13D-F6A9A407924B}"/>
            </c:ext>
          </c:extLst>
        </c:ser>
        <c:ser>
          <c:idx val="2"/>
          <c:order val="2"/>
          <c:tx>
            <c:strRef>
              <c:f>铝合金价格图表!$AF$4</c:f>
              <c:strCache>
                <c:ptCount val="1"/>
                <c:pt idx="0">
                  <c:v>2022</c:v>
                </c:pt>
              </c:strCache>
            </c:strRef>
          </c:tx>
          <c:spPr>
            <a:ln w="19050" cap="rnd">
              <a:solidFill>
                <a:schemeClr val="bg1">
                  <a:lumMod val="65000"/>
                </a:schemeClr>
              </a:solidFill>
              <a:round/>
            </a:ln>
            <a:effectLst/>
          </c:spPr>
          <c:marker>
            <c:symbol val="none"/>
          </c:marker>
          <c:cat>
            <c:strRef>
              <c:f>铝合金价格图表!$AC$5:$AC$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铝合金价格图表!$AF$5:$AF$370</c:f>
              <c:numCache>
                <c:formatCode>General</c:formatCode>
                <c:ptCount val="366"/>
                <c:pt idx="0">
                  <c:v>#N/A</c:v>
                </c:pt>
                <c:pt idx="1">
                  <c:v>#N/A</c:v>
                </c:pt>
                <c:pt idx="2">
                  <c:v>#N/A</c:v>
                </c:pt>
                <c:pt idx="3">
                  <c:v>20450</c:v>
                </c:pt>
                <c:pt idx="4">
                  <c:v>20450</c:v>
                </c:pt>
                <c:pt idx="5">
                  <c:v>20600</c:v>
                </c:pt>
                <c:pt idx="6">
                  <c:v>20700</c:v>
                </c:pt>
                <c:pt idx="7">
                  <c:v>#N/A</c:v>
                </c:pt>
                <c:pt idx="8">
                  <c:v>#N/A</c:v>
                </c:pt>
                <c:pt idx="9">
                  <c:v>20750</c:v>
                </c:pt>
                <c:pt idx="10">
                  <c:v>21000</c:v>
                </c:pt>
                <c:pt idx="11">
                  <c:v>21000</c:v>
                </c:pt>
                <c:pt idx="12">
                  <c:v>21000</c:v>
                </c:pt>
                <c:pt idx="13">
                  <c:v>21000</c:v>
                </c:pt>
                <c:pt idx="14">
                  <c:v>#N/A</c:v>
                </c:pt>
                <c:pt idx="15">
                  <c:v>#N/A</c:v>
                </c:pt>
                <c:pt idx="16">
                  <c:v>21000</c:v>
                </c:pt>
                <c:pt idx="17">
                  <c:v>21000</c:v>
                </c:pt>
                <c:pt idx="18">
                  <c:v>21150</c:v>
                </c:pt>
                <c:pt idx="19">
                  <c:v>21150</c:v>
                </c:pt>
                <c:pt idx="20">
                  <c:v>21150</c:v>
                </c:pt>
                <c:pt idx="21">
                  <c:v>#N/A</c:v>
                </c:pt>
                <c:pt idx="22">
                  <c:v>#N/A</c:v>
                </c:pt>
                <c:pt idx="23">
                  <c:v>21100</c:v>
                </c:pt>
                <c:pt idx="24">
                  <c:v>21100</c:v>
                </c:pt>
                <c:pt idx="25">
                  <c:v>21150</c:v>
                </c:pt>
                <c:pt idx="26">
                  <c:v>21150</c:v>
                </c:pt>
                <c:pt idx="27">
                  <c:v>21150</c:v>
                </c:pt>
                <c:pt idx="28">
                  <c:v>#N/A</c:v>
                </c:pt>
                <c:pt idx="29">
                  <c:v>#N/A</c:v>
                </c:pt>
                <c:pt idx="30">
                  <c:v>#N/A</c:v>
                </c:pt>
                <c:pt idx="31">
                  <c:v>#N/A</c:v>
                </c:pt>
                <c:pt idx="32">
                  <c:v>#N/A</c:v>
                </c:pt>
                <c:pt idx="33">
                  <c:v>#N/A</c:v>
                </c:pt>
                <c:pt idx="34">
                  <c:v>#N/A</c:v>
                </c:pt>
                <c:pt idx="35">
                  <c:v>#N/A</c:v>
                </c:pt>
                <c:pt idx="36">
                  <c:v>#N/A</c:v>
                </c:pt>
                <c:pt idx="37">
                  <c:v>21350</c:v>
                </c:pt>
                <c:pt idx="38">
                  <c:v>21600</c:v>
                </c:pt>
                <c:pt idx="39">
                  <c:v>22000</c:v>
                </c:pt>
                <c:pt idx="40">
                  <c:v>22600</c:v>
                </c:pt>
                <c:pt idx="41">
                  <c:v>22550</c:v>
                </c:pt>
                <c:pt idx="42">
                  <c:v>#N/A</c:v>
                </c:pt>
                <c:pt idx="43">
                  <c:v>#N/A</c:v>
                </c:pt>
                <c:pt idx="44">
                  <c:v>22300</c:v>
                </c:pt>
                <c:pt idx="45">
                  <c:v>22300</c:v>
                </c:pt>
                <c:pt idx="46">
                  <c:v>22300</c:v>
                </c:pt>
                <c:pt idx="47">
                  <c:v>22300</c:v>
                </c:pt>
                <c:pt idx="48">
                  <c:v>22300</c:v>
                </c:pt>
                <c:pt idx="49">
                  <c:v>#N/A</c:v>
                </c:pt>
                <c:pt idx="50">
                  <c:v>#N/A</c:v>
                </c:pt>
                <c:pt idx="51">
                  <c:v>22300</c:v>
                </c:pt>
                <c:pt idx="52">
                  <c:v>22450</c:v>
                </c:pt>
                <c:pt idx="53">
                  <c:v>22450</c:v>
                </c:pt>
                <c:pt idx="54">
                  <c:v>22350</c:v>
                </c:pt>
                <c:pt idx="55">
                  <c:v>22350</c:v>
                </c:pt>
                <c:pt idx="56">
                  <c:v>#N/A</c:v>
                </c:pt>
                <c:pt idx="57">
                  <c:v>#N/A</c:v>
                </c:pt>
                <c:pt idx="58">
                  <c:v>22350</c:v>
                </c:pt>
                <c:pt idx="60">
                  <c:v>22350</c:v>
                </c:pt>
                <c:pt idx="61">
                  <c:v>22500</c:v>
                </c:pt>
                <c:pt idx="62">
                  <c:v>22900</c:v>
                </c:pt>
                <c:pt idx="63">
                  <c:v>22900</c:v>
                </c:pt>
                <c:pt idx="64">
                  <c:v>#N/A</c:v>
                </c:pt>
                <c:pt idx="65">
                  <c:v>#N/A</c:v>
                </c:pt>
                <c:pt idx="66">
                  <c:v>23100</c:v>
                </c:pt>
                <c:pt idx="67">
                  <c:v>22800</c:v>
                </c:pt>
                <c:pt idx="68">
                  <c:v>22600</c:v>
                </c:pt>
                <c:pt idx="69">
                  <c:v>22400</c:v>
                </c:pt>
                <c:pt idx="70">
                  <c:v>22400</c:v>
                </c:pt>
                <c:pt idx="71">
                  <c:v>#N/A</c:v>
                </c:pt>
                <c:pt idx="72">
                  <c:v>#N/A</c:v>
                </c:pt>
                <c:pt idx="73">
                  <c:v>22400</c:v>
                </c:pt>
                <c:pt idx="74">
                  <c:v>22400</c:v>
                </c:pt>
                <c:pt idx="75">
                  <c:v>22200</c:v>
                </c:pt>
                <c:pt idx="76">
                  <c:v>22300</c:v>
                </c:pt>
                <c:pt idx="77">
                  <c:v>22550</c:v>
                </c:pt>
                <c:pt idx="78">
                  <c:v>#N/A</c:v>
                </c:pt>
                <c:pt idx="79">
                  <c:v>#N/A</c:v>
                </c:pt>
                <c:pt idx="80">
                  <c:v>22600</c:v>
                </c:pt>
                <c:pt idx="81">
                  <c:v>22500</c:v>
                </c:pt>
                <c:pt idx="82">
                  <c:v>22500</c:v>
                </c:pt>
                <c:pt idx="83">
                  <c:v>22640</c:v>
                </c:pt>
                <c:pt idx="84">
                  <c:v>22490</c:v>
                </c:pt>
                <c:pt idx="85">
                  <c:v>#N/A</c:v>
                </c:pt>
                <c:pt idx="86">
                  <c:v>#N/A</c:v>
                </c:pt>
                <c:pt idx="87">
                  <c:v>22410</c:v>
                </c:pt>
                <c:pt idx="88">
                  <c:v>22410</c:v>
                </c:pt>
                <c:pt idx="89">
                  <c:v>22290</c:v>
                </c:pt>
                <c:pt idx="90">
                  <c:v>22290</c:v>
                </c:pt>
                <c:pt idx="91">
                  <c:v>22290</c:v>
                </c:pt>
                <c:pt idx="92">
                  <c:v>#N/A</c:v>
                </c:pt>
                <c:pt idx="93">
                  <c:v>#N/A</c:v>
                </c:pt>
                <c:pt idx="94">
                  <c:v>#N/A</c:v>
                </c:pt>
                <c:pt idx="95">
                  <c:v>#N/A</c:v>
                </c:pt>
                <c:pt idx="96">
                  <c:v>22240</c:v>
                </c:pt>
                <c:pt idx="97">
                  <c:v>22140</c:v>
                </c:pt>
                <c:pt idx="98">
                  <c:v>22040</c:v>
                </c:pt>
                <c:pt idx="99">
                  <c:v>#N/A</c:v>
                </c:pt>
                <c:pt idx="100">
                  <c:v>#N/A</c:v>
                </c:pt>
                <c:pt idx="101">
                  <c:v>21810</c:v>
                </c:pt>
                <c:pt idx="102">
                  <c:v>21550</c:v>
                </c:pt>
                <c:pt idx="103">
                  <c:v>21550</c:v>
                </c:pt>
                <c:pt idx="104">
                  <c:v>21700</c:v>
                </c:pt>
                <c:pt idx="105">
                  <c:v>21850</c:v>
                </c:pt>
                <c:pt idx="106">
                  <c:v>#N/A</c:v>
                </c:pt>
                <c:pt idx="107">
                  <c:v>#N/A</c:v>
                </c:pt>
                <c:pt idx="108">
                  <c:v>21900</c:v>
                </c:pt>
                <c:pt idx="109">
                  <c:v>21950</c:v>
                </c:pt>
                <c:pt idx="110">
                  <c:v>21850</c:v>
                </c:pt>
                <c:pt idx="111">
                  <c:v>21850</c:v>
                </c:pt>
                <c:pt idx="112">
                  <c:v>21850</c:v>
                </c:pt>
                <c:pt idx="113">
                  <c:v>#N/A</c:v>
                </c:pt>
                <c:pt idx="114">
                  <c:v>#N/A</c:v>
                </c:pt>
                <c:pt idx="115">
                  <c:v>21650</c:v>
                </c:pt>
                <c:pt idx="116">
                  <c:v>21550</c:v>
                </c:pt>
                <c:pt idx="117">
                  <c:v>21550</c:v>
                </c:pt>
                <c:pt idx="118">
                  <c:v>21650</c:v>
                </c:pt>
                <c:pt idx="119">
                  <c:v>21650</c:v>
                </c:pt>
                <c:pt idx="120">
                  <c:v>#N/A</c:v>
                </c:pt>
                <c:pt idx="121">
                  <c:v>#N/A</c:v>
                </c:pt>
                <c:pt idx="122">
                  <c:v>#N/A</c:v>
                </c:pt>
                <c:pt idx="123">
                  <c:v>#N/A</c:v>
                </c:pt>
                <c:pt idx="124">
                  <c:v>#N/A</c:v>
                </c:pt>
                <c:pt idx="125">
                  <c:v>21650</c:v>
                </c:pt>
                <c:pt idx="126">
                  <c:v>21450</c:v>
                </c:pt>
                <c:pt idx="127">
                  <c:v>#N/A</c:v>
                </c:pt>
                <c:pt idx="128">
                  <c:v>#N/A</c:v>
                </c:pt>
                <c:pt idx="129">
                  <c:v>21200</c:v>
                </c:pt>
                <c:pt idx="130">
                  <c:v>21150</c:v>
                </c:pt>
                <c:pt idx="131">
                  <c:v>21250</c:v>
                </c:pt>
                <c:pt idx="132">
                  <c:v>21250</c:v>
                </c:pt>
                <c:pt idx="133">
                  <c:v>21250</c:v>
                </c:pt>
                <c:pt idx="134">
                  <c:v>#N/A</c:v>
                </c:pt>
                <c:pt idx="135">
                  <c:v>#N/A</c:v>
                </c:pt>
                <c:pt idx="136">
                  <c:v>21400</c:v>
                </c:pt>
                <c:pt idx="137">
                  <c:v>21400</c:v>
                </c:pt>
                <c:pt idx="138">
                  <c:v>21350</c:v>
                </c:pt>
                <c:pt idx="139">
                  <c:v>21350</c:v>
                </c:pt>
                <c:pt idx="140">
                  <c:v>21350</c:v>
                </c:pt>
                <c:pt idx="141">
                  <c:v>#N/A</c:v>
                </c:pt>
                <c:pt idx="142">
                  <c:v>#N/A</c:v>
                </c:pt>
                <c:pt idx="143">
                  <c:v>21350</c:v>
                </c:pt>
                <c:pt idx="144">
                  <c:v>21150</c:v>
                </c:pt>
                <c:pt idx="145">
                  <c:v>21050</c:v>
                </c:pt>
                <c:pt idx="146">
                  <c:v>20950</c:v>
                </c:pt>
                <c:pt idx="147">
                  <c:v>20950</c:v>
                </c:pt>
                <c:pt idx="148">
                  <c:v>#N/A</c:v>
                </c:pt>
                <c:pt idx="149">
                  <c:v>#N/A</c:v>
                </c:pt>
                <c:pt idx="150">
                  <c:v>20900</c:v>
                </c:pt>
                <c:pt idx="151">
                  <c:v>20850</c:v>
                </c:pt>
                <c:pt idx="152">
                  <c:v>20550</c:v>
                </c:pt>
                <c:pt idx="153">
                  <c:v>20550</c:v>
                </c:pt>
                <c:pt idx="154">
                  <c:v>#N/A</c:v>
                </c:pt>
                <c:pt idx="155">
                  <c:v>#N/A</c:v>
                </c:pt>
                <c:pt idx="156">
                  <c:v>#N/A</c:v>
                </c:pt>
                <c:pt idx="157">
                  <c:v>20650</c:v>
                </c:pt>
                <c:pt idx="158">
                  <c:v>20650</c:v>
                </c:pt>
                <c:pt idx="159">
                  <c:v>20550</c:v>
                </c:pt>
                <c:pt idx="160">
                  <c:v>20550</c:v>
                </c:pt>
                <c:pt idx="161">
                  <c:v>20400</c:v>
                </c:pt>
                <c:pt idx="162">
                  <c:v>#N/A</c:v>
                </c:pt>
                <c:pt idx="163">
                  <c:v>#N/A</c:v>
                </c:pt>
                <c:pt idx="164">
                  <c:v>20300</c:v>
                </c:pt>
                <c:pt idx="165">
                  <c:v>20200</c:v>
                </c:pt>
                <c:pt idx="166">
                  <c:v>20200</c:v>
                </c:pt>
                <c:pt idx="167">
                  <c:v>20200</c:v>
                </c:pt>
                <c:pt idx="168">
                  <c:v>20100</c:v>
                </c:pt>
                <c:pt idx="169">
                  <c:v>#N/A</c:v>
                </c:pt>
                <c:pt idx="170">
                  <c:v>#N/A</c:v>
                </c:pt>
                <c:pt idx="171">
                  <c:v>20050</c:v>
                </c:pt>
                <c:pt idx="172">
                  <c:v>20050</c:v>
                </c:pt>
                <c:pt idx="173">
                  <c:v>20000</c:v>
                </c:pt>
                <c:pt idx="174">
                  <c:v>19750</c:v>
                </c:pt>
                <c:pt idx="175">
                  <c:v>19600</c:v>
                </c:pt>
                <c:pt idx="176">
                  <c:v>#N/A</c:v>
                </c:pt>
                <c:pt idx="177">
                  <c:v>#N/A</c:v>
                </c:pt>
                <c:pt idx="178">
                  <c:v>19550</c:v>
                </c:pt>
                <c:pt idx="179">
                  <c:v>19550</c:v>
                </c:pt>
                <c:pt idx="180">
                  <c:v>19550</c:v>
                </c:pt>
                <c:pt idx="181">
                  <c:v>19450</c:v>
                </c:pt>
                <c:pt idx="182">
                  <c:v>19250</c:v>
                </c:pt>
                <c:pt idx="183">
                  <c:v>#N/A</c:v>
                </c:pt>
                <c:pt idx="184">
                  <c:v>#N/A</c:v>
                </c:pt>
                <c:pt idx="185">
                  <c:v>19150</c:v>
                </c:pt>
                <c:pt idx="186">
                  <c:v>19050</c:v>
                </c:pt>
                <c:pt idx="187">
                  <c:v>18750</c:v>
                </c:pt>
                <c:pt idx="188">
                  <c:v>18650</c:v>
                </c:pt>
                <c:pt idx="189">
                  <c:v>18650</c:v>
                </c:pt>
                <c:pt idx="190">
                  <c:v>#N/A</c:v>
                </c:pt>
                <c:pt idx="191">
                  <c:v>#N/A</c:v>
                </c:pt>
                <c:pt idx="192">
                  <c:v>18450</c:v>
                </c:pt>
                <c:pt idx="193">
                  <c:v>18300</c:v>
                </c:pt>
                <c:pt idx="194">
                  <c:v>18050</c:v>
                </c:pt>
                <c:pt idx="195">
                  <c:v>17850</c:v>
                </c:pt>
                <c:pt idx="196">
                  <c:v>17750</c:v>
                </c:pt>
                <c:pt idx="197">
                  <c:v>#N/A</c:v>
                </c:pt>
                <c:pt idx="198">
                  <c:v>#N/A</c:v>
                </c:pt>
                <c:pt idx="199">
                  <c:v>17750</c:v>
                </c:pt>
                <c:pt idx="200">
                  <c:v>17750</c:v>
                </c:pt>
                <c:pt idx="201">
                  <c:v>17750</c:v>
                </c:pt>
                <c:pt idx="202">
                  <c:v>17750</c:v>
                </c:pt>
                <c:pt idx="203">
                  <c:v>17650</c:v>
                </c:pt>
                <c:pt idx="204">
                  <c:v>#N/A</c:v>
                </c:pt>
                <c:pt idx="205">
                  <c:v>#N/A</c:v>
                </c:pt>
                <c:pt idx="206">
                  <c:v>17500</c:v>
                </c:pt>
                <c:pt idx="207">
                  <c:v>17500</c:v>
                </c:pt>
                <c:pt idx="208">
                  <c:v>17500</c:v>
                </c:pt>
                <c:pt idx="209">
                  <c:v>17650</c:v>
                </c:pt>
                <c:pt idx="210">
                  <c:v>18150</c:v>
                </c:pt>
                <c:pt idx="211">
                  <c:v>#N/A</c:v>
                </c:pt>
                <c:pt idx="212">
                  <c:v>#N/A</c:v>
                </c:pt>
                <c:pt idx="213">
                  <c:v>18400</c:v>
                </c:pt>
                <c:pt idx="214">
                  <c:v>18400</c:v>
                </c:pt>
                <c:pt idx="215">
                  <c:v>18400</c:v>
                </c:pt>
                <c:pt idx="216">
                  <c:v>18400</c:v>
                </c:pt>
                <c:pt idx="217">
                  <c:v>18450</c:v>
                </c:pt>
                <c:pt idx="218">
                  <c:v>#N/A</c:v>
                </c:pt>
                <c:pt idx="219">
                  <c:v>#N/A</c:v>
                </c:pt>
                <c:pt idx="220">
                  <c:v>18500</c:v>
                </c:pt>
                <c:pt idx="221">
                  <c:v>18550</c:v>
                </c:pt>
                <c:pt idx="222">
                  <c:v>18700</c:v>
                </c:pt>
                <c:pt idx="223">
                  <c:v>18700</c:v>
                </c:pt>
                <c:pt idx="224">
                  <c:v>18750</c:v>
                </c:pt>
                <c:pt idx="225">
                  <c:v>#N/A</c:v>
                </c:pt>
                <c:pt idx="226">
                  <c:v>#N/A</c:v>
                </c:pt>
                <c:pt idx="227">
                  <c:v>18750</c:v>
                </c:pt>
                <c:pt idx="228">
                  <c:v>18750</c:v>
                </c:pt>
                <c:pt idx="229">
                  <c:v>18800</c:v>
                </c:pt>
                <c:pt idx="230">
                  <c:v>18950</c:v>
                </c:pt>
                <c:pt idx="231">
                  <c:v>18950</c:v>
                </c:pt>
                <c:pt idx="232">
                  <c:v>#N/A</c:v>
                </c:pt>
                <c:pt idx="233">
                  <c:v>#N/A</c:v>
                </c:pt>
                <c:pt idx="234">
                  <c:v>19100</c:v>
                </c:pt>
                <c:pt idx="235">
                  <c:v>19100</c:v>
                </c:pt>
                <c:pt idx="236">
                  <c:v>19250</c:v>
                </c:pt>
                <c:pt idx="237">
                  <c:v>19250</c:v>
                </c:pt>
                <c:pt idx="238">
                  <c:v>19250</c:v>
                </c:pt>
                <c:pt idx="239">
                  <c:v>#N/A</c:v>
                </c:pt>
                <c:pt idx="240">
                  <c:v>#N/A</c:v>
                </c:pt>
                <c:pt idx="241">
                  <c:v>19350</c:v>
                </c:pt>
                <c:pt idx="242">
                  <c:v>19250</c:v>
                </c:pt>
                <c:pt idx="243">
                  <c:v>19200</c:v>
                </c:pt>
                <c:pt idx="244">
                  <c:v>19200</c:v>
                </c:pt>
                <c:pt idx="245">
                  <c:v>19050</c:v>
                </c:pt>
                <c:pt idx="246">
                  <c:v>#N/A</c:v>
                </c:pt>
                <c:pt idx="247">
                  <c:v>#N/A</c:v>
                </c:pt>
                <c:pt idx="248">
                  <c:v>19150</c:v>
                </c:pt>
                <c:pt idx="249">
                  <c:v>19150</c:v>
                </c:pt>
                <c:pt idx="250">
                  <c:v>19150</c:v>
                </c:pt>
                <c:pt idx="251">
                  <c:v>19250</c:v>
                </c:pt>
                <c:pt idx="252">
                  <c:v>19450</c:v>
                </c:pt>
                <c:pt idx="253">
                  <c:v>#N/A</c:v>
                </c:pt>
                <c:pt idx="254">
                  <c:v>#N/A</c:v>
                </c:pt>
                <c:pt idx="255">
                  <c:v>#N/A</c:v>
                </c:pt>
                <c:pt idx="256">
                  <c:v>19450</c:v>
                </c:pt>
                <c:pt idx="257">
                  <c:v>19450</c:v>
                </c:pt>
                <c:pt idx="258">
                  <c:v>19550</c:v>
                </c:pt>
                <c:pt idx="259">
                  <c:v>19550</c:v>
                </c:pt>
                <c:pt idx="260">
                  <c:v>#N/A</c:v>
                </c:pt>
                <c:pt idx="261">
                  <c:v>#N/A</c:v>
                </c:pt>
                <c:pt idx="262">
                  <c:v>19500</c:v>
                </c:pt>
                <c:pt idx="263">
                  <c:v>19500</c:v>
                </c:pt>
                <c:pt idx="264">
                  <c:v>19400</c:v>
                </c:pt>
                <c:pt idx="265">
                  <c:v>19400</c:v>
                </c:pt>
                <c:pt idx="266">
                  <c:v>19400</c:v>
                </c:pt>
                <c:pt idx="267">
                  <c:v>#N/A</c:v>
                </c:pt>
                <c:pt idx="268">
                  <c:v>#N/A</c:v>
                </c:pt>
                <c:pt idx="269">
                  <c:v>19300</c:v>
                </c:pt>
                <c:pt idx="270">
                  <c:v>19150</c:v>
                </c:pt>
                <c:pt idx="271">
                  <c:v>19150</c:v>
                </c:pt>
                <c:pt idx="272">
                  <c:v>19150</c:v>
                </c:pt>
                <c:pt idx="273">
                  <c:v>19200</c:v>
                </c:pt>
                <c:pt idx="274">
                  <c:v>#N/A</c:v>
                </c:pt>
                <c:pt idx="275">
                  <c:v>#N/A</c:v>
                </c:pt>
                <c:pt idx="276">
                  <c:v>#N/A</c:v>
                </c:pt>
                <c:pt idx="277">
                  <c:v>#N/A</c:v>
                </c:pt>
                <c:pt idx="278">
                  <c:v>#N/A</c:v>
                </c:pt>
                <c:pt idx="279">
                  <c:v>#N/A</c:v>
                </c:pt>
                <c:pt idx="280">
                  <c:v>#N/A</c:v>
                </c:pt>
                <c:pt idx="281">
                  <c:v>#N/A</c:v>
                </c:pt>
                <c:pt idx="282">
                  <c:v>#N/A</c:v>
                </c:pt>
                <c:pt idx="283">
                  <c:v>19500</c:v>
                </c:pt>
                <c:pt idx="284">
                  <c:v>19500</c:v>
                </c:pt>
                <c:pt idx="285">
                  <c:v>19500</c:v>
                </c:pt>
                <c:pt idx="286">
                  <c:v>19500</c:v>
                </c:pt>
                <c:pt idx="287">
                  <c:v>19550</c:v>
                </c:pt>
                <c:pt idx="288">
                  <c:v>#N/A</c:v>
                </c:pt>
                <c:pt idx="289">
                  <c:v>#N/A</c:v>
                </c:pt>
                <c:pt idx="290">
                  <c:v>19500</c:v>
                </c:pt>
                <c:pt idx="291">
                  <c:v>19400</c:v>
                </c:pt>
                <c:pt idx="292">
                  <c:v>19400</c:v>
                </c:pt>
                <c:pt idx="293">
                  <c:v>19400</c:v>
                </c:pt>
                <c:pt idx="294">
                  <c:v>19500</c:v>
                </c:pt>
                <c:pt idx="295">
                  <c:v>#N/A</c:v>
                </c:pt>
                <c:pt idx="296">
                  <c:v>#N/A</c:v>
                </c:pt>
                <c:pt idx="297">
                  <c:v>19500</c:v>
                </c:pt>
                <c:pt idx="298">
                  <c:v>19450</c:v>
                </c:pt>
                <c:pt idx="299">
                  <c:v>19500</c:v>
                </c:pt>
                <c:pt idx="300">
                  <c:v>19450</c:v>
                </c:pt>
                <c:pt idx="301">
                  <c:v>19300</c:v>
                </c:pt>
                <c:pt idx="302">
                  <c:v>#N/A</c:v>
                </c:pt>
                <c:pt idx="303">
                  <c:v>#N/A</c:v>
                </c:pt>
                <c:pt idx="304">
                  <c:v>19050</c:v>
                </c:pt>
                <c:pt idx="305">
                  <c:v>19050</c:v>
                </c:pt>
                <c:pt idx="306">
                  <c:v>19000</c:v>
                </c:pt>
                <c:pt idx="307">
                  <c:v>19050</c:v>
                </c:pt>
                <c:pt idx="308">
                  <c:v>19050</c:v>
                </c:pt>
                <c:pt idx="309">
                  <c:v>#N/A</c:v>
                </c:pt>
                <c:pt idx="310">
                  <c:v>#N/A</c:v>
                </c:pt>
                <c:pt idx="311">
                  <c:v>19150</c:v>
                </c:pt>
                <c:pt idx="312">
                  <c:v>19150</c:v>
                </c:pt>
                <c:pt idx="313">
                  <c:v>19150</c:v>
                </c:pt>
                <c:pt idx="314">
                  <c:v>19150</c:v>
                </c:pt>
                <c:pt idx="315">
                  <c:v>19250</c:v>
                </c:pt>
                <c:pt idx="316">
                  <c:v>#N/A</c:v>
                </c:pt>
                <c:pt idx="317">
                  <c:v>#N/A</c:v>
                </c:pt>
                <c:pt idx="318">
                  <c:v>19250</c:v>
                </c:pt>
                <c:pt idx="319">
                  <c:v>19250</c:v>
                </c:pt>
                <c:pt idx="320">
                  <c:v>19250</c:v>
                </c:pt>
                <c:pt idx="321">
                  <c:v>19300</c:v>
                </c:pt>
                <c:pt idx="322">
                  <c:v>19450</c:v>
                </c:pt>
                <c:pt idx="323">
                  <c:v>#N/A</c:v>
                </c:pt>
                <c:pt idx="324">
                  <c:v>#N/A</c:v>
                </c:pt>
                <c:pt idx="325">
                  <c:v>19400</c:v>
                </c:pt>
                <c:pt idx="326">
                  <c:v>19400</c:v>
                </c:pt>
                <c:pt idx="327">
                  <c:v>19400</c:v>
                </c:pt>
                <c:pt idx="328">
                  <c:v>19400</c:v>
                </c:pt>
                <c:pt idx="329">
                  <c:v>19400</c:v>
                </c:pt>
                <c:pt idx="330">
                  <c:v>#N/A</c:v>
                </c:pt>
                <c:pt idx="331">
                  <c:v>#N/A</c:v>
                </c:pt>
                <c:pt idx="332">
                  <c:v>19300</c:v>
                </c:pt>
                <c:pt idx="333">
                  <c:v>19450</c:v>
                </c:pt>
                <c:pt idx="334">
                  <c:v>19400</c:v>
                </c:pt>
                <c:pt idx="335">
                  <c:v>19500</c:v>
                </c:pt>
                <c:pt idx="336">
                  <c:v>19500</c:v>
                </c:pt>
                <c:pt idx="337">
                  <c:v>#N/A</c:v>
                </c:pt>
                <c:pt idx="338">
                  <c:v>#N/A</c:v>
                </c:pt>
                <c:pt idx="339">
                  <c:v>19600</c:v>
                </c:pt>
                <c:pt idx="340">
                  <c:v>19550</c:v>
                </c:pt>
                <c:pt idx="341">
                  <c:v>19550</c:v>
                </c:pt>
                <c:pt idx="342">
                  <c:v>19550</c:v>
                </c:pt>
                <c:pt idx="343">
                  <c:v>19450</c:v>
                </c:pt>
                <c:pt idx="344">
                  <c:v>#N/A</c:v>
                </c:pt>
                <c:pt idx="345">
                  <c:v>#N/A</c:v>
                </c:pt>
                <c:pt idx="346">
                  <c:v>19350</c:v>
                </c:pt>
                <c:pt idx="347">
                  <c:v>19350</c:v>
                </c:pt>
                <c:pt idx="348">
                  <c:v>19350</c:v>
                </c:pt>
                <c:pt idx="349">
                  <c:v>19350</c:v>
                </c:pt>
                <c:pt idx="350">
                  <c:v>19350</c:v>
                </c:pt>
                <c:pt idx="351">
                  <c:v>#N/A</c:v>
                </c:pt>
                <c:pt idx="352">
                  <c:v>#N/A</c:v>
                </c:pt>
                <c:pt idx="353">
                  <c:v>19350</c:v>
                </c:pt>
                <c:pt idx="354">
                  <c:v>19350</c:v>
                </c:pt>
                <c:pt idx="355">
                  <c:v>19350</c:v>
                </c:pt>
                <c:pt idx="356">
                  <c:v>19350</c:v>
                </c:pt>
                <c:pt idx="357">
                  <c:v>19350</c:v>
                </c:pt>
                <c:pt idx="358">
                  <c:v>#N/A</c:v>
                </c:pt>
                <c:pt idx="359">
                  <c:v>#N/A</c:v>
                </c:pt>
                <c:pt idx="360">
                  <c:v>19350</c:v>
                </c:pt>
                <c:pt idx="361">
                  <c:v>19450</c:v>
                </c:pt>
                <c:pt idx="362">
                  <c:v>19450</c:v>
                </c:pt>
                <c:pt idx="363">
                  <c:v>19450</c:v>
                </c:pt>
                <c:pt idx="364">
                  <c:v>19450</c:v>
                </c:pt>
                <c:pt idx="365">
                  <c:v>#N/A</c:v>
                </c:pt>
              </c:numCache>
            </c:numRef>
          </c:val>
          <c:smooth val="0"/>
          <c:extLst>
            <c:ext xmlns:c16="http://schemas.microsoft.com/office/drawing/2014/chart" uri="{C3380CC4-5D6E-409C-BE32-E72D297353CC}">
              <c16:uniqueId val="{00000002-28D2-4ACC-B13D-F6A9A407924B}"/>
            </c:ext>
          </c:extLst>
        </c:ser>
        <c:ser>
          <c:idx val="3"/>
          <c:order val="3"/>
          <c:tx>
            <c:strRef>
              <c:f>铝合金价格图表!$AG$4</c:f>
              <c:strCache>
                <c:ptCount val="1"/>
                <c:pt idx="0">
                  <c:v>2023</c:v>
                </c:pt>
              </c:strCache>
            </c:strRef>
          </c:tx>
          <c:spPr>
            <a:ln w="19050" cap="rnd">
              <a:solidFill>
                <a:srgbClr val="55A5AB">
                  <a:alpha val="60000"/>
                </a:srgbClr>
              </a:solidFill>
              <a:round/>
            </a:ln>
            <a:effectLst/>
          </c:spPr>
          <c:marker>
            <c:symbol val="none"/>
          </c:marker>
          <c:cat>
            <c:strRef>
              <c:f>铝合金价格图表!$AC$5:$AC$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铝合金价格图表!$AG$5:$AG$370</c:f>
              <c:numCache>
                <c:formatCode>General</c:formatCode>
                <c:ptCount val="366"/>
                <c:pt idx="0">
                  <c:v>#N/A</c:v>
                </c:pt>
                <c:pt idx="1">
                  <c:v>#N/A</c:v>
                </c:pt>
                <c:pt idx="2">
                  <c:v>19300</c:v>
                </c:pt>
                <c:pt idx="3">
                  <c:v>19150</c:v>
                </c:pt>
                <c:pt idx="4">
                  <c:v>19000</c:v>
                </c:pt>
                <c:pt idx="5">
                  <c:v>19000</c:v>
                </c:pt>
                <c:pt idx="6">
                  <c:v>#N/A</c:v>
                </c:pt>
                <c:pt idx="7">
                  <c:v>#N/A</c:v>
                </c:pt>
                <c:pt idx="8">
                  <c:v>19150</c:v>
                </c:pt>
                <c:pt idx="9">
                  <c:v>19250</c:v>
                </c:pt>
                <c:pt idx="10">
                  <c:v>19300</c:v>
                </c:pt>
                <c:pt idx="11">
                  <c:v>19400</c:v>
                </c:pt>
                <c:pt idx="12">
                  <c:v>19500</c:v>
                </c:pt>
                <c:pt idx="13">
                  <c:v>#N/A</c:v>
                </c:pt>
                <c:pt idx="14">
                  <c:v>#N/A</c:v>
                </c:pt>
                <c:pt idx="15">
                  <c:v>19500</c:v>
                </c:pt>
                <c:pt idx="16">
                  <c:v>19500</c:v>
                </c:pt>
                <c:pt idx="17">
                  <c:v>19600</c:v>
                </c:pt>
                <c:pt idx="18">
                  <c:v>19700</c:v>
                </c:pt>
                <c:pt idx="19">
                  <c:v>19700</c:v>
                </c:pt>
                <c:pt idx="20">
                  <c:v>#N/A</c:v>
                </c:pt>
                <c:pt idx="21">
                  <c:v>#N/A</c:v>
                </c:pt>
                <c:pt idx="22">
                  <c:v>#N/A</c:v>
                </c:pt>
                <c:pt idx="23">
                  <c:v>#N/A</c:v>
                </c:pt>
                <c:pt idx="24">
                  <c:v>#N/A</c:v>
                </c:pt>
                <c:pt idx="25">
                  <c:v>#N/A</c:v>
                </c:pt>
                <c:pt idx="26">
                  <c:v>#N/A</c:v>
                </c:pt>
                <c:pt idx="27">
                  <c:v>#N/A</c:v>
                </c:pt>
                <c:pt idx="28">
                  <c:v>#N/A</c:v>
                </c:pt>
                <c:pt idx="29">
                  <c:v>19700</c:v>
                </c:pt>
                <c:pt idx="30">
                  <c:v>19700</c:v>
                </c:pt>
                <c:pt idx="31">
                  <c:v>19750</c:v>
                </c:pt>
                <c:pt idx="32">
                  <c:v>19750</c:v>
                </c:pt>
                <c:pt idx="33">
                  <c:v>19750</c:v>
                </c:pt>
                <c:pt idx="34">
                  <c:v>#N/A</c:v>
                </c:pt>
                <c:pt idx="35">
                  <c:v>#N/A</c:v>
                </c:pt>
                <c:pt idx="36">
                  <c:v>19700</c:v>
                </c:pt>
                <c:pt idx="37">
                  <c:v>19750</c:v>
                </c:pt>
                <c:pt idx="38">
                  <c:v>19750</c:v>
                </c:pt>
                <c:pt idx="39">
                  <c:v>19750</c:v>
                </c:pt>
                <c:pt idx="40">
                  <c:v>19650</c:v>
                </c:pt>
                <c:pt idx="41">
                  <c:v>#N/A</c:v>
                </c:pt>
                <c:pt idx="42">
                  <c:v>#N/A</c:v>
                </c:pt>
                <c:pt idx="43">
                  <c:v>19650</c:v>
                </c:pt>
                <c:pt idx="44">
                  <c:v>19650</c:v>
                </c:pt>
                <c:pt idx="45">
                  <c:v>19650</c:v>
                </c:pt>
                <c:pt idx="46">
                  <c:v>19650</c:v>
                </c:pt>
                <c:pt idx="47">
                  <c:v>19650</c:v>
                </c:pt>
                <c:pt idx="48">
                  <c:v>#N/A</c:v>
                </c:pt>
                <c:pt idx="49">
                  <c:v>#N/A</c:v>
                </c:pt>
                <c:pt idx="50">
                  <c:v>19900</c:v>
                </c:pt>
                <c:pt idx="51">
                  <c:v>19900</c:v>
                </c:pt>
                <c:pt idx="52">
                  <c:v>19900</c:v>
                </c:pt>
                <c:pt idx="53">
                  <c:v>19900</c:v>
                </c:pt>
                <c:pt idx="54">
                  <c:v>19750</c:v>
                </c:pt>
                <c:pt idx="55">
                  <c:v>#N/A</c:v>
                </c:pt>
                <c:pt idx="56">
                  <c:v>#N/A</c:v>
                </c:pt>
                <c:pt idx="57">
                  <c:v>19650</c:v>
                </c:pt>
                <c:pt idx="58">
                  <c:v>19650</c:v>
                </c:pt>
                <c:pt idx="60">
                  <c:v>19650</c:v>
                </c:pt>
                <c:pt idx="61">
                  <c:v>19700</c:v>
                </c:pt>
                <c:pt idx="62">
                  <c:v>19700</c:v>
                </c:pt>
                <c:pt idx="63">
                  <c:v>#N/A</c:v>
                </c:pt>
                <c:pt idx="64">
                  <c:v>#N/A</c:v>
                </c:pt>
                <c:pt idx="65">
                  <c:v>19700</c:v>
                </c:pt>
                <c:pt idx="66">
                  <c:v>19700</c:v>
                </c:pt>
                <c:pt idx="67">
                  <c:v>19600</c:v>
                </c:pt>
                <c:pt idx="68">
                  <c:v>19600</c:v>
                </c:pt>
                <c:pt idx="69">
                  <c:v>19500</c:v>
                </c:pt>
                <c:pt idx="70">
                  <c:v>#N/A</c:v>
                </c:pt>
                <c:pt idx="71">
                  <c:v>#N/A</c:v>
                </c:pt>
                <c:pt idx="72">
                  <c:v>19500</c:v>
                </c:pt>
                <c:pt idx="73">
                  <c:v>19500</c:v>
                </c:pt>
                <c:pt idx="74">
                  <c:v>19500</c:v>
                </c:pt>
                <c:pt idx="75">
                  <c:v>19350</c:v>
                </c:pt>
                <c:pt idx="76">
                  <c:v>19350</c:v>
                </c:pt>
                <c:pt idx="77">
                  <c:v>#N/A</c:v>
                </c:pt>
                <c:pt idx="78">
                  <c:v>#N/A</c:v>
                </c:pt>
                <c:pt idx="79">
                  <c:v>19350</c:v>
                </c:pt>
                <c:pt idx="80">
                  <c:v>19250</c:v>
                </c:pt>
                <c:pt idx="81">
                  <c:v>19250</c:v>
                </c:pt>
                <c:pt idx="82">
                  <c:v>19250</c:v>
                </c:pt>
                <c:pt idx="83">
                  <c:v>19300</c:v>
                </c:pt>
                <c:pt idx="84">
                  <c:v>#N/A</c:v>
                </c:pt>
                <c:pt idx="85">
                  <c:v>#N/A</c:v>
                </c:pt>
                <c:pt idx="86">
                  <c:v>19300</c:v>
                </c:pt>
                <c:pt idx="87">
                  <c:v>19400</c:v>
                </c:pt>
                <c:pt idx="88">
                  <c:v>19400</c:v>
                </c:pt>
                <c:pt idx="89">
                  <c:v>19400</c:v>
                </c:pt>
                <c:pt idx="90">
                  <c:v>19400</c:v>
                </c:pt>
                <c:pt idx="91">
                  <c:v>#N/A</c:v>
                </c:pt>
                <c:pt idx="92">
                  <c:v>#N/A</c:v>
                </c:pt>
                <c:pt idx="93">
                  <c:v>19400</c:v>
                </c:pt>
                <c:pt idx="94">
                  <c:v>19350</c:v>
                </c:pt>
                <c:pt idx="95">
                  <c:v>#N/A</c:v>
                </c:pt>
                <c:pt idx="96">
                  <c:v>19350</c:v>
                </c:pt>
                <c:pt idx="97">
                  <c:v>19350</c:v>
                </c:pt>
                <c:pt idx="98">
                  <c:v>#N/A</c:v>
                </c:pt>
                <c:pt idx="99">
                  <c:v>#N/A</c:v>
                </c:pt>
                <c:pt idx="100">
                  <c:v>19350</c:v>
                </c:pt>
                <c:pt idx="101">
                  <c:v>19200</c:v>
                </c:pt>
                <c:pt idx="102">
                  <c:v>19200</c:v>
                </c:pt>
                <c:pt idx="103">
                  <c:v>19200</c:v>
                </c:pt>
                <c:pt idx="104">
                  <c:v>19250</c:v>
                </c:pt>
                <c:pt idx="105">
                  <c:v>#N/A</c:v>
                </c:pt>
                <c:pt idx="106">
                  <c:v>#N/A</c:v>
                </c:pt>
                <c:pt idx="107">
                  <c:v>19250</c:v>
                </c:pt>
                <c:pt idx="108">
                  <c:v>19300</c:v>
                </c:pt>
                <c:pt idx="109">
                  <c:v>19400</c:v>
                </c:pt>
                <c:pt idx="110">
                  <c:v>19400</c:v>
                </c:pt>
                <c:pt idx="111">
                  <c:v>19400</c:v>
                </c:pt>
                <c:pt idx="112">
                  <c:v>#N/A</c:v>
                </c:pt>
                <c:pt idx="113">
                  <c:v>#N/A</c:v>
                </c:pt>
                <c:pt idx="114">
                  <c:v>19300</c:v>
                </c:pt>
                <c:pt idx="115">
                  <c:v>19250</c:v>
                </c:pt>
                <c:pt idx="116">
                  <c:v>19150</c:v>
                </c:pt>
                <c:pt idx="117">
                  <c:v>19050</c:v>
                </c:pt>
                <c:pt idx="118">
                  <c:v>19000</c:v>
                </c:pt>
                <c:pt idx="119">
                  <c:v>#N/A</c:v>
                </c:pt>
                <c:pt idx="120">
                  <c:v>#N/A</c:v>
                </c:pt>
                <c:pt idx="121">
                  <c:v>#N/A</c:v>
                </c:pt>
                <c:pt idx="122">
                  <c:v>#N/A</c:v>
                </c:pt>
                <c:pt idx="123">
                  <c:v>#N/A</c:v>
                </c:pt>
                <c:pt idx="124">
                  <c:v>19000</c:v>
                </c:pt>
                <c:pt idx="125">
                  <c:v>18800</c:v>
                </c:pt>
                <c:pt idx="126">
                  <c:v>#N/A</c:v>
                </c:pt>
                <c:pt idx="127">
                  <c:v>#N/A</c:v>
                </c:pt>
                <c:pt idx="128">
                  <c:v>18800</c:v>
                </c:pt>
                <c:pt idx="129">
                  <c:v>18750</c:v>
                </c:pt>
                <c:pt idx="130">
                  <c:v>18750</c:v>
                </c:pt>
                <c:pt idx="131">
                  <c:v>18700</c:v>
                </c:pt>
                <c:pt idx="132">
                  <c:v>18500</c:v>
                </c:pt>
                <c:pt idx="133">
                  <c:v>#N/A</c:v>
                </c:pt>
                <c:pt idx="134">
                  <c:v>#N/A</c:v>
                </c:pt>
                <c:pt idx="135">
                  <c:v>18550</c:v>
                </c:pt>
                <c:pt idx="136">
                  <c:v>18600</c:v>
                </c:pt>
                <c:pt idx="137">
                  <c:v>18600</c:v>
                </c:pt>
                <c:pt idx="138">
                  <c:v>18700</c:v>
                </c:pt>
                <c:pt idx="139">
                  <c:v>18700</c:v>
                </c:pt>
                <c:pt idx="140">
                  <c:v>#N/A</c:v>
                </c:pt>
                <c:pt idx="141">
                  <c:v>#N/A</c:v>
                </c:pt>
                <c:pt idx="142">
                  <c:v>18600</c:v>
                </c:pt>
                <c:pt idx="143">
                  <c:v>18600</c:v>
                </c:pt>
                <c:pt idx="144">
                  <c:v>18500</c:v>
                </c:pt>
                <c:pt idx="145">
                  <c:v>18500</c:v>
                </c:pt>
                <c:pt idx="146">
                  <c:v>18500</c:v>
                </c:pt>
                <c:pt idx="147">
                  <c:v>#N/A</c:v>
                </c:pt>
                <c:pt idx="148">
                  <c:v>#N/A</c:v>
                </c:pt>
                <c:pt idx="149">
                  <c:v>18600</c:v>
                </c:pt>
                <c:pt idx="150">
                  <c:v>18600</c:v>
                </c:pt>
                <c:pt idx="151">
                  <c:v>18550</c:v>
                </c:pt>
                <c:pt idx="152">
                  <c:v>18550</c:v>
                </c:pt>
                <c:pt idx="153">
                  <c:v>18650</c:v>
                </c:pt>
                <c:pt idx="154">
                  <c:v>#N/A</c:v>
                </c:pt>
                <c:pt idx="155">
                  <c:v>#N/A</c:v>
                </c:pt>
                <c:pt idx="156">
                  <c:v>18550</c:v>
                </c:pt>
                <c:pt idx="157">
                  <c:v>18500</c:v>
                </c:pt>
                <c:pt idx="158">
                  <c:v>18500</c:v>
                </c:pt>
                <c:pt idx="159">
                  <c:v>18550</c:v>
                </c:pt>
                <c:pt idx="160">
                  <c:v>18600</c:v>
                </c:pt>
                <c:pt idx="161">
                  <c:v>#N/A</c:v>
                </c:pt>
                <c:pt idx="162">
                  <c:v>#N/A</c:v>
                </c:pt>
                <c:pt idx="163">
                  <c:v>18600</c:v>
                </c:pt>
                <c:pt idx="164">
                  <c:v>18450</c:v>
                </c:pt>
                <c:pt idx="165">
                  <c:v>18500</c:v>
                </c:pt>
                <c:pt idx="166">
                  <c:v>18500</c:v>
                </c:pt>
                <c:pt idx="167">
                  <c:v>18600</c:v>
                </c:pt>
                <c:pt idx="168">
                  <c:v>#N/A</c:v>
                </c:pt>
                <c:pt idx="169">
                  <c:v>#N/A</c:v>
                </c:pt>
                <c:pt idx="170">
                  <c:v>18500</c:v>
                </c:pt>
                <c:pt idx="171">
                  <c:v>18500</c:v>
                </c:pt>
                <c:pt idx="172">
                  <c:v>18500</c:v>
                </c:pt>
                <c:pt idx="173">
                  <c:v>#N/A</c:v>
                </c:pt>
                <c:pt idx="174">
                  <c:v>#N/A</c:v>
                </c:pt>
                <c:pt idx="175">
                  <c:v>#N/A</c:v>
                </c:pt>
                <c:pt idx="176">
                  <c:v>#N/A</c:v>
                </c:pt>
                <c:pt idx="177">
                  <c:v>18400</c:v>
                </c:pt>
                <c:pt idx="178">
                  <c:v>18400</c:v>
                </c:pt>
                <c:pt idx="179">
                  <c:v>18400</c:v>
                </c:pt>
                <c:pt idx="180">
                  <c:v>18400</c:v>
                </c:pt>
                <c:pt idx="181">
                  <c:v>18400</c:v>
                </c:pt>
                <c:pt idx="182">
                  <c:v>#N/A</c:v>
                </c:pt>
                <c:pt idx="183">
                  <c:v>#N/A</c:v>
                </c:pt>
                <c:pt idx="184">
                  <c:v>18400</c:v>
                </c:pt>
                <c:pt idx="185">
                  <c:v>18400</c:v>
                </c:pt>
                <c:pt idx="186">
                  <c:v>18400</c:v>
                </c:pt>
                <c:pt idx="187">
                  <c:v>18400</c:v>
                </c:pt>
                <c:pt idx="188">
                  <c:v>18400</c:v>
                </c:pt>
                <c:pt idx="189">
                  <c:v>#N/A</c:v>
                </c:pt>
                <c:pt idx="190">
                  <c:v>#N/A</c:v>
                </c:pt>
                <c:pt idx="191">
                  <c:v>18450</c:v>
                </c:pt>
                <c:pt idx="192">
                  <c:v>18450</c:v>
                </c:pt>
                <c:pt idx="193">
                  <c:v>18450</c:v>
                </c:pt>
                <c:pt idx="194">
                  <c:v>18600</c:v>
                </c:pt>
                <c:pt idx="195">
                  <c:v>18650</c:v>
                </c:pt>
                <c:pt idx="196">
                  <c:v>#N/A</c:v>
                </c:pt>
                <c:pt idx="197">
                  <c:v>#N/A</c:v>
                </c:pt>
                <c:pt idx="198">
                  <c:v>18600</c:v>
                </c:pt>
                <c:pt idx="199">
                  <c:v>18600</c:v>
                </c:pt>
                <c:pt idx="200">
                  <c:v>18600</c:v>
                </c:pt>
                <c:pt idx="201">
                  <c:v>18600</c:v>
                </c:pt>
                <c:pt idx="202">
                  <c:v>18600</c:v>
                </c:pt>
                <c:pt idx="203">
                  <c:v>#N/A</c:v>
                </c:pt>
                <c:pt idx="204">
                  <c:v>#N/A</c:v>
                </c:pt>
                <c:pt idx="205">
                  <c:v>18600</c:v>
                </c:pt>
                <c:pt idx="206">
                  <c:v>18600</c:v>
                </c:pt>
                <c:pt idx="207">
                  <c:v>18700</c:v>
                </c:pt>
                <c:pt idx="208">
                  <c:v>18800</c:v>
                </c:pt>
                <c:pt idx="209">
                  <c:v>18800</c:v>
                </c:pt>
                <c:pt idx="210">
                  <c:v>#N/A</c:v>
                </c:pt>
                <c:pt idx="211">
                  <c:v>#N/A</c:v>
                </c:pt>
                <c:pt idx="212">
                  <c:v>18800</c:v>
                </c:pt>
                <c:pt idx="213">
                  <c:v>18950</c:v>
                </c:pt>
                <c:pt idx="214">
                  <c:v>18950</c:v>
                </c:pt>
                <c:pt idx="215">
                  <c:v>18950</c:v>
                </c:pt>
                <c:pt idx="216">
                  <c:v>19000</c:v>
                </c:pt>
                <c:pt idx="217">
                  <c:v>#N/A</c:v>
                </c:pt>
                <c:pt idx="218">
                  <c:v>#N/A</c:v>
                </c:pt>
                <c:pt idx="219">
                  <c:v>19000</c:v>
                </c:pt>
                <c:pt idx="220">
                  <c:v>19000</c:v>
                </c:pt>
                <c:pt idx="221">
                  <c:v>19000</c:v>
                </c:pt>
                <c:pt idx="222">
                  <c:v>19000</c:v>
                </c:pt>
                <c:pt idx="223">
                  <c:v>19000</c:v>
                </c:pt>
                <c:pt idx="224">
                  <c:v>#N/A</c:v>
                </c:pt>
                <c:pt idx="225">
                  <c:v>#N/A</c:v>
                </c:pt>
                <c:pt idx="226">
                  <c:v>18900</c:v>
                </c:pt>
                <c:pt idx="227">
                  <c:v>18900</c:v>
                </c:pt>
                <c:pt idx="228">
                  <c:v>19000</c:v>
                </c:pt>
                <c:pt idx="229">
                  <c:v>19000</c:v>
                </c:pt>
                <c:pt idx="230">
                  <c:v>19000</c:v>
                </c:pt>
                <c:pt idx="231">
                  <c:v>#N/A</c:v>
                </c:pt>
                <c:pt idx="232">
                  <c:v>#N/A</c:v>
                </c:pt>
                <c:pt idx="233">
                  <c:v>19000</c:v>
                </c:pt>
                <c:pt idx="234">
                  <c:v>19100</c:v>
                </c:pt>
                <c:pt idx="235">
                  <c:v>19200</c:v>
                </c:pt>
                <c:pt idx="236">
                  <c:v>19200</c:v>
                </c:pt>
                <c:pt idx="237">
                  <c:v>19200</c:v>
                </c:pt>
                <c:pt idx="238">
                  <c:v>#N/A</c:v>
                </c:pt>
                <c:pt idx="239">
                  <c:v>#N/A</c:v>
                </c:pt>
                <c:pt idx="240">
                  <c:v>19200</c:v>
                </c:pt>
                <c:pt idx="241">
                  <c:v>19200</c:v>
                </c:pt>
                <c:pt idx="242">
                  <c:v>19300</c:v>
                </c:pt>
                <c:pt idx="243">
                  <c:v>19400</c:v>
                </c:pt>
                <c:pt idx="244">
                  <c:v>19650</c:v>
                </c:pt>
                <c:pt idx="245">
                  <c:v>#N/A</c:v>
                </c:pt>
                <c:pt idx="246">
                  <c:v>#N/A</c:v>
                </c:pt>
                <c:pt idx="247">
                  <c:v>19550</c:v>
                </c:pt>
                <c:pt idx="248">
                  <c:v>19450</c:v>
                </c:pt>
                <c:pt idx="249">
                  <c:v>19450</c:v>
                </c:pt>
                <c:pt idx="250">
                  <c:v>19550</c:v>
                </c:pt>
                <c:pt idx="251">
                  <c:v>19550</c:v>
                </c:pt>
                <c:pt idx="252">
                  <c:v>#N/A</c:v>
                </c:pt>
                <c:pt idx="253">
                  <c:v>#N/A</c:v>
                </c:pt>
                <c:pt idx="254">
                  <c:v>19550</c:v>
                </c:pt>
                <c:pt idx="255">
                  <c:v>19600</c:v>
                </c:pt>
                <c:pt idx="256">
                  <c:v>19600</c:v>
                </c:pt>
                <c:pt idx="257">
                  <c:v>19600</c:v>
                </c:pt>
                <c:pt idx="258">
                  <c:v>19650</c:v>
                </c:pt>
                <c:pt idx="259">
                  <c:v>#N/A</c:v>
                </c:pt>
                <c:pt idx="260">
                  <c:v>#N/A</c:v>
                </c:pt>
                <c:pt idx="261">
                  <c:v>19600</c:v>
                </c:pt>
                <c:pt idx="262">
                  <c:v>19650</c:v>
                </c:pt>
                <c:pt idx="263">
                  <c:v>19650</c:v>
                </c:pt>
                <c:pt idx="264">
                  <c:v>19750</c:v>
                </c:pt>
                <c:pt idx="265">
                  <c:v>19750</c:v>
                </c:pt>
                <c:pt idx="266">
                  <c:v>#N/A</c:v>
                </c:pt>
                <c:pt idx="267">
                  <c:v>#N/A</c:v>
                </c:pt>
                <c:pt idx="268">
                  <c:v>19750</c:v>
                </c:pt>
                <c:pt idx="269">
                  <c:v>19750</c:v>
                </c:pt>
                <c:pt idx="270">
                  <c:v>19750</c:v>
                </c:pt>
                <c:pt idx="271">
                  <c:v>19750</c:v>
                </c:pt>
                <c:pt idx="272">
                  <c:v>#N/A</c:v>
                </c:pt>
                <c:pt idx="273">
                  <c:v>#N/A</c:v>
                </c:pt>
                <c:pt idx="274">
                  <c:v>#N/A</c:v>
                </c:pt>
                <c:pt idx="275">
                  <c:v>#N/A</c:v>
                </c:pt>
                <c:pt idx="276">
                  <c:v>#N/A</c:v>
                </c:pt>
                <c:pt idx="277">
                  <c:v>#N/A</c:v>
                </c:pt>
                <c:pt idx="278">
                  <c:v>#N/A</c:v>
                </c:pt>
                <c:pt idx="279">
                  <c:v>#N/A</c:v>
                </c:pt>
                <c:pt idx="280">
                  <c:v>#N/A</c:v>
                </c:pt>
                <c:pt idx="281">
                  <c:v>#N/A</c:v>
                </c:pt>
                <c:pt idx="282">
                  <c:v>19700</c:v>
                </c:pt>
                <c:pt idx="283">
                  <c:v>19650</c:v>
                </c:pt>
                <c:pt idx="284">
                  <c:v>19600</c:v>
                </c:pt>
                <c:pt idx="285">
                  <c:v>19600</c:v>
                </c:pt>
                <c:pt idx="286">
                  <c:v>19500</c:v>
                </c:pt>
                <c:pt idx="287">
                  <c:v>#N/A</c:v>
                </c:pt>
                <c:pt idx="288">
                  <c:v>#N/A</c:v>
                </c:pt>
                <c:pt idx="289">
                  <c:v>19500</c:v>
                </c:pt>
                <c:pt idx="290">
                  <c:v>19450</c:v>
                </c:pt>
                <c:pt idx="291">
                  <c:v>19450</c:v>
                </c:pt>
                <c:pt idx="292">
                  <c:v>19550</c:v>
                </c:pt>
                <c:pt idx="293">
                  <c:v>19550</c:v>
                </c:pt>
                <c:pt idx="294">
                  <c:v>#N/A</c:v>
                </c:pt>
                <c:pt idx="295">
                  <c:v>#N/A</c:v>
                </c:pt>
                <c:pt idx="296">
                  <c:v>19550</c:v>
                </c:pt>
                <c:pt idx="297">
                  <c:v>19550</c:v>
                </c:pt>
                <c:pt idx="298">
                  <c:v>19600</c:v>
                </c:pt>
                <c:pt idx="299">
                  <c:v>19600</c:v>
                </c:pt>
                <c:pt idx="300">
                  <c:v>19500</c:v>
                </c:pt>
                <c:pt idx="301">
                  <c:v>#N/A</c:v>
                </c:pt>
                <c:pt idx="302">
                  <c:v>#N/A</c:v>
                </c:pt>
                <c:pt idx="303">
                  <c:v>19600</c:v>
                </c:pt>
                <c:pt idx="304">
                  <c:v>19600</c:v>
                </c:pt>
                <c:pt idx="305">
                  <c:v>19600</c:v>
                </c:pt>
                <c:pt idx="306">
                  <c:v>19600</c:v>
                </c:pt>
                <c:pt idx="307">
                  <c:v>19600</c:v>
                </c:pt>
                <c:pt idx="308">
                  <c:v>#N/A</c:v>
                </c:pt>
                <c:pt idx="309">
                  <c:v>#N/A</c:v>
                </c:pt>
                <c:pt idx="310">
                  <c:v>19600</c:v>
                </c:pt>
                <c:pt idx="311">
                  <c:v>19600</c:v>
                </c:pt>
                <c:pt idx="312">
                  <c:v>19600</c:v>
                </c:pt>
                <c:pt idx="313">
                  <c:v>19600</c:v>
                </c:pt>
                <c:pt idx="314">
                  <c:v>19600</c:v>
                </c:pt>
                <c:pt idx="315">
                  <c:v>#N/A</c:v>
                </c:pt>
                <c:pt idx="316">
                  <c:v>#N/A</c:v>
                </c:pt>
                <c:pt idx="317">
                  <c:v>19400</c:v>
                </c:pt>
                <c:pt idx="318">
                  <c:v>19400</c:v>
                </c:pt>
                <c:pt idx="319">
                  <c:v>19400</c:v>
                </c:pt>
                <c:pt idx="320">
                  <c:v>19400</c:v>
                </c:pt>
                <c:pt idx="321">
                  <c:v>19350</c:v>
                </c:pt>
                <c:pt idx="322">
                  <c:v>#N/A</c:v>
                </c:pt>
                <c:pt idx="323">
                  <c:v>#N/A</c:v>
                </c:pt>
                <c:pt idx="324">
                  <c:v>19400</c:v>
                </c:pt>
                <c:pt idx="325">
                  <c:v>19400</c:v>
                </c:pt>
                <c:pt idx="326">
                  <c:v>19400</c:v>
                </c:pt>
                <c:pt idx="327">
                  <c:v>19400</c:v>
                </c:pt>
                <c:pt idx="328">
                  <c:v>19400</c:v>
                </c:pt>
                <c:pt idx="329">
                  <c:v>#N/A</c:v>
                </c:pt>
                <c:pt idx="330">
                  <c:v>#N/A</c:v>
                </c:pt>
                <c:pt idx="331">
                  <c:v>19400</c:v>
                </c:pt>
                <c:pt idx="332">
                  <c:v>19400</c:v>
                </c:pt>
                <c:pt idx="333">
                  <c:v>19400</c:v>
                </c:pt>
                <c:pt idx="334">
                  <c:v>19300</c:v>
                </c:pt>
                <c:pt idx="335">
                  <c:v>19300</c:v>
                </c:pt>
                <c:pt idx="336">
                  <c:v>#N/A</c:v>
                </c:pt>
                <c:pt idx="337">
                  <c:v>#N/A</c:v>
                </c:pt>
                <c:pt idx="338">
                  <c:v>19300</c:v>
                </c:pt>
                <c:pt idx="339">
                  <c:v>19250</c:v>
                </c:pt>
                <c:pt idx="340">
                  <c:v>19250</c:v>
                </c:pt>
                <c:pt idx="341">
                  <c:v>19250</c:v>
                </c:pt>
                <c:pt idx="342">
                  <c:v>19300</c:v>
                </c:pt>
                <c:pt idx="343">
                  <c:v>#N/A</c:v>
                </c:pt>
                <c:pt idx="344">
                  <c:v>#N/A</c:v>
                </c:pt>
                <c:pt idx="345">
                  <c:v>19300</c:v>
                </c:pt>
                <c:pt idx="346">
                  <c:v>19350</c:v>
                </c:pt>
                <c:pt idx="347">
                  <c:v>19350</c:v>
                </c:pt>
                <c:pt idx="348">
                  <c:v>19450</c:v>
                </c:pt>
                <c:pt idx="349">
                  <c:v>19550</c:v>
                </c:pt>
                <c:pt idx="350">
                  <c:v>#N/A</c:v>
                </c:pt>
                <c:pt idx="351">
                  <c:v>#N/A</c:v>
                </c:pt>
                <c:pt idx="352">
                  <c:v>19700</c:v>
                </c:pt>
                <c:pt idx="353">
                  <c:v>19700</c:v>
                </c:pt>
                <c:pt idx="354">
                  <c:v>19800</c:v>
                </c:pt>
                <c:pt idx="355">
                  <c:v>19800</c:v>
                </c:pt>
                <c:pt idx="356">
                  <c:v>19900</c:v>
                </c:pt>
                <c:pt idx="357">
                  <c:v>#N/A</c:v>
                </c:pt>
                <c:pt idx="358">
                  <c:v>#N/A</c:v>
                </c:pt>
                <c:pt idx="359">
                  <c:v>20000</c:v>
                </c:pt>
                <c:pt idx="360">
                  <c:v>20100</c:v>
                </c:pt>
                <c:pt idx="361">
                  <c:v>20100</c:v>
                </c:pt>
                <c:pt idx="362">
                  <c:v>20300</c:v>
                </c:pt>
                <c:pt idx="363">
                  <c:v>20300</c:v>
                </c:pt>
                <c:pt idx="364">
                  <c:v>#N/A</c:v>
                </c:pt>
                <c:pt idx="365">
                  <c:v>#N/A</c:v>
                </c:pt>
              </c:numCache>
            </c:numRef>
          </c:val>
          <c:smooth val="0"/>
          <c:extLst>
            <c:ext xmlns:c16="http://schemas.microsoft.com/office/drawing/2014/chart" uri="{C3380CC4-5D6E-409C-BE32-E72D297353CC}">
              <c16:uniqueId val="{00000003-28D2-4ACC-B13D-F6A9A407924B}"/>
            </c:ext>
          </c:extLst>
        </c:ser>
        <c:ser>
          <c:idx val="4"/>
          <c:order val="4"/>
          <c:tx>
            <c:strRef>
              <c:f>铝合金价格图表!$AH$4</c:f>
              <c:strCache>
                <c:ptCount val="1"/>
                <c:pt idx="0">
                  <c:v>2024</c:v>
                </c:pt>
              </c:strCache>
            </c:strRef>
          </c:tx>
          <c:spPr>
            <a:ln w="28575" cap="rnd">
              <a:solidFill>
                <a:schemeClr val="tx1"/>
              </a:solidFill>
              <a:round/>
            </a:ln>
            <a:effectLst/>
          </c:spPr>
          <c:marker>
            <c:symbol val="none"/>
          </c:marker>
          <c:cat>
            <c:strRef>
              <c:f>铝合金价格图表!$AC$5:$AC$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铝合金价格图表!$AH$5:$AH$370</c:f>
              <c:numCache>
                <c:formatCode>General</c:formatCode>
                <c:ptCount val="366"/>
                <c:pt idx="0">
                  <c:v>#N/A</c:v>
                </c:pt>
                <c:pt idx="1">
                  <c:v>20300</c:v>
                </c:pt>
                <c:pt idx="2">
                  <c:v>20300</c:v>
                </c:pt>
                <c:pt idx="3">
                  <c:v>20300</c:v>
                </c:pt>
                <c:pt idx="4">
                  <c:v>20250</c:v>
                </c:pt>
                <c:pt idx="5">
                  <c:v>#N/A</c:v>
                </c:pt>
                <c:pt idx="6">
                  <c:v>#N/A</c:v>
                </c:pt>
                <c:pt idx="7">
                  <c:v>20150</c:v>
                </c:pt>
                <c:pt idx="8">
                  <c:v>20150</c:v>
                </c:pt>
                <c:pt idx="9">
                  <c:v>20150</c:v>
                </c:pt>
                <c:pt idx="10">
                  <c:v>20150</c:v>
                </c:pt>
                <c:pt idx="11">
                  <c:v>20150</c:v>
                </c:pt>
                <c:pt idx="12">
                  <c:v>#N/A</c:v>
                </c:pt>
                <c:pt idx="13">
                  <c:v>#N/A</c:v>
                </c:pt>
                <c:pt idx="14">
                  <c:v>20050</c:v>
                </c:pt>
                <c:pt idx="15">
                  <c:v>20000</c:v>
                </c:pt>
                <c:pt idx="16">
                  <c:v>20000</c:v>
                </c:pt>
                <c:pt idx="17">
                  <c:v>19900</c:v>
                </c:pt>
                <c:pt idx="18">
                  <c:v>19850</c:v>
                </c:pt>
                <c:pt idx="19">
                  <c:v>#N/A</c:v>
                </c:pt>
                <c:pt idx="20">
                  <c:v>#N/A</c:v>
                </c:pt>
                <c:pt idx="21">
                  <c:v>19800</c:v>
                </c:pt>
                <c:pt idx="22">
                  <c:v>19800</c:v>
                </c:pt>
                <c:pt idx="23">
                  <c:v>19900</c:v>
                </c:pt>
                <c:pt idx="24">
                  <c:v>19900</c:v>
                </c:pt>
                <c:pt idx="25">
                  <c:v>20000</c:v>
                </c:pt>
                <c:pt idx="26">
                  <c:v>#N/A</c:v>
                </c:pt>
                <c:pt idx="27">
                  <c:v>#N/A</c:v>
                </c:pt>
                <c:pt idx="28">
                  <c:v>20000</c:v>
                </c:pt>
                <c:pt idx="29">
                  <c:v>20000</c:v>
                </c:pt>
                <c:pt idx="30">
                  <c:v>20000</c:v>
                </c:pt>
                <c:pt idx="31">
                  <c:v>20000</c:v>
                </c:pt>
                <c:pt idx="32">
                  <c:v>20000</c:v>
                </c:pt>
                <c:pt idx="33">
                  <c:v>#N/A</c:v>
                </c:pt>
                <c:pt idx="34">
                  <c:v>#N/A</c:v>
                </c:pt>
                <c:pt idx="35">
                  <c:v>20000</c:v>
                </c:pt>
                <c:pt idx="36">
                  <c:v>20000</c:v>
                </c:pt>
                <c:pt idx="37">
                  <c:v>20000</c:v>
                </c:pt>
                <c:pt idx="38">
                  <c:v>20000</c:v>
                </c:pt>
                <c:pt idx="39">
                  <c:v>#N/A</c:v>
                </c:pt>
                <c:pt idx="40">
                  <c:v>#N/A</c:v>
                </c:pt>
                <c:pt idx="41">
                  <c:v>#N/A</c:v>
                </c:pt>
                <c:pt idx="42">
                  <c:v>#N/A</c:v>
                </c:pt>
                <c:pt idx="43">
                  <c:v>#N/A</c:v>
                </c:pt>
                <c:pt idx="44">
                  <c:v>#N/A</c:v>
                </c:pt>
                <c:pt idx="45">
                  <c:v>#N/A</c:v>
                </c:pt>
                <c:pt idx="46">
                  <c:v>#N/A</c:v>
                </c:pt>
                <c:pt idx="47">
                  <c:v>#N/A</c:v>
                </c:pt>
                <c:pt idx="48">
                  <c:v>#N/A</c:v>
                </c:pt>
                <c:pt idx="49">
                  <c:v>20000</c:v>
                </c:pt>
                <c:pt idx="50">
                  <c:v>19900</c:v>
                </c:pt>
                <c:pt idx="51">
                  <c:v>20000</c:v>
                </c:pt>
                <c:pt idx="52">
                  <c:v>20000</c:v>
                </c:pt>
                <c:pt idx="53">
                  <c:v>20000</c:v>
                </c:pt>
                <c:pt idx="54">
                  <c:v>#N/A</c:v>
                </c:pt>
                <c:pt idx="55">
                  <c:v>#N/A</c:v>
                </c:pt>
                <c:pt idx="56">
                  <c:v>19900</c:v>
                </c:pt>
                <c:pt idx="57">
                  <c:v>19900</c:v>
                </c:pt>
                <c:pt idx="58">
                  <c:v>19900</c:v>
                </c:pt>
                <c:pt idx="59">
                  <c:v>19900</c:v>
                </c:pt>
                <c:pt idx="60">
                  <c:v>19950</c:v>
                </c:pt>
                <c:pt idx="61">
                  <c:v>#N/A</c:v>
                </c:pt>
                <c:pt idx="62">
                  <c:v>#N/A</c:v>
                </c:pt>
                <c:pt idx="63">
                  <c:v>20000</c:v>
                </c:pt>
                <c:pt idx="64">
                  <c:v>20100</c:v>
                </c:pt>
                <c:pt idx="65">
                  <c:v>20000</c:v>
                </c:pt>
                <c:pt idx="66">
                  <c:v>20100</c:v>
                </c:pt>
                <c:pt idx="67">
                  <c:v>20200</c:v>
                </c:pt>
                <c:pt idx="68">
                  <c:v>#N/A</c:v>
                </c:pt>
                <c:pt idx="69">
                  <c:v>#N/A</c:v>
                </c:pt>
                <c:pt idx="70">
                  <c:v>20200</c:v>
                </c:pt>
                <c:pt idx="71">
                  <c:v>20200</c:v>
                </c:pt>
                <c:pt idx="72">
                  <c:v>20200</c:v>
                </c:pt>
                <c:pt idx="73">
                  <c:v>20300</c:v>
                </c:pt>
                <c:pt idx="74">
                  <c:v>20300</c:v>
                </c:pt>
                <c:pt idx="75">
                  <c:v>#N/A</c:v>
                </c:pt>
                <c:pt idx="76">
                  <c:v>#N/A</c:v>
                </c:pt>
                <c:pt idx="77">
                  <c:v>20300</c:v>
                </c:pt>
                <c:pt idx="78">
                  <c:v>20300</c:v>
                </c:pt>
                <c:pt idx="79">
                  <c:v>20300</c:v>
                </c:pt>
                <c:pt idx="80">
                  <c:v>20300</c:v>
                </c:pt>
                <c:pt idx="81">
                  <c:v>20300</c:v>
                </c:pt>
                <c:pt idx="82">
                  <c:v>#N/A</c:v>
                </c:pt>
                <c:pt idx="83">
                  <c:v>#N/A</c:v>
                </c:pt>
                <c:pt idx="84">
                  <c:v>20300</c:v>
                </c:pt>
                <c:pt idx="85">
                  <c:v>20300</c:v>
                </c:pt>
                <c:pt idx="86">
                  <c:v>20200</c:v>
                </c:pt>
                <c:pt idx="87">
                  <c:v>20200</c:v>
                </c:pt>
                <c:pt idx="88">
                  <c:v>20200</c:v>
                </c:pt>
                <c:pt idx="89">
                  <c:v>#N/A</c:v>
                </c:pt>
                <c:pt idx="90">
                  <c:v>#N/A</c:v>
                </c:pt>
                <c:pt idx="91">
                  <c:v>20200</c:v>
                </c:pt>
                <c:pt idx="92">
                  <c:v>20300</c:v>
                </c:pt>
                <c:pt idx="93">
                  <c:v>20400</c:v>
                </c:pt>
                <c:pt idx="94">
                  <c:v>#N/A</c:v>
                </c:pt>
                <c:pt idx="95">
                  <c:v>#N/A</c:v>
                </c:pt>
                <c:pt idx="96">
                  <c:v>#N/A</c:v>
                </c:pt>
                <c:pt idx="97">
                  <c:v>#N/A</c:v>
                </c:pt>
                <c:pt idx="98">
                  <c:v>20600</c:v>
                </c:pt>
                <c:pt idx="99">
                  <c:v>20600</c:v>
                </c:pt>
                <c:pt idx="100">
                  <c:v>20600</c:v>
                </c:pt>
                <c:pt idx="101">
                  <c:v>20600</c:v>
                </c:pt>
                <c:pt idx="102">
                  <c:v>20700</c:v>
                </c:pt>
                <c:pt idx="103">
                  <c:v>#N/A</c:v>
                </c:pt>
                <c:pt idx="104">
                  <c:v>#N/A</c:v>
                </c:pt>
                <c:pt idx="105">
                  <c:v>20800</c:v>
                </c:pt>
                <c:pt idx="106">
                  <c:v>20650</c:v>
                </c:pt>
                <c:pt idx="107">
                  <c:v>20650</c:v>
                </c:pt>
                <c:pt idx="108">
                  <c:v>20650</c:v>
                </c:pt>
                <c:pt idx="109">
                  <c:v>20650</c:v>
                </c:pt>
                <c:pt idx="110">
                  <c:v>#N/A</c:v>
                </c:pt>
                <c:pt idx="111">
                  <c:v>#N/A</c:v>
                </c:pt>
                <c:pt idx="112">
                  <c:v>20800</c:v>
                </c:pt>
                <c:pt idx="113">
                  <c:v>20700</c:v>
                </c:pt>
                <c:pt idx="114">
                  <c:v>20600</c:v>
                </c:pt>
                <c:pt idx="115">
                  <c:v>20600</c:v>
                </c:pt>
                <c:pt idx="116">
                  <c:v>20600</c:v>
                </c:pt>
                <c:pt idx="117">
                  <c:v>#N/A</c:v>
                </c:pt>
                <c:pt idx="118">
                  <c:v>#N/A</c:v>
                </c:pt>
                <c:pt idx="119">
                  <c:v>20700</c:v>
                </c:pt>
                <c:pt idx="120">
                  <c:v>20700</c:v>
                </c:pt>
                <c:pt idx="121">
                  <c:v>#N/A</c:v>
                </c:pt>
                <c:pt idx="122">
                  <c:v>#N/A</c:v>
                </c:pt>
                <c:pt idx="123">
                  <c:v>#N/A</c:v>
                </c:pt>
                <c:pt idx="124">
                  <c:v>#N/A</c:v>
                </c:pt>
                <c:pt idx="125">
                  <c:v>#N/A</c:v>
                </c:pt>
                <c:pt idx="126">
                  <c:v>20700</c:v>
                </c:pt>
                <c:pt idx="127">
                  <c:v>20700</c:v>
                </c:pt>
                <c:pt idx="128">
                  <c:v>20500</c:v>
                </c:pt>
                <c:pt idx="129">
                  <c:v>20500</c:v>
                </c:pt>
                <c:pt idx="130">
                  <c:v>20500</c:v>
                </c:pt>
                <c:pt idx="131">
                  <c:v>#N/A</c:v>
                </c:pt>
                <c:pt idx="132">
                  <c:v>#N/A</c:v>
                </c:pt>
                <c:pt idx="133">
                  <c:v>20400</c:v>
                </c:pt>
                <c:pt idx="134">
                  <c:v>20400</c:v>
                </c:pt>
                <c:pt idx="135">
                  <c:v>20400</c:v>
                </c:pt>
                <c:pt idx="136">
                  <c:v>20400</c:v>
                </c:pt>
                <c:pt idx="137">
                  <c:v>20400</c:v>
                </c:pt>
                <c:pt idx="138">
                  <c:v>#N/A</c:v>
                </c:pt>
                <c:pt idx="139">
                  <c:v>#N/A</c:v>
                </c:pt>
                <c:pt idx="140">
                  <c:v>20500</c:v>
                </c:pt>
                <c:pt idx="141">
                  <c:v>20500</c:v>
                </c:pt>
                <c:pt idx="142">
                  <c:v>20600</c:v>
                </c:pt>
                <c:pt idx="143">
                  <c:v>20500</c:v>
                </c:pt>
                <c:pt idx="144">
                  <c:v>20500</c:v>
                </c:pt>
                <c:pt idx="145">
                  <c:v>#N/A</c:v>
                </c:pt>
                <c:pt idx="146">
                  <c:v>#N/A</c:v>
                </c:pt>
                <c:pt idx="147">
                  <c:v>20500</c:v>
                </c:pt>
                <c:pt idx="148">
                  <c:v>20550</c:v>
                </c:pt>
                <c:pt idx="149">
                  <c:v>20550</c:v>
                </c:pt>
                <c:pt idx="150">
                  <c:v>20750</c:v>
                </c:pt>
                <c:pt idx="151">
                  <c:v>20550</c:v>
                </c:pt>
                <c:pt idx="152">
                  <c:v>#N/A</c:v>
                </c:pt>
                <c:pt idx="153">
                  <c:v>#N/A</c:v>
                </c:pt>
                <c:pt idx="154">
                  <c:v>20550</c:v>
                </c:pt>
                <c:pt idx="155">
                  <c:v>20550</c:v>
                </c:pt>
                <c:pt idx="156">
                  <c:v>20500</c:v>
                </c:pt>
                <c:pt idx="157">
                  <c:v>20500</c:v>
                </c:pt>
                <c:pt idx="158">
                  <c:v>20500</c:v>
                </c:pt>
                <c:pt idx="159">
                  <c:v>#N/A</c:v>
                </c:pt>
                <c:pt idx="160">
                  <c:v>#N/A</c:v>
                </c:pt>
                <c:pt idx="161">
                  <c:v>#N/A</c:v>
                </c:pt>
                <c:pt idx="162">
                  <c:v>20400</c:v>
                </c:pt>
                <c:pt idx="163">
                  <c:v>20400</c:v>
                </c:pt>
                <c:pt idx="164">
                  <c:v>20300</c:v>
                </c:pt>
                <c:pt idx="165">
                  <c:v>20200</c:v>
                </c:pt>
                <c:pt idx="166">
                  <c:v>#N/A</c:v>
                </c:pt>
                <c:pt idx="167">
                  <c:v>#N/A</c:v>
                </c:pt>
                <c:pt idx="168">
                  <c:v>20100</c:v>
                </c:pt>
                <c:pt idx="169">
                  <c:v>20100</c:v>
                </c:pt>
                <c:pt idx="170">
                  <c:v>20100</c:v>
                </c:pt>
                <c:pt idx="171">
                  <c:v>20100</c:v>
                </c:pt>
                <c:pt idx="172">
                  <c:v>20100</c:v>
                </c:pt>
                <c:pt idx="173">
                  <c:v>#N/A</c:v>
                </c:pt>
                <c:pt idx="174">
                  <c:v>#N/A</c:v>
                </c:pt>
                <c:pt idx="175">
                  <c:v>20000</c:v>
                </c:pt>
                <c:pt idx="176">
                  <c:v>20000</c:v>
                </c:pt>
                <c:pt idx="177">
                  <c:v>19950</c:v>
                </c:pt>
                <c:pt idx="178">
                  <c:v>19950</c:v>
                </c:pt>
                <c:pt idx="179">
                  <c:v>19950</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4-28D2-4ACC-B13D-F6A9A407924B}"/>
            </c:ext>
          </c:extLst>
        </c:ser>
        <c:dLbls>
          <c:showLegendKey val="0"/>
          <c:showVal val="0"/>
          <c:showCatName val="0"/>
          <c:showSerName val="0"/>
          <c:showPercent val="0"/>
          <c:showBubbleSize val="0"/>
        </c:dLbls>
        <c:smooth val="0"/>
        <c:axId val="1396082160"/>
        <c:axId val="1155618768"/>
      </c:lineChart>
      <c:catAx>
        <c:axId val="1396082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ea"/>
                <a:sym typeface="+mn-lt"/>
              </a:defRPr>
            </a:pPr>
            <a:endParaRPr lang="zh-CN"/>
          </a:p>
        </c:txPr>
        <c:crossAx val="1155618768"/>
        <c:crosses val="autoZero"/>
        <c:auto val="1"/>
        <c:lblAlgn val="ctr"/>
        <c:lblOffset val="100"/>
        <c:noMultiLvlLbl val="0"/>
      </c:catAx>
      <c:valAx>
        <c:axId val="1155618768"/>
        <c:scaling>
          <c:orientation val="minMax"/>
          <c:min val="12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ea"/>
                <a:sym typeface="+mn-lt"/>
              </a:defRPr>
            </a:pPr>
            <a:endParaRPr lang="zh-CN"/>
          </a:p>
        </c:txPr>
        <c:crossAx val="13960821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ysClr val="windowText" lastClr="000000"/>
          </a:solidFill>
          <a:latin typeface="+mn-lt"/>
          <a:ea typeface="+mn-ea"/>
          <a:cs typeface="+mn-ea"/>
          <a:sym typeface="+mn-lt"/>
        </a:defRPr>
      </a:pPr>
      <a:endParaRPr lang="zh-CN"/>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ysClr val="windowText" lastClr="000000"/>
                </a:solidFill>
                <a:latin typeface="+mn-lt"/>
                <a:ea typeface="+mn-ea"/>
                <a:cs typeface="+mn-ea"/>
                <a:sym typeface="+mn-lt"/>
              </a:defRPr>
            </a:pPr>
            <a:r>
              <a:rPr lang="zh-CN"/>
              <a:t>长江有色</a:t>
            </a:r>
            <a:r>
              <a:rPr lang="en-US"/>
              <a:t>A356.2</a:t>
            </a:r>
            <a:r>
              <a:rPr lang="zh-CN"/>
              <a:t>铸造铝合金锭现货均价</a:t>
            </a:r>
          </a:p>
        </c:rich>
      </c:tx>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mn-lt"/>
              <a:ea typeface="+mn-ea"/>
              <a:cs typeface="+mn-ea"/>
              <a:sym typeface="+mn-lt"/>
            </a:defRPr>
          </a:pPr>
          <a:endParaRPr lang="zh-CN"/>
        </a:p>
      </c:txPr>
    </c:title>
    <c:autoTitleDeleted val="0"/>
    <c:plotArea>
      <c:layout/>
      <c:lineChart>
        <c:grouping val="standard"/>
        <c:varyColors val="0"/>
        <c:ser>
          <c:idx val="0"/>
          <c:order val="0"/>
          <c:tx>
            <c:strRef>
              <c:f>铝合金价格图表!$AK$4</c:f>
              <c:strCache>
                <c:ptCount val="1"/>
                <c:pt idx="0">
                  <c:v>2020</c:v>
                </c:pt>
              </c:strCache>
            </c:strRef>
          </c:tx>
          <c:spPr>
            <a:ln w="19050" cap="rnd">
              <a:solidFill>
                <a:srgbClr val="7030A0">
                  <a:alpha val="60000"/>
                </a:srgbClr>
              </a:solidFill>
              <a:round/>
            </a:ln>
            <a:effectLst/>
          </c:spPr>
          <c:marker>
            <c:symbol val="none"/>
          </c:marker>
          <c:cat>
            <c:strRef>
              <c:f>铝合金价格图表!$AJ$5:$AJ$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铝合金价格图表!$AK$5:$AK$370</c:f>
              <c:numCache>
                <c:formatCode>General</c:formatCode>
                <c:ptCount val="366"/>
                <c:pt idx="0">
                  <c:v>#N/A</c:v>
                </c:pt>
                <c:pt idx="1">
                  <c:v>15570</c:v>
                </c:pt>
                <c:pt idx="2">
                  <c:v>15550</c:v>
                </c:pt>
                <c:pt idx="3">
                  <c:v>#N/A</c:v>
                </c:pt>
                <c:pt idx="4">
                  <c:v>#N/A</c:v>
                </c:pt>
                <c:pt idx="5">
                  <c:v>15530</c:v>
                </c:pt>
                <c:pt idx="6">
                  <c:v>15460</c:v>
                </c:pt>
                <c:pt idx="7">
                  <c:v>15450</c:v>
                </c:pt>
                <c:pt idx="8">
                  <c:v>15480</c:v>
                </c:pt>
                <c:pt idx="9">
                  <c:v>15520</c:v>
                </c:pt>
                <c:pt idx="10">
                  <c:v>#N/A</c:v>
                </c:pt>
                <c:pt idx="11">
                  <c:v>#N/A</c:v>
                </c:pt>
                <c:pt idx="12">
                  <c:v>15390</c:v>
                </c:pt>
                <c:pt idx="13">
                  <c:v>15290</c:v>
                </c:pt>
                <c:pt idx="14">
                  <c:v>15170</c:v>
                </c:pt>
                <c:pt idx="15">
                  <c:v>15290</c:v>
                </c:pt>
                <c:pt idx="16">
                  <c:v>15560</c:v>
                </c:pt>
                <c:pt idx="17">
                  <c:v>#N/A</c:v>
                </c:pt>
                <c:pt idx="18">
                  <c:v>#N/A</c:v>
                </c:pt>
                <c:pt idx="19">
                  <c:v>15340</c:v>
                </c:pt>
                <c:pt idx="20">
                  <c:v>15130</c:v>
                </c:pt>
                <c:pt idx="21">
                  <c:v>15100</c:v>
                </c:pt>
                <c:pt idx="22">
                  <c:v>15110</c:v>
                </c:pt>
                <c:pt idx="23">
                  <c:v>#N/A</c:v>
                </c:pt>
                <c:pt idx="24">
                  <c:v>#N/A</c:v>
                </c:pt>
                <c:pt idx="25">
                  <c:v>#N/A</c:v>
                </c:pt>
                <c:pt idx="26">
                  <c:v>#N/A</c:v>
                </c:pt>
                <c:pt idx="27">
                  <c:v>#N/A</c:v>
                </c:pt>
                <c:pt idx="28">
                  <c:v>#N/A</c:v>
                </c:pt>
                <c:pt idx="29">
                  <c:v>#N/A</c:v>
                </c:pt>
                <c:pt idx="30">
                  <c:v>#N/A</c:v>
                </c:pt>
                <c:pt idx="31">
                  <c:v>#N/A</c:v>
                </c:pt>
                <c:pt idx="32">
                  <c:v>#N/A</c:v>
                </c:pt>
                <c:pt idx="33">
                  <c:v>14590</c:v>
                </c:pt>
                <c:pt idx="34">
                  <c:v>14430</c:v>
                </c:pt>
                <c:pt idx="35">
                  <c:v>14440</c:v>
                </c:pt>
                <c:pt idx="36">
                  <c:v>14500</c:v>
                </c:pt>
                <c:pt idx="37">
                  <c:v>14540</c:v>
                </c:pt>
                <c:pt idx="38">
                  <c:v>#N/A</c:v>
                </c:pt>
                <c:pt idx="39">
                  <c:v>#N/A</c:v>
                </c:pt>
                <c:pt idx="40">
                  <c:v>14590</c:v>
                </c:pt>
                <c:pt idx="41">
                  <c:v>14730</c:v>
                </c:pt>
                <c:pt idx="42">
                  <c:v>14620</c:v>
                </c:pt>
                <c:pt idx="43">
                  <c:v>14620</c:v>
                </c:pt>
                <c:pt idx="44">
                  <c:v>14570</c:v>
                </c:pt>
                <c:pt idx="45">
                  <c:v>#N/A</c:v>
                </c:pt>
                <c:pt idx="46">
                  <c:v>#N/A</c:v>
                </c:pt>
                <c:pt idx="47">
                  <c:v>14560</c:v>
                </c:pt>
                <c:pt idx="48">
                  <c:v>14600</c:v>
                </c:pt>
                <c:pt idx="49">
                  <c:v>14620</c:v>
                </c:pt>
                <c:pt idx="50">
                  <c:v>14600</c:v>
                </c:pt>
                <c:pt idx="51">
                  <c:v>14520</c:v>
                </c:pt>
                <c:pt idx="52">
                  <c:v>#N/A</c:v>
                </c:pt>
                <c:pt idx="53">
                  <c:v>#N/A</c:v>
                </c:pt>
                <c:pt idx="54">
                  <c:v>14420</c:v>
                </c:pt>
                <c:pt idx="55">
                  <c:v>14420</c:v>
                </c:pt>
                <c:pt idx="56">
                  <c:v>14440</c:v>
                </c:pt>
                <c:pt idx="57">
                  <c:v>14380</c:v>
                </c:pt>
                <c:pt idx="58">
                  <c:v>14170</c:v>
                </c:pt>
                <c:pt idx="59">
                  <c:v>#N/A</c:v>
                </c:pt>
                <c:pt idx="60">
                  <c:v>#N/A</c:v>
                </c:pt>
                <c:pt idx="61">
                  <c:v>14040</c:v>
                </c:pt>
                <c:pt idx="62">
                  <c:v>14150</c:v>
                </c:pt>
                <c:pt idx="63">
                  <c:v>13990</c:v>
                </c:pt>
                <c:pt idx="64">
                  <c:v>14070</c:v>
                </c:pt>
                <c:pt idx="65">
                  <c:v>14050</c:v>
                </c:pt>
                <c:pt idx="66">
                  <c:v>#N/A</c:v>
                </c:pt>
                <c:pt idx="67">
                  <c:v>#N/A</c:v>
                </c:pt>
                <c:pt idx="68">
                  <c:v>13840</c:v>
                </c:pt>
                <c:pt idx="69">
                  <c:v>13820</c:v>
                </c:pt>
                <c:pt idx="70">
                  <c:v>13810</c:v>
                </c:pt>
                <c:pt idx="71">
                  <c:v>13740</c:v>
                </c:pt>
                <c:pt idx="72">
                  <c:v>13640</c:v>
                </c:pt>
                <c:pt idx="73">
                  <c:v>#N/A</c:v>
                </c:pt>
                <c:pt idx="74">
                  <c:v>#N/A</c:v>
                </c:pt>
                <c:pt idx="75">
                  <c:v>13750</c:v>
                </c:pt>
                <c:pt idx="76">
                  <c:v>13590</c:v>
                </c:pt>
                <c:pt idx="77">
                  <c:v>13530</c:v>
                </c:pt>
                <c:pt idx="78">
                  <c:v>12690</c:v>
                </c:pt>
                <c:pt idx="79">
                  <c:v>12800</c:v>
                </c:pt>
                <c:pt idx="80">
                  <c:v>#N/A</c:v>
                </c:pt>
                <c:pt idx="81">
                  <c:v>#N/A</c:v>
                </c:pt>
                <c:pt idx="82">
                  <c:v>12210</c:v>
                </c:pt>
                <c:pt idx="83">
                  <c:v>12210</c:v>
                </c:pt>
                <c:pt idx="84">
                  <c:v>12340</c:v>
                </c:pt>
                <c:pt idx="85">
                  <c:v>12530</c:v>
                </c:pt>
                <c:pt idx="86">
                  <c:v>12510</c:v>
                </c:pt>
                <c:pt idx="87">
                  <c:v>#N/A</c:v>
                </c:pt>
                <c:pt idx="88">
                  <c:v>#N/A</c:v>
                </c:pt>
                <c:pt idx="89">
                  <c:v>12480</c:v>
                </c:pt>
                <c:pt idx="90">
                  <c:v>12480</c:v>
                </c:pt>
                <c:pt idx="91">
                  <c:v>12500</c:v>
                </c:pt>
                <c:pt idx="92">
                  <c:v>12280</c:v>
                </c:pt>
                <c:pt idx="93">
                  <c:v>12600</c:v>
                </c:pt>
                <c:pt idx="94">
                  <c:v>#N/A</c:v>
                </c:pt>
                <c:pt idx="95">
                  <c:v>#N/A</c:v>
                </c:pt>
                <c:pt idx="96">
                  <c:v>#N/A</c:v>
                </c:pt>
                <c:pt idx="97">
                  <c:v>12640</c:v>
                </c:pt>
                <c:pt idx="98">
                  <c:v>12560</c:v>
                </c:pt>
                <c:pt idx="99">
                  <c:v>12610</c:v>
                </c:pt>
                <c:pt idx="100">
                  <c:v>12740</c:v>
                </c:pt>
                <c:pt idx="101">
                  <c:v>#N/A</c:v>
                </c:pt>
                <c:pt idx="102">
                  <c:v>#N/A</c:v>
                </c:pt>
                <c:pt idx="103">
                  <c:v>12800</c:v>
                </c:pt>
                <c:pt idx="104">
                  <c:v>12820</c:v>
                </c:pt>
                <c:pt idx="105">
                  <c:v>12900</c:v>
                </c:pt>
                <c:pt idx="106">
                  <c:v>13000</c:v>
                </c:pt>
                <c:pt idx="107">
                  <c:v>13140</c:v>
                </c:pt>
                <c:pt idx="108">
                  <c:v>#N/A</c:v>
                </c:pt>
                <c:pt idx="109">
                  <c:v>#N/A</c:v>
                </c:pt>
                <c:pt idx="110">
                  <c:v>13500</c:v>
                </c:pt>
                <c:pt idx="111">
                  <c:v>13250</c:v>
                </c:pt>
                <c:pt idx="112">
                  <c:v>13260</c:v>
                </c:pt>
                <c:pt idx="113">
                  <c:v>13480</c:v>
                </c:pt>
                <c:pt idx="114">
                  <c:v>13460</c:v>
                </c:pt>
                <c:pt idx="115">
                  <c:v>#N/A</c:v>
                </c:pt>
                <c:pt idx="116">
                  <c:v>#N/A</c:v>
                </c:pt>
                <c:pt idx="117">
                  <c:v>13500</c:v>
                </c:pt>
                <c:pt idx="118">
                  <c:v>13590</c:v>
                </c:pt>
                <c:pt idx="119">
                  <c:v>13770</c:v>
                </c:pt>
                <c:pt idx="120">
                  <c:v>13790</c:v>
                </c:pt>
                <c:pt idx="121">
                  <c:v>#N/A</c:v>
                </c:pt>
                <c:pt idx="122">
                  <c:v>#N/A</c:v>
                </c:pt>
                <c:pt idx="123">
                  <c:v>#N/A</c:v>
                </c:pt>
                <c:pt idx="124">
                  <c:v>#N/A</c:v>
                </c:pt>
                <c:pt idx="125">
                  <c:v>#N/A</c:v>
                </c:pt>
                <c:pt idx="126">
                  <c:v>13980</c:v>
                </c:pt>
                <c:pt idx="127">
                  <c:v>13980</c:v>
                </c:pt>
                <c:pt idx="128">
                  <c:v>13840</c:v>
                </c:pt>
                <c:pt idx="129">
                  <c:v>#N/A</c:v>
                </c:pt>
                <c:pt idx="130">
                  <c:v>#N/A</c:v>
                </c:pt>
                <c:pt idx="131">
                  <c:v>14020</c:v>
                </c:pt>
                <c:pt idx="132">
                  <c:v>14040</c:v>
                </c:pt>
                <c:pt idx="133">
                  <c:v>13750</c:v>
                </c:pt>
                <c:pt idx="134">
                  <c:v>13800</c:v>
                </c:pt>
                <c:pt idx="135">
                  <c:v>14020</c:v>
                </c:pt>
                <c:pt idx="136">
                  <c:v>#N/A</c:v>
                </c:pt>
                <c:pt idx="137">
                  <c:v>#N/A</c:v>
                </c:pt>
                <c:pt idx="138">
                  <c:v>14140</c:v>
                </c:pt>
                <c:pt idx="139">
                  <c:v>14490</c:v>
                </c:pt>
                <c:pt idx="140">
                  <c:v>14480</c:v>
                </c:pt>
                <c:pt idx="141">
                  <c:v>14470</c:v>
                </c:pt>
                <c:pt idx="142">
                  <c:v>14140</c:v>
                </c:pt>
                <c:pt idx="143">
                  <c:v>#N/A</c:v>
                </c:pt>
                <c:pt idx="144">
                  <c:v>#N/A</c:v>
                </c:pt>
                <c:pt idx="145">
                  <c:v>14250</c:v>
                </c:pt>
                <c:pt idx="146">
                  <c:v>14340</c:v>
                </c:pt>
                <c:pt idx="147">
                  <c:v>14340</c:v>
                </c:pt>
                <c:pt idx="148">
                  <c:v>14450</c:v>
                </c:pt>
                <c:pt idx="149">
                  <c:v>14460</c:v>
                </c:pt>
                <c:pt idx="150">
                  <c:v>#N/A</c:v>
                </c:pt>
                <c:pt idx="151">
                  <c:v>#N/A</c:v>
                </c:pt>
                <c:pt idx="152">
                  <c:v>14470</c:v>
                </c:pt>
                <c:pt idx="153">
                  <c:v>14400</c:v>
                </c:pt>
                <c:pt idx="154">
                  <c:v>14380</c:v>
                </c:pt>
                <c:pt idx="155">
                  <c:v>14500</c:v>
                </c:pt>
                <c:pt idx="156">
                  <c:v>14470</c:v>
                </c:pt>
                <c:pt idx="157">
                  <c:v>#N/A</c:v>
                </c:pt>
                <c:pt idx="158">
                  <c:v>#N/A</c:v>
                </c:pt>
                <c:pt idx="159">
                  <c:v>14680</c:v>
                </c:pt>
                <c:pt idx="160">
                  <c:v>14840</c:v>
                </c:pt>
                <c:pt idx="161">
                  <c:v>14820</c:v>
                </c:pt>
                <c:pt idx="162">
                  <c:v>14860</c:v>
                </c:pt>
                <c:pt idx="163">
                  <c:v>14800</c:v>
                </c:pt>
                <c:pt idx="164">
                  <c:v>#N/A</c:v>
                </c:pt>
                <c:pt idx="165">
                  <c:v>#N/A</c:v>
                </c:pt>
                <c:pt idx="166">
                  <c:v>14820</c:v>
                </c:pt>
                <c:pt idx="167">
                  <c:v>14970</c:v>
                </c:pt>
                <c:pt idx="168">
                  <c:v>15080</c:v>
                </c:pt>
                <c:pt idx="169">
                  <c:v>14970</c:v>
                </c:pt>
                <c:pt idx="170">
                  <c:v>14900</c:v>
                </c:pt>
                <c:pt idx="171">
                  <c:v>#N/A</c:v>
                </c:pt>
                <c:pt idx="172">
                  <c:v>#N/A</c:v>
                </c:pt>
                <c:pt idx="173">
                  <c:v>14970</c:v>
                </c:pt>
                <c:pt idx="174">
                  <c:v>15010</c:v>
                </c:pt>
                <c:pt idx="175">
                  <c:v>15020</c:v>
                </c:pt>
                <c:pt idx="176">
                  <c:v>#N/A</c:v>
                </c:pt>
                <c:pt idx="177">
                  <c:v>#N/A</c:v>
                </c:pt>
                <c:pt idx="178">
                  <c:v>#N/A</c:v>
                </c:pt>
                <c:pt idx="179">
                  <c:v>#N/A</c:v>
                </c:pt>
                <c:pt idx="180">
                  <c:v>15100</c:v>
                </c:pt>
                <c:pt idx="181">
                  <c:v>15170</c:v>
                </c:pt>
                <c:pt idx="182">
                  <c:v>15360</c:v>
                </c:pt>
                <c:pt idx="183">
                  <c:v>15420</c:v>
                </c:pt>
                <c:pt idx="184">
                  <c:v>15410</c:v>
                </c:pt>
                <c:pt idx="185">
                  <c:v>#N/A</c:v>
                </c:pt>
                <c:pt idx="186">
                  <c:v>#N/A</c:v>
                </c:pt>
                <c:pt idx="187">
                  <c:v>15430</c:v>
                </c:pt>
                <c:pt idx="188">
                  <c:v>15420</c:v>
                </c:pt>
                <c:pt idx="189">
                  <c:v>15320</c:v>
                </c:pt>
                <c:pt idx="190">
                  <c:v>15480</c:v>
                </c:pt>
                <c:pt idx="191">
                  <c:v>15730</c:v>
                </c:pt>
                <c:pt idx="192">
                  <c:v>#N/A</c:v>
                </c:pt>
                <c:pt idx="193">
                  <c:v>#N/A</c:v>
                </c:pt>
                <c:pt idx="194">
                  <c:v>16330</c:v>
                </c:pt>
                <c:pt idx="195">
                  <c:v>15890</c:v>
                </c:pt>
                <c:pt idx="196">
                  <c:v>15820</c:v>
                </c:pt>
                <c:pt idx="197">
                  <c:v>15520</c:v>
                </c:pt>
                <c:pt idx="198">
                  <c:v>15360</c:v>
                </c:pt>
                <c:pt idx="199">
                  <c:v>#N/A</c:v>
                </c:pt>
                <c:pt idx="200">
                  <c:v>#N/A</c:v>
                </c:pt>
                <c:pt idx="201">
                  <c:v>15490</c:v>
                </c:pt>
                <c:pt idx="202">
                  <c:v>15400</c:v>
                </c:pt>
                <c:pt idx="203">
                  <c:v>15500</c:v>
                </c:pt>
                <c:pt idx="204">
                  <c:v>15550</c:v>
                </c:pt>
                <c:pt idx="205">
                  <c:v>15530</c:v>
                </c:pt>
                <c:pt idx="206">
                  <c:v>#N/A</c:v>
                </c:pt>
                <c:pt idx="207">
                  <c:v>#N/A</c:v>
                </c:pt>
                <c:pt idx="208">
                  <c:v>15570</c:v>
                </c:pt>
                <c:pt idx="209">
                  <c:v>15660</c:v>
                </c:pt>
                <c:pt idx="210">
                  <c:v>15780</c:v>
                </c:pt>
                <c:pt idx="211">
                  <c:v>16000</c:v>
                </c:pt>
                <c:pt idx="212">
                  <c:v>16000</c:v>
                </c:pt>
                <c:pt idx="213">
                  <c:v>#N/A</c:v>
                </c:pt>
                <c:pt idx="214">
                  <c:v>#N/A</c:v>
                </c:pt>
                <c:pt idx="215">
                  <c:v>15880</c:v>
                </c:pt>
                <c:pt idx="216">
                  <c:v>15990</c:v>
                </c:pt>
                <c:pt idx="217">
                  <c:v>15930</c:v>
                </c:pt>
                <c:pt idx="218">
                  <c:v>15650</c:v>
                </c:pt>
                <c:pt idx="219">
                  <c:v>15710</c:v>
                </c:pt>
                <c:pt idx="220">
                  <c:v>#N/A</c:v>
                </c:pt>
                <c:pt idx="221">
                  <c:v>#N/A</c:v>
                </c:pt>
                <c:pt idx="222">
                  <c:v>15580</c:v>
                </c:pt>
                <c:pt idx="223">
                  <c:v>15460</c:v>
                </c:pt>
                <c:pt idx="224">
                  <c:v>15440</c:v>
                </c:pt>
                <c:pt idx="225">
                  <c:v>15610</c:v>
                </c:pt>
                <c:pt idx="226">
                  <c:v>15560</c:v>
                </c:pt>
                <c:pt idx="227">
                  <c:v>#N/A</c:v>
                </c:pt>
                <c:pt idx="228">
                  <c:v>#N/A</c:v>
                </c:pt>
                <c:pt idx="229">
                  <c:v>15420</c:v>
                </c:pt>
                <c:pt idx="230">
                  <c:v>15530</c:v>
                </c:pt>
                <c:pt idx="231">
                  <c:v>15650</c:v>
                </c:pt>
                <c:pt idx="232">
                  <c:v>15780</c:v>
                </c:pt>
                <c:pt idx="233">
                  <c:v>15820</c:v>
                </c:pt>
                <c:pt idx="234">
                  <c:v>#N/A</c:v>
                </c:pt>
                <c:pt idx="235">
                  <c:v>#N/A</c:v>
                </c:pt>
                <c:pt idx="236">
                  <c:v>15690</c:v>
                </c:pt>
                <c:pt idx="237">
                  <c:v>15740</c:v>
                </c:pt>
                <c:pt idx="238">
                  <c:v>15770</c:v>
                </c:pt>
                <c:pt idx="239">
                  <c:v>15720</c:v>
                </c:pt>
                <c:pt idx="240">
                  <c:v>15670</c:v>
                </c:pt>
                <c:pt idx="241">
                  <c:v>#N/A</c:v>
                </c:pt>
                <c:pt idx="242">
                  <c:v>#N/A</c:v>
                </c:pt>
                <c:pt idx="243">
                  <c:v>15760</c:v>
                </c:pt>
                <c:pt idx="244">
                  <c:v>15690</c:v>
                </c:pt>
                <c:pt idx="245">
                  <c:v>15520</c:v>
                </c:pt>
                <c:pt idx="246">
                  <c:v>15530</c:v>
                </c:pt>
                <c:pt idx="247">
                  <c:v>15480</c:v>
                </c:pt>
                <c:pt idx="248">
                  <c:v>#N/A</c:v>
                </c:pt>
                <c:pt idx="249">
                  <c:v>#N/A</c:v>
                </c:pt>
                <c:pt idx="250">
                  <c:v>#N/A</c:v>
                </c:pt>
                <c:pt idx="251">
                  <c:v>15860</c:v>
                </c:pt>
                <c:pt idx="252">
                  <c:v>15770</c:v>
                </c:pt>
                <c:pt idx="253">
                  <c:v>15770</c:v>
                </c:pt>
                <c:pt idx="254">
                  <c:v>15800</c:v>
                </c:pt>
                <c:pt idx="255">
                  <c:v>#N/A</c:v>
                </c:pt>
                <c:pt idx="256">
                  <c:v>#N/A</c:v>
                </c:pt>
                <c:pt idx="257">
                  <c:v>15770</c:v>
                </c:pt>
                <c:pt idx="258">
                  <c:v>15810</c:v>
                </c:pt>
                <c:pt idx="259">
                  <c:v>15870</c:v>
                </c:pt>
                <c:pt idx="260">
                  <c:v>15800</c:v>
                </c:pt>
                <c:pt idx="261">
                  <c:v>15990</c:v>
                </c:pt>
                <c:pt idx="262">
                  <c:v>#N/A</c:v>
                </c:pt>
                <c:pt idx="263">
                  <c:v>#N/A</c:v>
                </c:pt>
                <c:pt idx="264">
                  <c:v>15970</c:v>
                </c:pt>
                <c:pt idx="265">
                  <c:v>15960</c:v>
                </c:pt>
                <c:pt idx="266">
                  <c:v>15750</c:v>
                </c:pt>
                <c:pt idx="267">
                  <c:v>15480</c:v>
                </c:pt>
                <c:pt idx="268">
                  <c:v>15480</c:v>
                </c:pt>
                <c:pt idx="269">
                  <c:v>#N/A</c:v>
                </c:pt>
                <c:pt idx="270">
                  <c:v>#N/A</c:v>
                </c:pt>
                <c:pt idx="271">
                  <c:v>15740</c:v>
                </c:pt>
                <c:pt idx="272">
                  <c:v>15940</c:v>
                </c:pt>
                <c:pt idx="273">
                  <c:v>15880</c:v>
                </c:pt>
                <c:pt idx="274">
                  <c:v>#N/A</c:v>
                </c:pt>
                <c:pt idx="275">
                  <c:v>#N/A</c:v>
                </c:pt>
                <c:pt idx="276">
                  <c:v>#N/A</c:v>
                </c:pt>
                <c:pt idx="277">
                  <c:v>#N/A</c:v>
                </c:pt>
                <c:pt idx="278">
                  <c:v>#N/A</c:v>
                </c:pt>
                <c:pt idx="279">
                  <c:v>#N/A</c:v>
                </c:pt>
                <c:pt idx="280">
                  <c:v>#N/A</c:v>
                </c:pt>
                <c:pt idx="281">
                  <c:v>#N/A</c:v>
                </c:pt>
                <c:pt idx="282">
                  <c:v>16050</c:v>
                </c:pt>
                <c:pt idx="283">
                  <c:v>#N/A</c:v>
                </c:pt>
                <c:pt idx="284">
                  <c:v>#N/A</c:v>
                </c:pt>
                <c:pt idx="285">
                  <c:v>16150</c:v>
                </c:pt>
                <c:pt idx="286">
                  <c:v>16170</c:v>
                </c:pt>
                <c:pt idx="287">
                  <c:v>16190</c:v>
                </c:pt>
                <c:pt idx="288">
                  <c:v>16160</c:v>
                </c:pt>
                <c:pt idx="289">
                  <c:v>16140</c:v>
                </c:pt>
                <c:pt idx="290">
                  <c:v>#N/A</c:v>
                </c:pt>
                <c:pt idx="291">
                  <c:v>#N/A</c:v>
                </c:pt>
                <c:pt idx="292">
                  <c:v>16260</c:v>
                </c:pt>
                <c:pt idx="293">
                  <c:v>16140</c:v>
                </c:pt>
                <c:pt idx="294">
                  <c:v>16090</c:v>
                </c:pt>
                <c:pt idx="295">
                  <c:v>16140</c:v>
                </c:pt>
                <c:pt idx="296">
                  <c:v>16140</c:v>
                </c:pt>
                <c:pt idx="297">
                  <c:v>#N/A</c:v>
                </c:pt>
                <c:pt idx="298">
                  <c:v>#N/A</c:v>
                </c:pt>
                <c:pt idx="299">
                  <c:v>16120</c:v>
                </c:pt>
                <c:pt idx="300">
                  <c:v>16090</c:v>
                </c:pt>
                <c:pt idx="301">
                  <c:v>15940</c:v>
                </c:pt>
                <c:pt idx="302">
                  <c:v>15900</c:v>
                </c:pt>
                <c:pt idx="303">
                  <c:v>16020</c:v>
                </c:pt>
                <c:pt idx="304">
                  <c:v>#N/A</c:v>
                </c:pt>
                <c:pt idx="305">
                  <c:v>#N/A</c:v>
                </c:pt>
                <c:pt idx="306">
                  <c:v>16240</c:v>
                </c:pt>
                <c:pt idx="307">
                  <c:v>16340</c:v>
                </c:pt>
                <c:pt idx="308">
                  <c:v>16290</c:v>
                </c:pt>
                <c:pt idx="309">
                  <c:v>16270</c:v>
                </c:pt>
                <c:pt idx="310">
                  <c:v>16280</c:v>
                </c:pt>
                <c:pt idx="311">
                  <c:v>#N/A</c:v>
                </c:pt>
                <c:pt idx="312">
                  <c:v>#N/A</c:v>
                </c:pt>
                <c:pt idx="313">
                  <c:v>16370</c:v>
                </c:pt>
                <c:pt idx="314">
                  <c:v>16380</c:v>
                </c:pt>
                <c:pt idx="315">
                  <c:v>16560</c:v>
                </c:pt>
                <c:pt idx="316">
                  <c:v>16680</c:v>
                </c:pt>
                <c:pt idx="317">
                  <c:v>16840</c:v>
                </c:pt>
                <c:pt idx="318">
                  <c:v>#N/A</c:v>
                </c:pt>
                <c:pt idx="319">
                  <c:v>#N/A</c:v>
                </c:pt>
                <c:pt idx="320">
                  <c:v>16860</c:v>
                </c:pt>
                <c:pt idx="321">
                  <c:v>16790</c:v>
                </c:pt>
                <c:pt idx="322">
                  <c:v>16950</c:v>
                </c:pt>
                <c:pt idx="323">
                  <c:v>17110</c:v>
                </c:pt>
                <c:pt idx="324">
                  <c:v>17110</c:v>
                </c:pt>
                <c:pt idx="325">
                  <c:v>#N/A</c:v>
                </c:pt>
                <c:pt idx="326">
                  <c:v>#N/A</c:v>
                </c:pt>
                <c:pt idx="327">
                  <c:v>17180</c:v>
                </c:pt>
                <c:pt idx="328">
                  <c:v>17130</c:v>
                </c:pt>
                <c:pt idx="329">
                  <c:v>17310</c:v>
                </c:pt>
                <c:pt idx="330">
                  <c:v>17330</c:v>
                </c:pt>
                <c:pt idx="331">
                  <c:v>17530</c:v>
                </c:pt>
                <c:pt idx="332">
                  <c:v>#N/A</c:v>
                </c:pt>
                <c:pt idx="333">
                  <c:v>#N/A</c:v>
                </c:pt>
                <c:pt idx="334">
                  <c:v>17920</c:v>
                </c:pt>
                <c:pt idx="335">
                  <c:v>18130</c:v>
                </c:pt>
                <c:pt idx="336">
                  <c:v>18220</c:v>
                </c:pt>
                <c:pt idx="337">
                  <c:v>18050</c:v>
                </c:pt>
                <c:pt idx="338">
                  <c:v>17800</c:v>
                </c:pt>
                <c:pt idx="339">
                  <c:v>#N/A</c:v>
                </c:pt>
                <c:pt idx="340">
                  <c:v>#N/A</c:v>
                </c:pt>
                <c:pt idx="341">
                  <c:v>17690</c:v>
                </c:pt>
                <c:pt idx="342">
                  <c:v>17690</c:v>
                </c:pt>
                <c:pt idx="343">
                  <c:v>17610</c:v>
                </c:pt>
                <c:pt idx="344">
                  <c:v>17820</c:v>
                </c:pt>
                <c:pt idx="345">
                  <c:v>17920</c:v>
                </c:pt>
                <c:pt idx="346">
                  <c:v>#N/A</c:v>
                </c:pt>
                <c:pt idx="347">
                  <c:v>#N/A</c:v>
                </c:pt>
                <c:pt idx="348">
                  <c:v>17850</c:v>
                </c:pt>
                <c:pt idx="349">
                  <c:v>17740</c:v>
                </c:pt>
                <c:pt idx="350">
                  <c:v>17840</c:v>
                </c:pt>
                <c:pt idx="351">
                  <c:v>17940</c:v>
                </c:pt>
                <c:pt idx="352">
                  <c:v>18160</c:v>
                </c:pt>
                <c:pt idx="353">
                  <c:v>#N/A</c:v>
                </c:pt>
                <c:pt idx="354">
                  <c:v>#N/A</c:v>
                </c:pt>
                <c:pt idx="355">
                  <c:v>17730</c:v>
                </c:pt>
                <c:pt idx="356">
                  <c:v>17550</c:v>
                </c:pt>
                <c:pt idx="357">
                  <c:v>17260</c:v>
                </c:pt>
                <c:pt idx="358">
                  <c:v>17460</c:v>
                </c:pt>
                <c:pt idx="359">
                  <c:v>17510</c:v>
                </c:pt>
                <c:pt idx="360">
                  <c:v>#N/A</c:v>
                </c:pt>
                <c:pt idx="361">
                  <c:v>#N/A</c:v>
                </c:pt>
                <c:pt idx="362">
                  <c:v>17390</c:v>
                </c:pt>
                <c:pt idx="363">
                  <c:v>17060</c:v>
                </c:pt>
                <c:pt idx="364">
                  <c:v>16970</c:v>
                </c:pt>
                <c:pt idx="365">
                  <c:v>16910</c:v>
                </c:pt>
              </c:numCache>
            </c:numRef>
          </c:val>
          <c:smooth val="0"/>
          <c:extLst>
            <c:ext xmlns:c16="http://schemas.microsoft.com/office/drawing/2014/chart" uri="{C3380CC4-5D6E-409C-BE32-E72D297353CC}">
              <c16:uniqueId val="{00000000-D159-40D3-9DB7-102FC90707C4}"/>
            </c:ext>
          </c:extLst>
        </c:ser>
        <c:ser>
          <c:idx val="1"/>
          <c:order val="1"/>
          <c:tx>
            <c:strRef>
              <c:f>铝合金价格图表!$AL$4</c:f>
              <c:strCache>
                <c:ptCount val="1"/>
                <c:pt idx="0">
                  <c:v>2021</c:v>
                </c:pt>
              </c:strCache>
            </c:strRef>
          </c:tx>
          <c:spPr>
            <a:ln w="19050" cap="rnd">
              <a:solidFill>
                <a:srgbClr val="B57222">
                  <a:alpha val="60000"/>
                </a:srgbClr>
              </a:solidFill>
              <a:round/>
            </a:ln>
            <a:effectLst/>
          </c:spPr>
          <c:marker>
            <c:symbol val="none"/>
          </c:marker>
          <c:cat>
            <c:strRef>
              <c:f>铝合金价格图表!$AJ$5:$AJ$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铝合金价格图表!$AL$5:$AL$370</c:f>
              <c:numCache>
                <c:formatCode>General</c:formatCode>
                <c:ptCount val="366"/>
                <c:pt idx="0">
                  <c:v>#N/A</c:v>
                </c:pt>
                <c:pt idx="1">
                  <c:v>#N/A</c:v>
                </c:pt>
                <c:pt idx="2">
                  <c:v>#N/A</c:v>
                </c:pt>
                <c:pt idx="3">
                  <c:v>16790</c:v>
                </c:pt>
                <c:pt idx="4">
                  <c:v>16890</c:v>
                </c:pt>
                <c:pt idx="5">
                  <c:v>16880</c:v>
                </c:pt>
                <c:pt idx="6">
                  <c:v>16760</c:v>
                </c:pt>
                <c:pt idx="7">
                  <c:v>16900</c:v>
                </c:pt>
                <c:pt idx="8">
                  <c:v>#N/A</c:v>
                </c:pt>
                <c:pt idx="9">
                  <c:v>#N/A</c:v>
                </c:pt>
                <c:pt idx="10">
                  <c:v>16600</c:v>
                </c:pt>
                <c:pt idx="11">
                  <c:v>16260</c:v>
                </c:pt>
                <c:pt idx="12">
                  <c:v>16050</c:v>
                </c:pt>
                <c:pt idx="13">
                  <c:v>15930</c:v>
                </c:pt>
                <c:pt idx="14">
                  <c:v>16140</c:v>
                </c:pt>
                <c:pt idx="15">
                  <c:v>#N/A</c:v>
                </c:pt>
                <c:pt idx="16">
                  <c:v>#N/A</c:v>
                </c:pt>
                <c:pt idx="17">
                  <c:v>16260</c:v>
                </c:pt>
                <c:pt idx="18">
                  <c:v>16020</c:v>
                </c:pt>
                <c:pt idx="19">
                  <c:v>15970</c:v>
                </c:pt>
                <c:pt idx="20">
                  <c:v>16230</c:v>
                </c:pt>
                <c:pt idx="21">
                  <c:v>16210</c:v>
                </c:pt>
                <c:pt idx="22">
                  <c:v>#N/A</c:v>
                </c:pt>
                <c:pt idx="23">
                  <c:v>#N/A</c:v>
                </c:pt>
                <c:pt idx="24">
                  <c:v>16240</c:v>
                </c:pt>
                <c:pt idx="25">
                  <c:v>16160</c:v>
                </c:pt>
                <c:pt idx="26">
                  <c:v>16110</c:v>
                </c:pt>
                <c:pt idx="27">
                  <c:v>16070</c:v>
                </c:pt>
                <c:pt idx="28">
                  <c:v>16160</c:v>
                </c:pt>
                <c:pt idx="29">
                  <c:v>#N/A</c:v>
                </c:pt>
                <c:pt idx="30">
                  <c:v>#N/A</c:v>
                </c:pt>
                <c:pt idx="31">
                  <c:v>16420</c:v>
                </c:pt>
                <c:pt idx="32">
                  <c:v>16390</c:v>
                </c:pt>
                <c:pt idx="33">
                  <c:v>16220</c:v>
                </c:pt>
                <c:pt idx="34">
                  <c:v>16560</c:v>
                </c:pt>
                <c:pt idx="35">
                  <c:v>16680</c:v>
                </c:pt>
                <c:pt idx="36">
                  <c:v>#N/A</c:v>
                </c:pt>
                <c:pt idx="37">
                  <c:v>#N/A</c:v>
                </c:pt>
                <c:pt idx="38">
                  <c:v>16780</c:v>
                </c:pt>
                <c:pt idx="39">
                  <c:v>16950</c:v>
                </c:pt>
                <c:pt idx="40">
                  <c:v>16970</c:v>
                </c:pt>
                <c:pt idx="41">
                  <c:v>#N/A</c:v>
                </c:pt>
                <c:pt idx="42">
                  <c:v>#N/A</c:v>
                </c:pt>
                <c:pt idx="43">
                  <c:v>#N/A</c:v>
                </c:pt>
                <c:pt idx="44">
                  <c:v>#N/A</c:v>
                </c:pt>
                <c:pt idx="45">
                  <c:v>#N/A</c:v>
                </c:pt>
                <c:pt idx="46">
                  <c:v>#N/A</c:v>
                </c:pt>
                <c:pt idx="47">
                  <c:v>#N/A</c:v>
                </c:pt>
                <c:pt idx="48">
                  <c:v>17410</c:v>
                </c:pt>
                <c:pt idx="49">
                  <c:v>17620</c:v>
                </c:pt>
                <c:pt idx="50">
                  <c:v>#N/A</c:v>
                </c:pt>
                <c:pt idx="51">
                  <c:v>#N/A</c:v>
                </c:pt>
                <c:pt idx="52">
                  <c:v>17920</c:v>
                </c:pt>
                <c:pt idx="53">
                  <c:v>17970</c:v>
                </c:pt>
                <c:pt idx="54">
                  <c:v>17940</c:v>
                </c:pt>
                <c:pt idx="55">
                  <c:v>18760</c:v>
                </c:pt>
                <c:pt idx="56">
                  <c:v>18460</c:v>
                </c:pt>
                <c:pt idx="57">
                  <c:v>#N/A</c:v>
                </c:pt>
                <c:pt idx="58">
                  <c:v>#N/A</c:v>
                </c:pt>
                <c:pt idx="60">
                  <c:v>18230</c:v>
                </c:pt>
                <c:pt idx="61">
                  <c:v>18100</c:v>
                </c:pt>
                <c:pt idx="62">
                  <c:v>18610</c:v>
                </c:pt>
                <c:pt idx="63">
                  <c:v>18790</c:v>
                </c:pt>
                <c:pt idx="64">
                  <c:v>18300</c:v>
                </c:pt>
                <c:pt idx="65">
                  <c:v>#N/A</c:v>
                </c:pt>
                <c:pt idx="66">
                  <c:v>#N/A</c:v>
                </c:pt>
                <c:pt idx="67">
                  <c:v>18700</c:v>
                </c:pt>
                <c:pt idx="68">
                  <c:v>18370</c:v>
                </c:pt>
                <c:pt idx="69">
                  <c:v>18290</c:v>
                </c:pt>
                <c:pt idx="70">
                  <c:v>18570</c:v>
                </c:pt>
                <c:pt idx="71">
                  <c:v>18570</c:v>
                </c:pt>
                <c:pt idx="72">
                  <c:v>#N/A</c:v>
                </c:pt>
                <c:pt idx="73">
                  <c:v>#N/A</c:v>
                </c:pt>
                <c:pt idx="74">
                  <c:v>18810</c:v>
                </c:pt>
                <c:pt idx="75">
                  <c:v>18940</c:v>
                </c:pt>
                <c:pt idx="76">
                  <c:v>18730</c:v>
                </c:pt>
                <c:pt idx="77">
                  <c:v>18870</c:v>
                </c:pt>
                <c:pt idx="78">
                  <c:v>18610</c:v>
                </c:pt>
                <c:pt idx="79">
                  <c:v>#N/A</c:v>
                </c:pt>
                <c:pt idx="80">
                  <c:v>#N/A</c:v>
                </c:pt>
                <c:pt idx="81">
                  <c:v>18760</c:v>
                </c:pt>
                <c:pt idx="82">
                  <c:v>18400</c:v>
                </c:pt>
                <c:pt idx="83">
                  <c:v>18290</c:v>
                </c:pt>
                <c:pt idx="84">
                  <c:v>18390</c:v>
                </c:pt>
                <c:pt idx="85">
                  <c:v>18540</c:v>
                </c:pt>
                <c:pt idx="86">
                  <c:v>#N/A</c:v>
                </c:pt>
                <c:pt idx="87">
                  <c:v>#N/A</c:v>
                </c:pt>
                <c:pt idx="88">
                  <c:v>18600</c:v>
                </c:pt>
                <c:pt idx="89">
                  <c:v>18520</c:v>
                </c:pt>
                <c:pt idx="90">
                  <c:v>18360</c:v>
                </c:pt>
                <c:pt idx="91">
                  <c:v>18460</c:v>
                </c:pt>
                <c:pt idx="92">
                  <c:v>18580</c:v>
                </c:pt>
                <c:pt idx="93">
                  <c:v>#N/A</c:v>
                </c:pt>
                <c:pt idx="94">
                  <c:v>#N/A</c:v>
                </c:pt>
                <c:pt idx="95">
                  <c:v>#N/A</c:v>
                </c:pt>
                <c:pt idx="96">
                  <c:v>18710</c:v>
                </c:pt>
                <c:pt idx="97">
                  <c:v>18580</c:v>
                </c:pt>
                <c:pt idx="98">
                  <c:v>18660</c:v>
                </c:pt>
                <c:pt idx="99">
                  <c:v>18690</c:v>
                </c:pt>
                <c:pt idx="100">
                  <c:v>#N/A</c:v>
                </c:pt>
                <c:pt idx="101">
                  <c:v>#N/A</c:v>
                </c:pt>
                <c:pt idx="102">
                  <c:v>18570</c:v>
                </c:pt>
                <c:pt idx="103">
                  <c:v>18660</c:v>
                </c:pt>
                <c:pt idx="104">
                  <c:v>18910</c:v>
                </c:pt>
                <c:pt idx="105">
                  <c:v>19280</c:v>
                </c:pt>
                <c:pt idx="106">
                  <c:v>19310</c:v>
                </c:pt>
                <c:pt idx="107">
                  <c:v>#N/A</c:v>
                </c:pt>
                <c:pt idx="108">
                  <c:v>#N/A</c:v>
                </c:pt>
                <c:pt idx="109">
                  <c:v>19330</c:v>
                </c:pt>
                <c:pt idx="110">
                  <c:v>19330</c:v>
                </c:pt>
                <c:pt idx="111">
                  <c:v>19230</c:v>
                </c:pt>
                <c:pt idx="112">
                  <c:v>19390</c:v>
                </c:pt>
                <c:pt idx="113">
                  <c:v>19420</c:v>
                </c:pt>
                <c:pt idx="114">
                  <c:v>#N/A</c:v>
                </c:pt>
                <c:pt idx="115">
                  <c:v>#N/A</c:v>
                </c:pt>
                <c:pt idx="116">
                  <c:v>19540</c:v>
                </c:pt>
                <c:pt idx="117">
                  <c:v>19740</c:v>
                </c:pt>
                <c:pt idx="118">
                  <c:v>19600</c:v>
                </c:pt>
                <c:pt idx="119">
                  <c:v>19920</c:v>
                </c:pt>
                <c:pt idx="120">
                  <c:v>20040</c:v>
                </c:pt>
                <c:pt idx="121">
                  <c:v>#N/A</c:v>
                </c:pt>
                <c:pt idx="122">
                  <c:v>#N/A</c:v>
                </c:pt>
                <c:pt idx="123">
                  <c:v>#N/A</c:v>
                </c:pt>
                <c:pt idx="124">
                  <c:v>#N/A</c:v>
                </c:pt>
                <c:pt idx="125">
                  <c:v>#N/A</c:v>
                </c:pt>
                <c:pt idx="126">
                  <c:v>20330</c:v>
                </c:pt>
                <c:pt idx="127">
                  <c:v>20880</c:v>
                </c:pt>
                <c:pt idx="128">
                  <c:v>#N/A</c:v>
                </c:pt>
                <c:pt idx="129">
                  <c:v>#N/A</c:v>
                </c:pt>
                <c:pt idx="130">
                  <c:v>21220</c:v>
                </c:pt>
                <c:pt idx="131">
                  <c:v>21030</c:v>
                </c:pt>
                <c:pt idx="132">
                  <c:v>21160</c:v>
                </c:pt>
                <c:pt idx="133">
                  <c:v>21010</c:v>
                </c:pt>
                <c:pt idx="134">
                  <c:v>20870</c:v>
                </c:pt>
                <c:pt idx="135">
                  <c:v>#N/A</c:v>
                </c:pt>
                <c:pt idx="136">
                  <c:v>#N/A</c:v>
                </c:pt>
                <c:pt idx="137">
                  <c:v>20880</c:v>
                </c:pt>
                <c:pt idx="138">
                  <c:v>21050</c:v>
                </c:pt>
                <c:pt idx="139">
                  <c:v>20730</c:v>
                </c:pt>
                <c:pt idx="140">
                  <c:v>20320</c:v>
                </c:pt>
                <c:pt idx="141">
                  <c:v>19640</c:v>
                </c:pt>
                <c:pt idx="142">
                  <c:v>#N/A</c:v>
                </c:pt>
                <c:pt idx="143">
                  <c:v>#N/A</c:v>
                </c:pt>
                <c:pt idx="144">
                  <c:v>19550</c:v>
                </c:pt>
                <c:pt idx="145">
                  <c:v>19560</c:v>
                </c:pt>
                <c:pt idx="146">
                  <c:v>19600</c:v>
                </c:pt>
                <c:pt idx="147">
                  <c:v>19550</c:v>
                </c:pt>
                <c:pt idx="148">
                  <c:v>20000</c:v>
                </c:pt>
                <c:pt idx="149">
                  <c:v>#N/A</c:v>
                </c:pt>
                <c:pt idx="150">
                  <c:v>#N/A</c:v>
                </c:pt>
                <c:pt idx="151">
                  <c:v>19970</c:v>
                </c:pt>
                <c:pt idx="152">
                  <c:v>19900</c:v>
                </c:pt>
                <c:pt idx="153">
                  <c:v>19890</c:v>
                </c:pt>
                <c:pt idx="154">
                  <c:v>19860</c:v>
                </c:pt>
                <c:pt idx="155">
                  <c:v>19450</c:v>
                </c:pt>
                <c:pt idx="156">
                  <c:v>#N/A</c:v>
                </c:pt>
                <c:pt idx="157">
                  <c:v>#N/A</c:v>
                </c:pt>
                <c:pt idx="158">
                  <c:v>19720</c:v>
                </c:pt>
                <c:pt idx="159">
                  <c:v>19550</c:v>
                </c:pt>
                <c:pt idx="160">
                  <c:v>19580</c:v>
                </c:pt>
                <c:pt idx="161">
                  <c:v>19710</c:v>
                </c:pt>
                <c:pt idx="162">
                  <c:v>20010</c:v>
                </c:pt>
                <c:pt idx="163">
                  <c:v>#N/A</c:v>
                </c:pt>
                <c:pt idx="164">
                  <c:v>#N/A</c:v>
                </c:pt>
                <c:pt idx="165">
                  <c:v>#N/A</c:v>
                </c:pt>
                <c:pt idx="166">
                  <c:v>20190</c:v>
                </c:pt>
                <c:pt idx="167">
                  <c:v>20030</c:v>
                </c:pt>
                <c:pt idx="168">
                  <c:v>19840</c:v>
                </c:pt>
                <c:pt idx="169">
                  <c:v>19740</c:v>
                </c:pt>
                <c:pt idx="170">
                  <c:v>#N/A</c:v>
                </c:pt>
                <c:pt idx="171">
                  <c:v>#N/A</c:v>
                </c:pt>
                <c:pt idx="172">
                  <c:v>19570</c:v>
                </c:pt>
                <c:pt idx="173">
                  <c:v>19710</c:v>
                </c:pt>
                <c:pt idx="174">
                  <c:v>19960</c:v>
                </c:pt>
                <c:pt idx="175">
                  <c:v>19850</c:v>
                </c:pt>
                <c:pt idx="176">
                  <c:v>19980</c:v>
                </c:pt>
                <c:pt idx="177">
                  <c:v>#N/A</c:v>
                </c:pt>
                <c:pt idx="178">
                  <c:v>#N/A</c:v>
                </c:pt>
                <c:pt idx="179">
                  <c:v>20020</c:v>
                </c:pt>
                <c:pt idx="180">
                  <c:v>20000</c:v>
                </c:pt>
                <c:pt idx="181">
                  <c:v>19960</c:v>
                </c:pt>
                <c:pt idx="182">
                  <c:v>19910</c:v>
                </c:pt>
                <c:pt idx="183">
                  <c:v>19860</c:v>
                </c:pt>
                <c:pt idx="184">
                  <c:v>#N/A</c:v>
                </c:pt>
                <c:pt idx="185">
                  <c:v>#N/A</c:v>
                </c:pt>
                <c:pt idx="186">
                  <c:v>20290</c:v>
                </c:pt>
                <c:pt idx="187">
                  <c:v>20300</c:v>
                </c:pt>
                <c:pt idx="188">
                  <c:v>20050</c:v>
                </c:pt>
                <c:pt idx="189">
                  <c:v>20010</c:v>
                </c:pt>
                <c:pt idx="190">
                  <c:v>20060</c:v>
                </c:pt>
                <c:pt idx="191">
                  <c:v>#N/A</c:v>
                </c:pt>
                <c:pt idx="192">
                  <c:v>#N/A</c:v>
                </c:pt>
                <c:pt idx="193">
                  <c:v>20240</c:v>
                </c:pt>
                <c:pt idx="194">
                  <c:v>20370</c:v>
                </c:pt>
                <c:pt idx="195">
                  <c:v>20320</c:v>
                </c:pt>
                <c:pt idx="196">
                  <c:v>20460</c:v>
                </c:pt>
                <c:pt idx="197">
                  <c:v>20610</c:v>
                </c:pt>
                <c:pt idx="198">
                  <c:v>#N/A</c:v>
                </c:pt>
                <c:pt idx="199">
                  <c:v>#N/A</c:v>
                </c:pt>
                <c:pt idx="200">
                  <c:v>20520</c:v>
                </c:pt>
                <c:pt idx="201">
                  <c:v>20230</c:v>
                </c:pt>
                <c:pt idx="202">
                  <c:v>20290</c:v>
                </c:pt>
                <c:pt idx="203">
                  <c:v>20270</c:v>
                </c:pt>
                <c:pt idx="204">
                  <c:v>20510</c:v>
                </c:pt>
                <c:pt idx="205">
                  <c:v>#N/A</c:v>
                </c:pt>
                <c:pt idx="206">
                  <c:v>#N/A</c:v>
                </c:pt>
                <c:pt idx="207">
                  <c:v>20820</c:v>
                </c:pt>
                <c:pt idx="208">
                  <c:v>20730</c:v>
                </c:pt>
                <c:pt idx="209">
                  <c:v>20560</c:v>
                </c:pt>
                <c:pt idx="210">
                  <c:v>20690</c:v>
                </c:pt>
                <c:pt idx="211">
                  <c:v>20855</c:v>
                </c:pt>
                <c:pt idx="212">
                  <c:v>#N/A</c:v>
                </c:pt>
                <c:pt idx="213">
                  <c:v>#N/A</c:v>
                </c:pt>
                <c:pt idx="214">
                  <c:v>20825</c:v>
                </c:pt>
                <c:pt idx="215">
                  <c:v>20805</c:v>
                </c:pt>
                <c:pt idx="216">
                  <c:v>20735</c:v>
                </c:pt>
                <c:pt idx="217">
                  <c:v>20755</c:v>
                </c:pt>
                <c:pt idx="218">
                  <c:v>20945</c:v>
                </c:pt>
                <c:pt idx="219">
                  <c:v>#N/A</c:v>
                </c:pt>
                <c:pt idx="220">
                  <c:v>#N/A</c:v>
                </c:pt>
                <c:pt idx="221">
                  <c:v>20905</c:v>
                </c:pt>
                <c:pt idx="222">
                  <c:v>20885</c:v>
                </c:pt>
                <c:pt idx="223">
                  <c:v>21085</c:v>
                </c:pt>
                <c:pt idx="224">
                  <c:v>21065</c:v>
                </c:pt>
                <c:pt idx="225">
                  <c:v>21065</c:v>
                </c:pt>
                <c:pt idx="226">
                  <c:v>#N/A</c:v>
                </c:pt>
                <c:pt idx="227">
                  <c:v>#N/A</c:v>
                </c:pt>
                <c:pt idx="228">
                  <c:v>21255</c:v>
                </c:pt>
                <c:pt idx="229">
                  <c:v>21245</c:v>
                </c:pt>
                <c:pt idx="230">
                  <c:v>21355</c:v>
                </c:pt>
                <c:pt idx="231">
                  <c:v>21115</c:v>
                </c:pt>
                <c:pt idx="232">
                  <c:v>21125</c:v>
                </c:pt>
                <c:pt idx="233">
                  <c:v>#N/A</c:v>
                </c:pt>
                <c:pt idx="234">
                  <c:v>#N/A</c:v>
                </c:pt>
                <c:pt idx="235">
                  <c:v>21395</c:v>
                </c:pt>
                <c:pt idx="236">
                  <c:v>21415</c:v>
                </c:pt>
                <c:pt idx="237">
                  <c:v>21605</c:v>
                </c:pt>
                <c:pt idx="238">
                  <c:v>21545</c:v>
                </c:pt>
                <c:pt idx="239">
                  <c:v>21665</c:v>
                </c:pt>
                <c:pt idx="240">
                  <c:v>#N/A</c:v>
                </c:pt>
                <c:pt idx="241">
                  <c:v>#N/A</c:v>
                </c:pt>
                <c:pt idx="242">
                  <c:v>22055</c:v>
                </c:pt>
                <c:pt idx="243">
                  <c:v>#N/A</c:v>
                </c:pt>
                <c:pt idx="244">
                  <c:v>22190</c:v>
                </c:pt>
                <c:pt idx="245">
                  <c:v>22320</c:v>
                </c:pt>
                <c:pt idx="246">
                  <c:v>22430</c:v>
                </c:pt>
                <c:pt idx="247">
                  <c:v>#N/A</c:v>
                </c:pt>
                <c:pt idx="248">
                  <c:v>#N/A</c:v>
                </c:pt>
                <c:pt idx="249">
                  <c:v>22730</c:v>
                </c:pt>
                <c:pt idx="250">
                  <c:v>22800</c:v>
                </c:pt>
                <c:pt idx="251">
                  <c:v>22860</c:v>
                </c:pt>
                <c:pt idx="252">
                  <c:v>23330</c:v>
                </c:pt>
                <c:pt idx="253">
                  <c:v>23760</c:v>
                </c:pt>
                <c:pt idx="254">
                  <c:v>#N/A</c:v>
                </c:pt>
                <c:pt idx="255">
                  <c:v>#N/A</c:v>
                </c:pt>
                <c:pt idx="256">
                  <c:v>24510</c:v>
                </c:pt>
                <c:pt idx="257">
                  <c:v>23990</c:v>
                </c:pt>
                <c:pt idx="258">
                  <c:v>23340</c:v>
                </c:pt>
                <c:pt idx="259">
                  <c:v>23820</c:v>
                </c:pt>
                <c:pt idx="260">
                  <c:v>23840</c:v>
                </c:pt>
                <c:pt idx="261">
                  <c:v>#N/A</c:v>
                </c:pt>
                <c:pt idx="262">
                  <c:v>#N/A</c:v>
                </c:pt>
                <c:pt idx="263">
                  <c:v>#N/A</c:v>
                </c:pt>
                <c:pt idx="264">
                  <c:v>#N/A</c:v>
                </c:pt>
                <c:pt idx="265">
                  <c:v>23910</c:v>
                </c:pt>
                <c:pt idx="266">
                  <c:v>26110</c:v>
                </c:pt>
                <c:pt idx="267">
                  <c:v>25720</c:v>
                </c:pt>
                <c:pt idx="268">
                  <c:v>#N/A</c:v>
                </c:pt>
                <c:pt idx="269">
                  <c:v>#N/A</c:v>
                </c:pt>
                <c:pt idx="270">
                  <c:v>25730</c:v>
                </c:pt>
                <c:pt idx="271">
                  <c:v>25280</c:v>
                </c:pt>
                <c:pt idx="272">
                  <c:v>25630</c:v>
                </c:pt>
                <c:pt idx="273">
                  <c:v>25440</c:v>
                </c:pt>
                <c:pt idx="274">
                  <c:v>#N/A</c:v>
                </c:pt>
                <c:pt idx="275">
                  <c:v>#N/A</c:v>
                </c:pt>
                <c:pt idx="276">
                  <c:v>#N/A</c:v>
                </c:pt>
                <c:pt idx="277">
                  <c:v>#N/A</c:v>
                </c:pt>
                <c:pt idx="278">
                  <c:v>#N/A</c:v>
                </c:pt>
                <c:pt idx="279">
                  <c:v>#N/A</c:v>
                </c:pt>
                <c:pt idx="280">
                  <c:v>#N/A</c:v>
                </c:pt>
                <c:pt idx="281">
                  <c:v>26920</c:v>
                </c:pt>
                <c:pt idx="282">
                  <c:v>#N/A</c:v>
                </c:pt>
                <c:pt idx="283">
                  <c:v>#N/A</c:v>
                </c:pt>
                <c:pt idx="284">
                  <c:v>27100</c:v>
                </c:pt>
                <c:pt idx="285">
                  <c:v>27520</c:v>
                </c:pt>
                <c:pt idx="286">
                  <c:v>27580</c:v>
                </c:pt>
                <c:pt idx="287">
                  <c:v>27520</c:v>
                </c:pt>
                <c:pt idx="288">
                  <c:v>27940</c:v>
                </c:pt>
                <c:pt idx="289">
                  <c:v>#N/A</c:v>
                </c:pt>
                <c:pt idx="290">
                  <c:v>#N/A</c:v>
                </c:pt>
                <c:pt idx="291">
                  <c:v>28390</c:v>
                </c:pt>
                <c:pt idx="292">
                  <c:v>28540</c:v>
                </c:pt>
                <c:pt idx="293">
                  <c:v>27400</c:v>
                </c:pt>
                <c:pt idx="294">
                  <c:v>27630</c:v>
                </c:pt>
                <c:pt idx="295">
                  <c:v>26200</c:v>
                </c:pt>
                <c:pt idx="296">
                  <c:v>#N/A</c:v>
                </c:pt>
                <c:pt idx="297">
                  <c:v>#N/A</c:v>
                </c:pt>
                <c:pt idx="298">
                  <c:v>25960</c:v>
                </c:pt>
                <c:pt idx="299">
                  <c:v>25150</c:v>
                </c:pt>
                <c:pt idx="300">
                  <c:v>24770</c:v>
                </c:pt>
                <c:pt idx="301">
                  <c:v>23640</c:v>
                </c:pt>
                <c:pt idx="302">
                  <c:v>24490</c:v>
                </c:pt>
                <c:pt idx="303">
                  <c:v>#N/A</c:v>
                </c:pt>
                <c:pt idx="304">
                  <c:v>#N/A</c:v>
                </c:pt>
                <c:pt idx="305">
                  <c:v>24530</c:v>
                </c:pt>
                <c:pt idx="306">
                  <c:v>24400</c:v>
                </c:pt>
                <c:pt idx="307">
                  <c:v>24120</c:v>
                </c:pt>
                <c:pt idx="308">
                  <c:v>24120</c:v>
                </c:pt>
                <c:pt idx="309">
                  <c:v>22940</c:v>
                </c:pt>
                <c:pt idx="310">
                  <c:v>#N/A</c:v>
                </c:pt>
                <c:pt idx="311">
                  <c:v>#N/A</c:v>
                </c:pt>
                <c:pt idx="312">
                  <c:v>23150</c:v>
                </c:pt>
                <c:pt idx="313">
                  <c:v>22290</c:v>
                </c:pt>
                <c:pt idx="314">
                  <c:v>21850</c:v>
                </c:pt>
                <c:pt idx="315">
                  <c:v>22140</c:v>
                </c:pt>
                <c:pt idx="316">
                  <c:v>22760</c:v>
                </c:pt>
                <c:pt idx="317">
                  <c:v>#N/A</c:v>
                </c:pt>
                <c:pt idx="318">
                  <c:v>#N/A</c:v>
                </c:pt>
                <c:pt idx="319">
                  <c:v>22520</c:v>
                </c:pt>
                <c:pt idx="320">
                  <c:v>22290</c:v>
                </c:pt>
                <c:pt idx="321">
                  <c:v>22010</c:v>
                </c:pt>
                <c:pt idx="322">
                  <c:v>22030</c:v>
                </c:pt>
                <c:pt idx="323">
                  <c:v>22040</c:v>
                </c:pt>
                <c:pt idx="324">
                  <c:v>#N/A</c:v>
                </c:pt>
                <c:pt idx="325">
                  <c:v>#N/A</c:v>
                </c:pt>
                <c:pt idx="326">
                  <c:v>22430</c:v>
                </c:pt>
                <c:pt idx="327">
                  <c:v>22670</c:v>
                </c:pt>
                <c:pt idx="328">
                  <c:v>22770</c:v>
                </c:pt>
                <c:pt idx="329">
                  <c:v>22980</c:v>
                </c:pt>
                <c:pt idx="330">
                  <c:v>22970</c:v>
                </c:pt>
                <c:pt idx="331">
                  <c:v>#N/A</c:v>
                </c:pt>
                <c:pt idx="332">
                  <c:v>#N/A</c:v>
                </c:pt>
                <c:pt idx="333">
                  <c:v>22450</c:v>
                </c:pt>
                <c:pt idx="334">
                  <c:v>22400</c:v>
                </c:pt>
                <c:pt idx="335">
                  <c:v>22420</c:v>
                </c:pt>
                <c:pt idx="336">
                  <c:v>22450</c:v>
                </c:pt>
                <c:pt idx="337">
                  <c:v>22220</c:v>
                </c:pt>
                <c:pt idx="338">
                  <c:v>#N/A</c:v>
                </c:pt>
                <c:pt idx="339">
                  <c:v>#N/A</c:v>
                </c:pt>
                <c:pt idx="340">
                  <c:v>22320</c:v>
                </c:pt>
                <c:pt idx="341">
                  <c:v>22220</c:v>
                </c:pt>
                <c:pt idx="342">
                  <c:v>22330</c:v>
                </c:pt>
                <c:pt idx="343">
                  <c:v>22130</c:v>
                </c:pt>
                <c:pt idx="344">
                  <c:v>22210</c:v>
                </c:pt>
                <c:pt idx="345">
                  <c:v>#N/A</c:v>
                </c:pt>
                <c:pt idx="346">
                  <c:v>#N/A</c:v>
                </c:pt>
                <c:pt idx="347">
                  <c:v>22165</c:v>
                </c:pt>
                <c:pt idx="348">
                  <c:v>22500</c:v>
                </c:pt>
                <c:pt idx="349">
                  <c:v>22530</c:v>
                </c:pt>
                <c:pt idx="350">
                  <c:v>22460</c:v>
                </c:pt>
                <c:pt idx="351">
                  <c:v>22850</c:v>
                </c:pt>
                <c:pt idx="352">
                  <c:v>#N/A</c:v>
                </c:pt>
                <c:pt idx="353">
                  <c:v>#N/A</c:v>
                </c:pt>
                <c:pt idx="354">
                  <c:v>23040</c:v>
                </c:pt>
                <c:pt idx="355">
                  <c:v>22860</c:v>
                </c:pt>
                <c:pt idx="356">
                  <c:v>23000</c:v>
                </c:pt>
                <c:pt idx="357">
                  <c:v>23500</c:v>
                </c:pt>
                <c:pt idx="358">
                  <c:v>23530</c:v>
                </c:pt>
                <c:pt idx="359">
                  <c:v>#N/A</c:v>
                </c:pt>
                <c:pt idx="360">
                  <c:v>#N/A</c:v>
                </c:pt>
                <c:pt idx="361">
                  <c:v>23240</c:v>
                </c:pt>
                <c:pt idx="362">
                  <c:v>23210</c:v>
                </c:pt>
                <c:pt idx="363">
                  <c:v>23380</c:v>
                </c:pt>
                <c:pt idx="364">
                  <c:v>23590</c:v>
                </c:pt>
                <c:pt idx="365">
                  <c:v>23810</c:v>
                </c:pt>
              </c:numCache>
            </c:numRef>
          </c:val>
          <c:smooth val="0"/>
          <c:extLst>
            <c:ext xmlns:c16="http://schemas.microsoft.com/office/drawing/2014/chart" uri="{C3380CC4-5D6E-409C-BE32-E72D297353CC}">
              <c16:uniqueId val="{00000001-D159-40D3-9DB7-102FC90707C4}"/>
            </c:ext>
          </c:extLst>
        </c:ser>
        <c:ser>
          <c:idx val="2"/>
          <c:order val="2"/>
          <c:tx>
            <c:strRef>
              <c:f>铝合金价格图表!$AM$4</c:f>
              <c:strCache>
                <c:ptCount val="1"/>
                <c:pt idx="0">
                  <c:v>2022</c:v>
                </c:pt>
              </c:strCache>
            </c:strRef>
          </c:tx>
          <c:spPr>
            <a:ln w="19050" cap="rnd">
              <a:solidFill>
                <a:schemeClr val="bg1">
                  <a:lumMod val="65000"/>
                </a:schemeClr>
              </a:solidFill>
              <a:round/>
            </a:ln>
            <a:effectLst/>
          </c:spPr>
          <c:marker>
            <c:symbol val="none"/>
          </c:marker>
          <c:cat>
            <c:strRef>
              <c:f>铝合金价格图表!$AJ$5:$AJ$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铝合金价格图表!$AM$5:$AM$370</c:f>
              <c:numCache>
                <c:formatCode>General</c:formatCode>
                <c:ptCount val="366"/>
                <c:pt idx="0">
                  <c:v>#N/A</c:v>
                </c:pt>
                <c:pt idx="1">
                  <c:v>#N/A</c:v>
                </c:pt>
                <c:pt idx="2">
                  <c:v>#N/A</c:v>
                </c:pt>
                <c:pt idx="3">
                  <c:v>23560</c:v>
                </c:pt>
                <c:pt idx="4">
                  <c:v>23760</c:v>
                </c:pt>
                <c:pt idx="5">
                  <c:v>24200</c:v>
                </c:pt>
                <c:pt idx="6">
                  <c:v>24500</c:v>
                </c:pt>
                <c:pt idx="7">
                  <c:v>#N/A</c:v>
                </c:pt>
                <c:pt idx="8">
                  <c:v>#N/A</c:v>
                </c:pt>
                <c:pt idx="9">
                  <c:v>24680</c:v>
                </c:pt>
                <c:pt idx="10">
                  <c:v>25070</c:v>
                </c:pt>
                <c:pt idx="11">
                  <c:v>25040</c:v>
                </c:pt>
                <c:pt idx="12">
                  <c:v>25040</c:v>
                </c:pt>
                <c:pt idx="13">
                  <c:v>24630</c:v>
                </c:pt>
                <c:pt idx="14">
                  <c:v>#N/A</c:v>
                </c:pt>
                <c:pt idx="15">
                  <c:v>#N/A</c:v>
                </c:pt>
                <c:pt idx="16">
                  <c:v>24530</c:v>
                </c:pt>
                <c:pt idx="17">
                  <c:v>24670</c:v>
                </c:pt>
                <c:pt idx="18">
                  <c:v>25100</c:v>
                </c:pt>
                <c:pt idx="19">
                  <c:v>24820</c:v>
                </c:pt>
                <c:pt idx="20">
                  <c:v>24800</c:v>
                </c:pt>
                <c:pt idx="21">
                  <c:v>#N/A</c:v>
                </c:pt>
                <c:pt idx="22">
                  <c:v>#N/A</c:v>
                </c:pt>
                <c:pt idx="23">
                  <c:v>24560</c:v>
                </c:pt>
                <c:pt idx="24">
                  <c:v>24610</c:v>
                </c:pt>
                <c:pt idx="25">
                  <c:v>25030</c:v>
                </c:pt>
                <c:pt idx="26">
                  <c:v>24880</c:v>
                </c:pt>
                <c:pt idx="27">
                  <c:v>25100</c:v>
                </c:pt>
                <c:pt idx="28">
                  <c:v>#N/A</c:v>
                </c:pt>
                <c:pt idx="29">
                  <c:v>#N/A</c:v>
                </c:pt>
                <c:pt idx="30">
                  <c:v>#N/A</c:v>
                </c:pt>
                <c:pt idx="31">
                  <c:v>#N/A</c:v>
                </c:pt>
                <c:pt idx="32">
                  <c:v>#N/A</c:v>
                </c:pt>
                <c:pt idx="33">
                  <c:v>#N/A</c:v>
                </c:pt>
                <c:pt idx="34">
                  <c:v>#N/A</c:v>
                </c:pt>
                <c:pt idx="35">
                  <c:v>#N/A</c:v>
                </c:pt>
                <c:pt idx="36">
                  <c:v>#N/A</c:v>
                </c:pt>
                <c:pt idx="37">
                  <c:v>25720</c:v>
                </c:pt>
                <c:pt idx="38">
                  <c:v>25950</c:v>
                </c:pt>
                <c:pt idx="39">
                  <c:v>26340</c:v>
                </c:pt>
                <c:pt idx="40">
                  <c:v>26740</c:v>
                </c:pt>
                <c:pt idx="41">
                  <c:v>26380</c:v>
                </c:pt>
                <c:pt idx="42">
                  <c:v>#N/A</c:v>
                </c:pt>
                <c:pt idx="43">
                  <c:v>#N/A</c:v>
                </c:pt>
                <c:pt idx="44">
                  <c:v>26020</c:v>
                </c:pt>
                <c:pt idx="45">
                  <c:v>26130</c:v>
                </c:pt>
                <c:pt idx="46">
                  <c:v>26030</c:v>
                </c:pt>
                <c:pt idx="47">
                  <c:v>26100</c:v>
                </c:pt>
                <c:pt idx="48">
                  <c:v>26160</c:v>
                </c:pt>
                <c:pt idx="49">
                  <c:v>#N/A</c:v>
                </c:pt>
                <c:pt idx="50">
                  <c:v>#N/A</c:v>
                </c:pt>
                <c:pt idx="51">
                  <c:v>26040</c:v>
                </c:pt>
                <c:pt idx="52">
                  <c:v>26380</c:v>
                </c:pt>
                <c:pt idx="53">
                  <c:v>26150</c:v>
                </c:pt>
                <c:pt idx="54">
                  <c:v>26140</c:v>
                </c:pt>
                <c:pt idx="55">
                  <c:v>26260</c:v>
                </c:pt>
                <c:pt idx="56">
                  <c:v>#N/A</c:v>
                </c:pt>
                <c:pt idx="57">
                  <c:v>#N/A</c:v>
                </c:pt>
                <c:pt idx="58">
                  <c:v>26140</c:v>
                </c:pt>
                <c:pt idx="60">
                  <c:v>25740</c:v>
                </c:pt>
                <c:pt idx="61">
                  <c:v>25850</c:v>
                </c:pt>
                <c:pt idx="62">
                  <c:v>26340</c:v>
                </c:pt>
                <c:pt idx="63">
                  <c:v>26240</c:v>
                </c:pt>
                <c:pt idx="64">
                  <c:v>#N/A</c:v>
                </c:pt>
                <c:pt idx="65">
                  <c:v>#N/A</c:v>
                </c:pt>
                <c:pt idx="66">
                  <c:v>26460</c:v>
                </c:pt>
                <c:pt idx="67">
                  <c:v>25320</c:v>
                </c:pt>
                <c:pt idx="68">
                  <c:v>24460</c:v>
                </c:pt>
                <c:pt idx="69">
                  <c:v>23700</c:v>
                </c:pt>
                <c:pt idx="70">
                  <c:v>23870</c:v>
                </c:pt>
                <c:pt idx="71">
                  <c:v>#N/A</c:v>
                </c:pt>
                <c:pt idx="72">
                  <c:v>#N/A</c:v>
                </c:pt>
                <c:pt idx="73">
                  <c:v>23890</c:v>
                </c:pt>
                <c:pt idx="74">
                  <c:v>23720</c:v>
                </c:pt>
                <c:pt idx="75">
                  <c:v>23760</c:v>
                </c:pt>
                <c:pt idx="76">
                  <c:v>23770</c:v>
                </c:pt>
                <c:pt idx="77">
                  <c:v>23910</c:v>
                </c:pt>
                <c:pt idx="78">
                  <c:v>#N/A</c:v>
                </c:pt>
                <c:pt idx="79">
                  <c:v>#N/A</c:v>
                </c:pt>
                <c:pt idx="80">
                  <c:v>24480</c:v>
                </c:pt>
                <c:pt idx="81">
                  <c:v>24260</c:v>
                </c:pt>
                <c:pt idx="82">
                  <c:v>24410</c:v>
                </c:pt>
                <c:pt idx="83">
                  <c:v>24650</c:v>
                </c:pt>
                <c:pt idx="84">
                  <c:v>24490</c:v>
                </c:pt>
                <c:pt idx="85">
                  <c:v>#N/A</c:v>
                </c:pt>
                <c:pt idx="86">
                  <c:v>#N/A</c:v>
                </c:pt>
                <c:pt idx="87">
                  <c:v>24390</c:v>
                </c:pt>
                <c:pt idx="88">
                  <c:v>24480</c:v>
                </c:pt>
                <c:pt idx="89">
                  <c:v>24220</c:v>
                </c:pt>
                <c:pt idx="90">
                  <c:v>24120</c:v>
                </c:pt>
                <c:pt idx="91">
                  <c:v>24220</c:v>
                </c:pt>
                <c:pt idx="92">
                  <c:v>#N/A</c:v>
                </c:pt>
                <c:pt idx="93">
                  <c:v>#N/A</c:v>
                </c:pt>
                <c:pt idx="94">
                  <c:v>#N/A</c:v>
                </c:pt>
                <c:pt idx="95">
                  <c:v>#N/A</c:v>
                </c:pt>
                <c:pt idx="96">
                  <c:v>23970</c:v>
                </c:pt>
                <c:pt idx="97">
                  <c:v>23520</c:v>
                </c:pt>
                <c:pt idx="98">
                  <c:v>23290</c:v>
                </c:pt>
                <c:pt idx="99">
                  <c:v>#N/A</c:v>
                </c:pt>
                <c:pt idx="100">
                  <c:v>#N/A</c:v>
                </c:pt>
                <c:pt idx="101">
                  <c:v>22720</c:v>
                </c:pt>
                <c:pt idx="102">
                  <c:v>22340</c:v>
                </c:pt>
                <c:pt idx="103">
                  <c:v>22550</c:v>
                </c:pt>
                <c:pt idx="104">
                  <c:v>22950</c:v>
                </c:pt>
                <c:pt idx="105">
                  <c:v>23220</c:v>
                </c:pt>
                <c:pt idx="106">
                  <c:v>#N/A</c:v>
                </c:pt>
                <c:pt idx="107">
                  <c:v>#N/A</c:v>
                </c:pt>
                <c:pt idx="108">
                  <c:v>23290</c:v>
                </c:pt>
                <c:pt idx="109">
                  <c:v>23520</c:v>
                </c:pt>
                <c:pt idx="110">
                  <c:v>23240</c:v>
                </c:pt>
                <c:pt idx="111">
                  <c:v>23320</c:v>
                </c:pt>
                <c:pt idx="112">
                  <c:v>23290</c:v>
                </c:pt>
                <c:pt idx="113">
                  <c:v>#N/A</c:v>
                </c:pt>
                <c:pt idx="114">
                  <c:v>#N/A</c:v>
                </c:pt>
                <c:pt idx="115">
                  <c:v>22440</c:v>
                </c:pt>
                <c:pt idx="116">
                  <c:v>22230</c:v>
                </c:pt>
                <c:pt idx="117">
                  <c:v>22220</c:v>
                </c:pt>
                <c:pt idx="118">
                  <c:v>22340</c:v>
                </c:pt>
                <c:pt idx="119">
                  <c:v>22310</c:v>
                </c:pt>
                <c:pt idx="120">
                  <c:v>#N/A</c:v>
                </c:pt>
                <c:pt idx="121">
                  <c:v>#N/A</c:v>
                </c:pt>
                <c:pt idx="122">
                  <c:v>#N/A</c:v>
                </c:pt>
                <c:pt idx="123">
                  <c:v>#N/A</c:v>
                </c:pt>
                <c:pt idx="124">
                  <c:v>#N/A</c:v>
                </c:pt>
                <c:pt idx="125">
                  <c:v>22210</c:v>
                </c:pt>
                <c:pt idx="126">
                  <c:v>21790</c:v>
                </c:pt>
                <c:pt idx="127">
                  <c:v>#N/A</c:v>
                </c:pt>
                <c:pt idx="128">
                  <c:v>#N/A</c:v>
                </c:pt>
                <c:pt idx="129">
                  <c:v>21270</c:v>
                </c:pt>
                <c:pt idx="130">
                  <c:v>21130</c:v>
                </c:pt>
                <c:pt idx="131">
                  <c:v>21610</c:v>
                </c:pt>
                <c:pt idx="132">
                  <c:v>21760</c:v>
                </c:pt>
                <c:pt idx="133">
                  <c:v>21590</c:v>
                </c:pt>
                <c:pt idx="134">
                  <c:v>#N/A</c:v>
                </c:pt>
                <c:pt idx="135">
                  <c:v>#N/A</c:v>
                </c:pt>
                <c:pt idx="136">
                  <c:v>22000</c:v>
                </c:pt>
                <c:pt idx="137">
                  <c:v>21910</c:v>
                </c:pt>
                <c:pt idx="138">
                  <c:v>21890</c:v>
                </c:pt>
                <c:pt idx="139">
                  <c:v>22000</c:v>
                </c:pt>
                <c:pt idx="140">
                  <c:v>22260</c:v>
                </c:pt>
                <c:pt idx="141">
                  <c:v>#N/A</c:v>
                </c:pt>
                <c:pt idx="142">
                  <c:v>#N/A</c:v>
                </c:pt>
                <c:pt idx="143">
                  <c:v>22330</c:v>
                </c:pt>
                <c:pt idx="144">
                  <c:v>22090</c:v>
                </c:pt>
                <c:pt idx="145">
                  <c:v>22010</c:v>
                </c:pt>
                <c:pt idx="146">
                  <c:v>21980</c:v>
                </c:pt>
                <c:pt idx="147">
                  <c:v>22300</c:v>
                </c:pt>
                <c:pt idx="148">
                  <c:v>#N/A</c:v>
                </c:pt>
                <c:pt idx="149">
                  <c:v>#N/A</c:v>
                </c:pt>
                <c:pt idx="150">
                  <c:v>22250</c:v>
                </c:pt>
                <c:pt idx="151">
                  <c:v>22260</c:v>
                </c:pt>
                <c:pt idx="152">
                  <c:v>21690</c:v>
                </c:pt>
                <c:pt idx="153">
                  <c:v>22040</c:v>
                </c:pt>
                <c:pt idx="154">
                  <c:v>#N/A</c:v>
                </c:pt>
                <c:pt idx="155">
                  <c:v>#N/A</c:v>
                </c:pt>
                <c:pt idx="156">
                  <c:v>#N/A</c:v>
                </c:pt>
                <c:pt idx="157">
                  <c:v>22340</c:v>
                </c:pt>
                <c:pt idx="158">
                  <c:v>22310</c:v>
                </c:pt>
                <c:pt idx="159">
                  <c:v>22300</c:v>
                </c:pt>
                <c:pt idx="160">
                  <c:v>22280</c:v>
                </c:pt>
                <c:pt idx="161">
                  <c:v>22000</c:v>
                </c:pt>
                <c:pt idx="162">
                  <c:v>#N/A</c:v>
                </c:pt>
                <c:pt idx="163">
                  <c:v>#N/A</c:v>
                </c:pt>
                <c:pt idx="164">
                  <c:v>21600</c:v>
                </c:pt>
                <c:pt idx="165">
                  <c:v>21420</c:v>
                </c:pt>
                <c:pt idx="166">
                  <c:v>21560</c:v>
                </c:pt>
                <c:pt idx="167">
                  <c:v>21650</c:v>
                </c:pt>
                <c:pt idx="168">
                  <c:v>21400</c:v>
                </c:pt>
                <c:pt idx="169">
                  <c:v>#N/A</c:v>
                </c:pt>
                <c:pt idx="170">
                  <c:v>#N/A</c:v>
                </c:pt>
                <c:pt idx="171">
                  <c:v>21210</c:v>
                </c:pt>
                <c:pt idx="172">
                  <c:v>21360</c:v>
                </c:pt>
                <c:pt idx="173">
                  <c:v>21260</c:v>
                </c:pt>
                <c:pt idx="174">
                  <c:v>20830</c:v>
                </c:pt>
                <c:pt idx="175">
                  <c:v>20650</c:v>
                </c:pt>
                <c:pt idx="176">
                  <c:v>#N/A</c:v>
                </c:pt>
                <c:pt idx="177">
                  <c:v>#N/A</c:v>
                </c:pt>
                <c:pt idx="178">
                  <c:v>20690</c:v>
                </c:pt>
                <c:pt idx="179">
                  <c:v>20760</c:v>
                </c:pt>
                <c:pt idx="180">
                  <c:v>20860</c:v>
                </c:pt>
                <c:pt idx="181">
                  <c:v>20720</c:v>
                </c:pt>
                <c:pt idx="182">
                  <c:v>20550</c:v>
                </c:pt>
                <c:pt idx="183">
                  <c:v>#N/A</c:v>
                </c:pt>
                <c:pt idx="184">
                  <c:v>#N/A</c:v>
                </c:pt>
                <c:pt idx="185">
                  <c:v>20670</c:v>
                </c:pt>
                <c:pt idx="186">
                  <c:v>20530</c:v>
                </c:pt>
                <c:pt idx="187">
                  <c:v>19740</c:v>
                </c:pt>
                <c:pt idx="188">
                  <c:v>19730</c:v>
                </c:pt>
                <c:pt idx="189">
                  <c:v>19950</c:v>
                </c:pt>
                <c:pt idx="190">
                  <c:v>#N/A</c:v>
                </c:pt>
                <c:pt idx="191">
                  <c:v>#N/A</c:v>
                </c:pt>
                <c:pt idx="192">
                  <c:v>19670</c:v>
                </c:pt>
                <c:pt idx="193">
                  <c:v>19480</c:v>
                </c:pt>
                <c:pt idx="194">
                  <c:v>19090</c:v>
                </c:pt>
                <c:pt idx="195">
                  <c:v>18930</c:v>
                </c:pt>
                <c:pt idx="196">
                  <c:v>18920</c:v>
                </c:pt>
                <c:pt idx="197">
                  <c:v>#N/A</c:v>
                </c:pt>
                <c:pt idx="198">
                  <c:v>#N/A</c:v>
                </c:pt>
                <c:pt idx="199">
                  <c:v>19230</c:v>
                </c:pt>
                <c:pt idx="200">
                  <c:v>19390</c:v>
                </c:pt>
                <c:pt idx="201">
                  <c:v>19370</c:v>
                </c:pt>
                <c:pt idx="202">
                  <c:v>19330</c:v>
                </c:pt>
                <c:pt idx="203">
                  <c:v>19480</c:v>
                </c:pt>
                <c:pt idx="204">
                  <c:v>#N/A</c:v>
                </c:pt>
                <c:pt idx="205">
                  <c:v>#N/A</c:v>
                </c:pt>
                <c:pt idx="206">
                  <c:v>19330</c:v>
                </c:pt>
                <c:pt idx="207">
                  <c:v>19330</c:v>
                </c:pt>
                <c:pt idx="208">
                  <c:v>19520</c:v>
                </c:pt>
                <c:pt idx="209">
                  <c:v>19850</c:v>
                </c:pt>
                <c:pt idx="210">
                  <c:v>20110</c:v>
                </c:pt>
                <c:pt idx="211">
                  <c:v>#N/A</c:v>
                </c:pt>
                <c:pt idx="212">
                  <c:v>#N/A</c:v>
                </c:pt>
                <c:pt idx="213">
                  <c:v>19800</c:v>
                </c:pt>
                <c:pt idx="214">
                  <c:v>19660</c:v>
                </c:pt>
                <c:pt idx="215">
                  <c:v>19720</c:v>
                </c:pt>
                <c:pt idx="216">
                  <c:v>19880</c:v>
                </c:pt>
                <c:pt idx="217">
                  <c:v>20010</c:v>
                </c:pt>
                <c:pt idx="218">
                  <c:v>#N/A</c:v>
                </c:pt>
                <c:pt idx="219">
                  <c:v>#N/A</c:v>
                </c:pt>
                <c:pt idx="220">
                  <c:v>19890</c:v>
                </c:pt>
                <c:pt idx="221">
                  <c:v>19970</c:v>
                </c:pt>
                <c:pt idx="222">
                  <c:v>20290</c:v>
                </c:pt>
                <c:pt idx="223">
                  <c:v>20290</c:v>
                </c:pt>
                <c:pt idx="224">
                  <c:v>20170</c:v>
                </c:pt>
                <c:pt idx="225">
                  <c:v>#N/A</c:v>
                </c:pt>
                <c:pt idx="226">
                  <c:v>#N/A</c:v>
                </c:pt>
                <c:pt idx="227">
                  <c:v>19720</c:v>
                </c:pt>
                <c:pt idx="228">
                  <c:v>19630</c:v>
                </c:pt>
                <c:pt idx="229">
                  <c:v>19980</c:v>
                </c:pt>
                <c:pt idx="230">
                  <c:v>20130</c:v>
                </c:pt>
                <c:pt idx="231">
                  <c:v>19910</c:v>
                </c:pt>
                <c:pt idx="232">
                  <c:v>#N/A</c:v>
                </c:pt>
                <c:pt idx="233">
                  <c:v>#N/A</c:v>
                </c:pt>
                <c:pt idx="234">
                  <c:v>20070</c:v>
                </c:pt>
                <c:pt idx="235">
                  <c:v>20060</c:v>
                </c:pt>
                <c:pt idx="236">
                  <c:v>20310</c:v>
                </c:pt>
                <c:pt idx="237">
                  <c:v>20360</c:v>
                </c:pt>
                <c:pt idx="238">
                  <c:v>20350</c:v>
                </c:pt>
                <c:pt idx="239">
                  <c:v>#N/A</c:v>
                </c:pt>
                <c:pt idx="240">
                  <c:v>#N/A</c:v>
                </c:pt>
                <c:pt idx="241">
                  <c:v>20450</c:v>
                </c:pt>
                <c:pt idx="242">
                  <c:v>20050</c:v>
                </c:pt>
                <c:pt idx="243">
                  <c:v>19930</c:v>
                </c:pt>
                <c:pt idx="244">
                  <c:v>19840</c:v>
                </c:pt>
                <c:pt idx="245">
                  <c:v>19600</c:v>
                </c:pt>
                <c:pt idx="246">
                  <c:v>#N/A</c:v>
                </c:pt>
                <c:pt idx="247">
                  <c:v>#N/A</c:v>
                </c:pt>
                <c:pt idx="248">
                  <c:v>19920</c:v>
                </c:pt>
                <c:pt idx="249">
                  <c:v>19900</c:v>
                </c:pt>
                <c:pt idx="250">
                  <c:v>19900</c:v>
                </c:pt>
                <c:pt idx="251">
                  <c:v>19960</c:v>
                </c:pt>
                <c:pt idx="252">
                  <c:v>20310</c:v>
                </c:pt>
                <c:pt idx="253">
                  <c:v>#N/A</c:v>
                </c:pt>
                <c:pt idx="254">
                  <c:v>#N/A</c:v>
                </c:pt>
                <c:pt idx="255">
                  <c:v>#N/A</c:v>
                </c:pt>
                <c:pt idx="256">
                  <c:v>20210</c:v>
                </c:pt>
                <c:pt idx="257">
                  <c:v>20130</c:v>
                </c:pt>
                <c:pt idx="258">
                  <c:v>20300</c:v>
                </c:pt>
                <c:pt idx="259">
                  <c:v>20370</c:v>
                </c:pt>
                <c:pt idx="260">
                  <c:v>#N/A</c:v>
                </c:pt>
                <c:pt idx="261">
                  <c:v>#N/A</c:v>
                </c:pt>
                <c:pt idx="262">
                  <c:v>20270</c:v>
                </c:pt>
                <c:pt idx="263">
                  <c:v>20190</c:v>
                </c:pt>
                <c:pt idx="264">
                  <c:v>20050</c:v>
                </c:pt>
                <c:pt idx="265">
                  <c:v>20170</c:v>
                </c:pt>
                <c:pt idx="266">
                  <c:v>20220</c:v>
                </c:pt>
                <c:pt idx="267">
                  <c:v>#N/A</c:v>
                </c:pt>
                <c:pt idx="268">
                  <c:v>#N/A</c:v>
                </c:pt>
                <c:pt idx="269">
                  <c:v>19970</c:v>
                </c:pt>
                <c:pt idx="270">
                  <c:v>19780</c:v>
                </c:pt>
                <c:pt idx="271">
                  <c:v>19460</c:v>
                </c:pt>
                <c:pt idx="272">
                  <c:v>19640</c:v>
                </c:pt>
                <c:pt idx="273">
                  <c:v>19840</c:v>
                </c:pt>
                <c:pt idx="274">
                  <c:v>#N/A</c:v>
                </c:pt>
                <c:pt idx="275">
                  <c:v>#N/A</c:v>
                </c:pt>
                <c:pt idx="276">
                  <c:v>#N/A</c:v>
                </c:pt>
                <c:pt idx="277">
                  <c:v>#N/A</c:v>
                </c:pt>
                <c:pt idx="278">
                  <c:v>#N/A</c:v>
                </c:pt>
                <c:pt idx="279">
                  <c:v>#N/A</c:v>
                </c:pt>
                <c:pt idx="280">
                  <c:v>#N/A</c:v>
                </c:pt>
                <c:pt idx="281">
                  <c:v>#N/A</c:v>
                </c:pt>
                <c:pt idx="282">
                  <c:v>#N/A</c:v>
                </c:pt>
                <c:pt idx="283">
                  <c:v>20090</c:v>
                </c:pt>
                <c:pt idx="284">
                  <c:v>20100</c:v>
                </c:pt>
                <c:pt idx="285">
                  <c:v>19910</c:v>
                </c:pt>
                <c:pt idx="286">
                  <c:v>19980</c:v>
                </c:pt>
                <c:pt idx="287">
                  <c:v>20200</c:v>
                </c:pt>
                <c:pt idx="288">
                  <c:v>#N/A</c:v>
                </c:pt>
                <c:pt idx="289">
                  <c:v>#N/A</c:v>
                </c:pt>
                <c:pt idx="290">
                  <c:v>20000</c:v>
                </c:pt>
                <c:pt idx="291">
                  <c:v>19800</c:v>
                </c:pt>
                <c:pt idx="292">
                  <c:v>19880</c:v>
                </c:pt>
                <c:pt idx="293">
                  <c:v>19940</c:v>
                </c:pt>
                <c:pt idx="294">
                  <c:v>20160</c:v>
                </c:pt>
                <c:pt idx="295">
                  <c:v>#N/A</c:v>
                </c:pt>
                <c:pt idx="296">
                  <c:v>#N/A</c:v>
                </c:pt>
                <c:pt idx="297">
                  <c:v>20150</c:v>
                </c:pt>
                <c:pt idx="298">
                  <c:v>20050</c:v>
                </c:pt>
                <c:pt idx="299">
                  <c:v>20140</c:v>
                </c:pt>
                <c:pt idx="300">
                  <c:v>20080</c:v>
                </c:pt>
                <c:pt idx="301">
                  <c:v>19790</c:v>
                </c:pt>
                <c:pt idx="302">
                  <c:v>#N/A</c:v>
                </c:pt>
                <c:pt idx="303">
                  <c:v>#N/A</c:v>
                </c:pt>
                <c:pt idx="304">
                  <c:v>19360</c:v>
                </c:pt>
                <c:pt idx="305">
                  <c:v>19540</c:v>
                </c:pt>
                <c:pt idx="306">
                  <c:v>19480</c:v>
                </c:pt>
                <c:pt idx="307">
                  <c:v>19760</c:v>
                </c:pt>
                <c:pt idx="308">
                  <c:v>19780</c:v>
                </c:pt>
                <c:pt idx="309">
                  <c:v>#N/A</c:v>
                </c:pt>
                <c:pt idx="310">
                  <c:v>#N/A</c:v>
                </c:pt>
                <c:pt idx="311">
                  <c:v>19850</c:v>
                </c:pt>
                <c:pt idx="312">
                  <c:v>19970</c:v>
                </c:pt>
                <c:pt idx="313">
                  <c:v>20110</c:v>
                </c:pt>
                <c:pt idx="314">
                  <c:v>20050</c:v>
                </c:pt>
                <c:pt idx="315">
                  <c:v>20260</c:v>
                </c:pt>
                <c:pt idx="316">
                  <c:v>#N/A</c:v>
                </c:pt>
                <c:pt idx="317">
                  <c:v>#N/A</c:v>
                </c:pt>
                <c:pt idx="318">
                  <c:v>20280</c:v>
                </c:pt>
                <c:pt idx="319">
                  <c:v>20270</c:v>
                </c:pt>
                <c:pt idx="320">
                  <c:v>20350</c:v>
                </c:pt>
                <c:pt idx="321">
                  <c:v>20490</c:v>
                </c:pt>
                <c:pt idx="322">
                  <c:v>20755</c:v>
                </c:pt>
                <c:pt idx="323">
                  <c:v>#N/A</c:v>
                </c:pt>
                <c:pt idx="324">
                  <c:v>#N/A</c:v>
                </c:pt>
                <c:pt idx="325">
                  <c:v>20500</c:v>
                </c:pt>
                <c:pt idx="326">
                  <c:v>20510</c:v>
                </c:pt>
                <c:pt idx="327">
                  <c:v>20460</c:v>
                </c:pt>
                <c:pt idx="328">
                  <c:v>20590</c:v>
                </c:pt>
                <c:pt idx="329">
                  <c:v>20530</c:v>
                </c:pt>
                <c:pt idx="330">
                  <c:v>#N/A</c:v>
                </c:pt>
                <c:pt idx="331">
                  <c:v>#N/A</c:v>
                </c:pt>
                <c:pt idx="332">
                  <c:v>20290</c:v>
                </c:pt>
                <c:pt idx="333">
                  <c:v>20660</c:v>
                </c:pt>
                <c:pt idx="334">
                  <c:v>20470</c:v>
                </c:pt>
                <c:pt idx="335">
                  <c:v>20780</c:v>
                </c:pt>
                <c:pt idx="336">
                  <c:v>20830</c:v>
                </c:pt>
                <c:pt idx="337">
                  <c:v>#N/A</c:v>
                </c:pt>
                <c:pt idx="338">
                  <c:v>#N/A</c:v>
                </c:pt>
                <c:pt idx="339">
                  <c:v>21030</c:v>
                </c:pt>
                <c:pt idx="340">
                  <c:v>20920</c:v>
                </c:pt>
                <c:pt idx="341">
                  <c:v>20940</c:v>
                </c:pt>
                <c:pt idx="342">
                  <c:v>20860</c:v>
                </c:pt>
                <c:pt idx="343">
                  <c:v>20760</c:v>
                </c:pt>
                <c:pt idx="344">
                  <c:v>#N/A</c:v>
                </c:pt>
                <c:pt idx="345">
                  <c:v>#N/A</c:v>
                </c:pt>
                <c:pt idx="346">
                  <c:v>20450</c:v>
                </c:pt>
                <c:pt idx="347">
                  <c:v>20410</c:v>
                </c:pt>
                <c:pt idx="348">
                  <c:v>20450</c:v>
                </c:pt>
                <c:pt idx="349">
                  <c:v>20420</c:v>
                </c:pt>
                <c:pt idx="350">
                  <c:v>20330</c:v>
                </c:pt>
                <c:pt idx="351">
                  <c:v>#N/A</c:v>
                </c:pt>
                <c:pt idx="352">
                  <c:v>#N/A</c:v>
                </c:pt>
                <c:pt idx="353">
                  <c:v>20240</c:v>
                </c:pt>
                <c:pt idx="354">
                  <c:v>20200</c:v>
                </c:pt>
                <c:pt idx="355">
                  <c:v>20280</c:v>
                </c:pt>
                <c:pt idx="356">
                  <c:v>20310</c:v>
                </c:pt>
                <c:pt idx="357">
                  <c:v>20290</c:v>
                </c:pt>
                <c:pt idx="358">
                  <c:v>#N/A</c:v>
                </c:pt>
                <c:pt idx="359">
                  <c:v>#N/A</c:v>
                </c:pt>
                <c:pt idx="360">
                  <c:v>20260</c:v>
                </c:pt>
                <c:pt idx="361">
                  <c:v>20560</c:v>
                </c:pt>
                <c:pt idx="362">
                  <c:v>20480</c:v>
                </c:pt>
                <c:pt idx="363">
                  <c:v>20210</c:v>
                </c:pt>
                <c:pt idx="364">
                  <c:v>20180</c:v>
                </c:pt>
                <c:pt idx="365">
                  <c:v>#N/A</c:v>
                </c:pt>
              </c:numCache>
            </c:numRef>
          </c:val>
          <c:smooth val="0"/>
          <c:extLst>
            <c:ext xmlns:c16="http://schemas.microsoft.com/office/drawing/2014/chart" uri="{C3380CC4-5D6E-409C-BE32-E72D297353CC}">
              <c16:uniqueId val="{00000002-D159-40D3-9DB7-102FC90707C4}"/>
            </c:ext>
          </c:extLst>
        </c:ser>
        <c:ser>
          <c:idx val="3"/>
          <c:order val="3"/>
          <c:tx>
            <c:strRef>
              <c:f>铝合金价格图表!$AN$4</c:f>
              <c:strCache>
                <c:ptCount val="1"/>
                <c:pt idx="0">
                  <c:v>2023</c:v>
                </c:pt>
              </c:strCache>
            </c:strRef>
          </c:tx>
          <c:spPr>
            <a:ln w="19050" cap="rnd">
              <a:solidFill>
                <a:srgbClr val="55A5AB">
                  <a:alpha val="60000"/>
                </a:srgbClr>
              </a:solidFill>
              <a:round/>
            </a:ln>
            <a:effectLst/>
          </c:spPr>
          <c:marker>
            <c:symbol val="none"/>
          </c:marker>
          <c:cat>
            <c:strRef>
              <c:f>铝合金价格图表!$AJ$5:$AJ$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铝合金价格图表!$AN$5:$AN$370</c:f>
              <c:numCache>
                <c:formatCode>General</c:formatCode>
                <c:ptCount val="366"/>
                <c:pt idx="0">
                  <c:v>#N/A</c:v>
                </c:pt>
                <c:pt idx="1">
                  <c:v>#N/A</c:v>
                </c:pt>
                <c:pt idx="2">
                  <c:v>19800</c:v>
                </c:pt>
                <c:pt idx="3">
                  <c:v>19400</c:v>
                </c:pt>
                <c:pt idx="4">
                  <c:v>19100</c:v>
                </c:pt>
                <c:pt idx="5">
                  <c:v>19100</c:v>
                </c:pt>
                <c:pt idx="6">
                  <c:v>#N/A</c:v>
                </c:pt>
                <c:pt idx="7">
                  <c:v>#N/A</c:v>
                </c:pt>
                <c:pt idx="8">
                  <c:v>19200</c:v>
                </c:pt>
                <c:pt idx="9">
                  <c:v>19400</c:v>
                </c:pt>
                <c:pt idx="10">
                  <c:v>19500</c:v>
                </c:pt>
                <c:pt idx="11">
                  <c:v>19600</c:v>
                </c:pt>
                <c:pt idx="12">
                  <c:v>19700</c:v>
                </c:pt>
                <c:pt idx="13">
                  <c:v>#N/A</c:v>
                </c:pt>
                <c:pt idx="14">
                  <c:v>#N/A</c:v>
                </c:pt>
                <c:pt idx="15">
                  <c:v>19700</c:v>
                </c:pt>
                <c:pt idx="16">
                  <c:v>19800</c:v>
                </c:pt>
                <c:pt idx="17">
                  <c:v>19900</c:v>
                </c:pt>
                <c:pt idx="18">
                  <c:v>20100</c:v>
                </c:pt>
                <c:pt idx="19">
                  <c:v>20200</c:v>
                </c:pt>
                <c:pt idx="20">
                  <c:v>#N/A</c:v>
                </c:pt>
                <c:pt idx="21">
                  <c:v>#N/A</c:v>
                </c:pt>
                <c:pt idx="22">
                  <c:v>#N/A</c:v>
                </c:pt>
                <c:pt idx="23">
                  <c:v>#N/A</c:v>
                </c:pt>
                <c:pt idx="24">
                  <c:v>#N/A</c:v>
                </c:pt>
                <c:pt idx="25">
                  <c:v>#N/A</c:v>
                </c:pt>
                <c:pt idx="26">
                  <c:v>#N/A</c:v>
                </c:pt>
                <c:pt idx="27">
                  <c:v>#N/A</c:v>
                </c:pt>
                <c:pt idx="28">
                  <c:v>#N/A</c:v>
                </c:pt>
                <c:pt idx="29">
                  <c:v>20200</c:v>
                </c:pt>
                <c:pt idx="30">
                  <c:v>20000</c:v>
                </c:pt>
                <c:pt idx="31">
                  <c:v>20200</c:v>
                </c:pt>
                <c:pt idx="32">
                  <c:v>20200</c:v>
                </c:pt>
                <c:pt idx="33">
                  <c:v>20100</c:v>
                </c:pt>
                <c:pt idx="34">
                  <c:v>#N/A</c:v>
                </c:pt>
                <c:pt idx="35">
                  <c:v>#N/A</c:v>
                </c:pt>
                <c:pt idx="36">
                  <c:v>20000</c:v>
                </c:pt>
                <c:pt idx="37">
                  <c:v>20200</c:v>
                </c:pt>
                <c:pt idx="38">
                  <c:v>20300</c:v>
                </c:pt>
                <c:pt idx="39">
                  <c:v>20200</c:v>
                </c:pt>
                <c:pt idx="40">
                  <c:v>19900</c:v>
                </c:pt>
                <c:pt idx="41">
                  <c:v>#N/A</c:v>
                </c:pt>
                <c:pt idx="42">
                  <c:v>#N/A</c:v>
                </c:pt>
                <c:pt idx="43">
                  <c:v>19800</c:v>
                </c:pt>
                <c:pt idx="44">
                  <c:v>19800</c:v>
                </c:pt>
                <c:pt idx="45">
                  <c:v>19800</c:v>
                </c:pt>
                <c:pt idx="46">
                  <c:v>19800</c:v>
                </c:pt>
                <c:pt idx="47">
                  <c:v>19800</c:v>
                </c:pt>
                <c:pt idx="48">
                  <c:v>#N/A</c:v>
                </c:pt>
                <c:pt idx="49">
                  <c:v>#N/A</c:v>
                </c:pt>
                <c:pt idx="50">
                  <c:v>20000</c:v>
                </c:pt>
                <c:pt idx="51">
                  <c:v>20000</c:v>
                </c:pt>
                <c:pt idx="52">
                  <c:v>19900</c:v>
                </c:pt>
                <c:pt idx="53">
                  <c:v>19900</c:v>
                </c:pt>
                <c:pt idx="54">
                  <c:v>19800</c:v>
                </c:pt>
                <c:pt idx="55">
                  <c:v>#N/A</c:v>
                </c:pt>
                <c:pt idx="56">
                  <c:v>#N/A</c:v>
                </c:pt>
                <c:pt idx="57">
                  <c:v>19600</c:v>
                </c:pt>
                <c:pt idx="58">
                  <c:v>19600</c:v>
                </c:pt>
                <c:pt idx="60">
                  <c:v>19700</c:v>
                </c:pt>
                <c:pt idx="61">
                  <c:v>19800</c:v>
                </c:pt>
                <c:pt idx="62">
                  <c:v>19800</c:v>
                </c:pt>
                <c:pt idx="63">
                  <c:v>#N/A</c:v>
                </c:pt>
                <c:pt idx="64">
                  <c:v>#N/A</c:v>
                </c:pt>
                <c:pt idx="65">
                  <c:v>19800</c:v>
                </c:pt>
                <c:pt idx="66">
                  <c:v>19900</c:v>
                </c:pt>
                <c:pt idx="67">
                  <c:v>19800</c:v>
                </c:pt>
                <c:pt idx="68">
                  <c:v>19800</c:v>
                </c:pt>
                <c:pt idx="69">
                  <c:v>19600</c:v>
                </c:pt>
                <c:pt idx="70">
                  <c:v>#N/A</c:v>
                </c:pt>
                <c:pt idx="71">
                  <c:v>#N/A</c:v>
                </c:pt>
                <c:pt idx="72">
                  <c:v>19600</c:v>
                </c:pt>
                <c:pt idx="73">
                  <c:v>19600</c:v>
                </c:pt>
                <c:pt idx="74">
                  <c:v>19600</c:v>
                </c:pt>
                <c:pt idx="75">
                  <c:v>19400</c:v>
                </c:pt>
                <c:pt idx="76">
                  <c:v>19400</c:v>
                </c:pt>
                <c:pt idx="77">
                  <c:v>#N/A</c:v>
                </c:pt>
                <c:pt idx="78">
                  <c:v>#N/A</c:v>
                </c:pt>
                <c:pt idx="79">
                  <c:v>19400</c:v>
                </c:pt>
                <c:pt idx="80">
                  <c:v>19300</c:v>
                </c:pt>
                <c:pt idx="81">
                  <c:v>19300</c:v>
                </c:pt>
                <c:pt idx="82">
                  <c:v>19300</c:v>
                </c:pt>
                <c:pt idx="83">
                  <c:v>19400</c:v>
                </c:pt>
                <c:pt idx="84">
                  <c:v>#N/A</c:v>
                </c:pt>
                <c:pt idx="85">
                  <c:v>#N/A</c:v>
                </c:pt>
                <c:pt idx="86">
                  <c:v>19400</c:v>
                </c:pt>
                <c:pt idx="87">
                  <c:v>19600</c:v>
                </c:pt>
                <c:pt idx="88">
                  <c:v>19600</c:v>
                </c:pt>
                <c:pt idx="89">
                  <c:v>19600</c:v>
                </c:pt>
                <c:pt idx="90">
                  <c:v>19700</c:v>
                </c:pt>
                <c:pt idx="91">
                  <c:v>#N/A</c:v>
                </c:pt>
                <c:pt idx="92">
                  <c:v>#N/A</c:v>
                </c:pt>
                <c:pt idx="93">
                  <c:v>19700</c:v>
                </c:pt>
                <c:pt idx="94">
                  <c:v>19700</c:v>
                </c:pt>
                <c:pt idx="95">
                  <c:v>#N/A</c:v>
                </c:pt>
                <c:pt idx="96">
                  <c:v>19700</c:v>
                </c:pt>
                <c:pt idx="97">
                  <c:v>19700</c:v>
                </c:pt>
                <c:pt idx="98">
                  <c:v>#N/A</c:v>
                </c:pt>
                <c:pt idx="99">
                  <c:v>#N/A</c:v>
                </c:pt>
                <c:pt idx="100">
                  <c:v>19700</c:v>
                </c:pt>
                <c:pt idx="101">
                  <c:v>19500</c:v>
                </c:pt>
                <c:pt idx="102">
                  <c:v>19500</c:v>
                </c:pt>
                <c:pt idx="103">
                  <c:v>19600</c:v>
                </c:pt>
                <c:pt idx="104">
                  <c:v>19800</c:v>
                </c:pt>
                <c:pt idx="105">
                  <c:v>#N/A</c:v>
                </c:pt>
                <c:pt idx="106">
                  <c:v>#N/A</c:v>
                </c:pt>
                <c:pt idx="107">
                  <c:v>19900</c:v>
                </c:pt>
                <c:pt idx="108">
                  <c:v>20000</c:v>
                </c:pt>
                <c:pt idx="109">
                  <c:v>20200</c:v>
                </c:pt>
                <c:pt idx="110">
                  <c:v>20300</c:v>
                </c:pt>
                <c:pt idx="111">
                  <c:v>20200</c:v>
                </c:pt>
                <c:pt idx="112">
                  <c:v>#N/A</c:v>
                </c:pt>
                <c:pt idx="113">
                  <c:v>#N/A</c:v>
                </c:pt>
                <c:pt idx="114">
                  <c:v>20100</c:v>
                </c:pt>
                <c:pt idx="115">
                  <c:v>20000</c:v>
                </c:pt>
                <c:pt idx="116">
                  <c:v>19900</c:v>
                </c:pt>
                <c:pt idx="117">
                  <c:v>19700</c:v>
                </c:pt>
                <c:pt idx="118">
                  <c:v>19600</c:v>
                </c:pt>
                <c:pt idx="119">
                  <c:v>#N/A</c:v>
                </c:pt>
                <c:pt idx="120">
                  <c:v>#N/A</c:v>
                </c:pt>
                <c:pt idx="121">
                  <c:v>#N/A</c:v>
                </c:pt>
                <c:pt idx="122">
                  <c:v>#N/A</c:v>
                </c:pt>
                <c:pt idx="123">
                  <c:v>#N/A</c:v>
                </c:pt>
                <c:pt idx="124">
                  <c:v>19600</c:v>
                </c:pt>
                <c:pt idx="125">
                  <c:v>19400</c:v>
                </c:pt>
                <c:pt idx="126">
                  <c:v>#N/A</c:v>
                </c:pt>
                <c:pt idx="127">
                  <c:v>#N/A</c:v>
                </c:pt>
                <c:pt idx="128">
                  <c:v>19500</c:v>
                </c:pt>
                <c:pt idx="129">
                  <c:v>19300</c:v>
                </c:pt>
                <c:pt idx="130">
                  <c:v>19300</c:v>
                </c:pt>
                <c:pt idx="131">
                  <c:v>19200</c:v>
                </c:pt>
                <c:pt idx="132">
                  <c:v>18900</c:v>
                </c:pt>
                <c:pt idx="133">
                  <c:v>#N/A</c:v>
                </c:pt>
                <c:pt idx="134">
                  <c:v>#N/A</c:v>
                </c:pt>
                <c:pt idx="135">
                  <c:v>19000</c:v>
                </c:pt>
                <c:pt idx="136">
                  <c:v>19200</c:v>
                </c:pt>
                <c:pt idx="137">
                  <c:v>19300</c:v>
                </c:pt>
                <c:pt idx="138">
                  <c:v>19500</c:v>
                </c:pt>
                <c:pt idx="139">
                  <c:v>19400</c:v>
                </c:pt>
                <c:pt idx="140">
                  <c:v>#N/A</c:v>
                </c:pt>
                <c:pt idx="141">
                  <c:v>#N/A</c:v>
                </c:pt>
                <c:pt idx="142">
                  <c:v>19300</c:v>
                </c:pt>
                <c:pt idx="143">
                  <c:v>19300</c:v>
                </c:pt>
                <c:pt idx="144">
                  <c:v>19100</c:v>
                </c:pt>
                <c:pt idx="145">
                  <c:v>18900</c:v>
                </c:pt>
                <c:pt idx="146">
                  <c:v>19000</c:v>
                </c:pt>
                <c:pt idx="147">
                  <c:v>#N/A</c:v>
                </c:pt>
                <c:pt idx="148">
                  <c:v>#N/A</c:v>
                </c:pt>
                <c:pt idx="149">
                  <c:v>19200</c:v>
                </c:pt>
                <c:pt idx="150">
                  <c:v>19200</c:v>
                </c:pt>
                <c:pt idx="151">
                  <c:v>19200</c:v>
                </c:pt>
                <c:pt idx="152">
                  <c:v>19300</c:v>
                </c:pt>
                <c:pt idx="153">
                  <c:v>19400</c:v>
                </c:pt>
                <c:pt idx="154">
                  <c:v>#N/A</c:v>
                </c:pt>
                <c:pt idx="155">
                  <c:v>#N/A</c:v>
                </c:pt>
                <c:pt idx="156">
                  <c:v>19300</c:v>
                </c:pt>
                <c:pt idx="157">
                  <c:v>19200</c:v>
                </c:pt>
                <c:pt idx="158">
                  <c:v>19300</c:v>
                </c:pt>
                <c:pt idx="159">
                  <c:v>19400</c:v>
                </c:pt>
                <c:pt idx="160">
                  <c:v>19500</c:v>
                </c:pt>
                <c:pt idx="161">
                  <c:v>#N/A</c:v>
                </c:pt>
                <c:pt idx="162">
                  <c:v>#N/A</c:v>
                </c:pt>
                <c:pt idx="163">
                  <c:v>19400</c:v>
                </c:pt>
                <c:pt idx="164">
                  <c:v>19300</c:v>
                </c:pt>
                <c:pt idx="165">
                  <c:v>19400</c:v>
                </c:pt>
                <c:pt idx="166">
                  <c:v>19300</c:v>
                </c:pt>
                <c:pt idx="167">
                  <c:v>19500</c:v>
                </c:pt>
                <c:pt idx="168">
                  <c:v>#N/A</c:v>
                </c:pt>
                <c:pt idx="169">
                  <c:v>#N/A</c:v>
                </c:pt>
                <c:pt idx="170">
                  <c:v>19500</c:v>
                </c:pt>
                <c:pt idx="171">
                  <c:v>19500</c:v>
                </c:pt>
                <c:pt idx="172">
                  <c:v>19500</c:v>
                </c:pt>
                <c:pt idx="173">
                  <c:v>#N/A</c:v>
                </c:pt>
                <c:pt idx="174">
                  <c:v>#N/A</c:v>
                </c:pt>
                <c:pt idx="175">
                  <c:v>#N/A</c:v>
                </c:pt>
                <c:pt idx="176">
                  <c:v>#N/A</c:v>
                </c:pt>
                <c:pt idx="177">
                  <c:v>19200</c:v>
                </c:pt>
                <c:pt idx="178">
                  <c:v>19200</c:v>
                </c:pt>
                <c:pt idx="179">
                  <c:v>19200</c:v>
                </c:pt>
                <c:pt idx="180">
                  <c:v>19200</c:v>
                </c:pt>
                <c:pt idx="181">
                  <c:v>19200</c:v>
                </c:pt>
                <c:pt idx="182">
                  <c:v>#N/A</c:v>
                </c:pt>
                <c:pt idx="183">
                  <c:v>#N/A</c:v>
                </c:pt>
                <c:pt idx="184">
                  <c:v>19300</c:v>
                </c:pt>
                <c:pt idx="185">
                  <c:v>19300</c:v>
                </c:pt>
                <c:pt idx="186">
                  <c:v>19200</c:v>
                </c:pt>
                <c:pt idx="187">
                  <c:v>19200</c:v>
                </c:pt>
                <c:pt idx="188">
                  <c:v>19100</c:v>
                </c:pt>
                <c:pt idx="189">
                  <c:v>#N/A</c:v>
                </c:pt>
                <c:pt idx="190">
                  <c:v>#N/A</c:v>
                </c:pt>
                <c:pt idx="191">
                  <c:v>19200</c:v>
                </c:pt>
                <c:pt idx="192">
                  <c:v>19200</c:v>
                </c:pt>
                <c:pt idx="193">
                  <c:v>19200</c:v>
                </c:pt>
                <c:pt idx="194">
                  <c:v>19400</c:v>
                </c:pt>
                <c:pt idx="195">
                  <c:v>19500</c:v>
                </c:pt>
                <c:pt idx="196">
                  <c:v>#N/A</c:v>
                </c:pt>
                <c:pt idx="197">
                  <c:v>#N/A</c:v>
                </c:pt>
                <c:pt idx="198">
                  <c:v>19300</c:v>
                </c:pt>
                <c:pt idx="199">
                  <c:v>19300</c:v>
                </c:pt>
                <c:pt idx="200">
                  <c:v>19200</c:v>
                </c:pt>
                <c:pt idx="201">
                  <c:v>19200</c:v>
                </c:pt>
                <c:pt idx="202">
                  <c:v>19200</c:v>
                </c:pt>
                <c:pt idx="203">
                  <c:v>#N/A</c:v>
                </c:pt>
                <c:pt idx="204">
                  <c:v>#N/A</c:v>
                </c:pt>
                <c:pt idx="205">
                  <c:v>19200</c:v>
                </c:pt>
                <c:pt idx="206">
                  <c:v>19200</c:v>
                </c:pt>
                <c:pt idx="207">
                  <c:v>19200</c:v>
                </c:pt>
                <c:pt idx="208">
                  <c:v>19300</c:v>
                </c:pt>
                <c:pt idx="209">
                  <c:v>19200</c:v>
                </c:pt>
                <c:pt idx="210">
                  <c:v>#N/A</c:v>
                </c:pt>
                <c:pt idx="211">
                  <c:v>#N/A</c:v>
                </c:pt>
                <c:pt idx="212">
                  <c:v>19200</c:v>
                </c:pt>
                <c:pt idx="213">
                  <c:v>19400</c:v>
                </c:pt>
                <c:pt idx="214">
                  <c:v>19400</c:v>
                </c:pt>
                <c:pt idx="215">
                  <c:v>19300</c:v>
                </c:pt>
                <c:pt idx="216">
                  <c:v>19300</c:v>
                </c:pt>
                <c:pt idx="217">
                  <c:v>#N/A</c:v>
                </c:pt>
                <c:pt idx="218">
                  <c:v>#N/A</c:v>
                </c:pt>
                <c:pt idx="219">
                  <c:v>19300</c:v>
                </c:pt>
                <c:pt idx="220">
                  <c:v>19300</c:v>
                </c:pt>
                <c:pt idx="221">
                  <c:v>19200</c:v>
                </c:pt>
                <c:pt idx="222">
                  <c:v>19200</c:v>
                </c:pt>
                <c:pt idx="223">
                  <c:v>19200</c:v>
                </c:pt>
                <c:pt idx="224">
                  <c:v>#N/A</c:v>
                </c:pt>
                <c:pt idx="225">
                  <c:v>#N/A</c:v>
                </c:pt>
                <c:pt idx="226">
                  <c:v>19100</c:v>
                </c:pt>
                <c:pt idx="227">
                  <c:v>19200</c:v>
                </c:pt>
                <c:pt idx="228">
                  <c:v>19300</c:v>
                </c:pt>
                <c:pt idx="229">
                  <c:v>19300</c:v>
                </c:pt>
                <c:pt idx="230">
                  <c:v>19200</c:v>
                </c:pt>
                <c:pt idx="231">
                  <c:v>#N/A</c:v>
                </c:pt>
                <c:pt idx="232">
                  <c:v>#N/A</c:v>
                </c:pt>
                <c:pt idx="233">
                  <c:v>19200</c:v>
                </c:pt>
                <c:pt idx="234">
                  <c:v>19300</c:v>
                </c:pt>
                <c:pt idx="235">
                  <c:v>19500</c:v>
                </c:pt>
                <c:pt idx="236">
                  <c:v>19500</c:v>
                </c:pt>
                <c:pt idx="237">
                  <c:v>19500</c:v>
                </c:pt>
                <c:pt idx="238">
                  <c:v>#N/A</c:v>
                </c:pt>
                <c:pt idx="239">
                  <c:v>#N/A</c:v>
                </c:pt>
                <c:pt idx="240">
                  <c:v>19600</c:v>
                </c:pt>
                <c:pt idx="241">
                  <c:v>19600</c:v>
                </c:pt>
                <c:pt idx="242">
                  <c:v>19700</c:v>
                </c:pt>
                <c:pt idx="243">
                  <c:v>19800</c:v>
                </c:pt>
                <c:pt idx="244">
                  <c:v>20200</c:v>
                </c:pt>
                <c:pt idx="245">
                  <c:v>#N/A</c:v>
                </c:pt>
                <c:pt idx="246">
                  <c:v>#N/A</c:v>
                </c:pt>
                <c:pt idx="247">
                  <c:v>20100</c:v>
                </c:pt>
                <c:pt idx="248">
                  <c:v>20000</c:v>
                </c:pt>
                <c:pt idx="249">
                  <c:v>20100</c:v>
                </c:pt>
                <c:pt idx="250">
                  <c:v>20100</c:v>
                </c:pt>
                <c:pt idx="251">
                  <c:v>20100</c:v>
                </c:pt>
                <c:pt idx="252">
                  <c:v>#N/A</c:v>
                </c:pt>
                <c:pt idx="253">
                  <c:v>#N/A</c:v>
                </c:pt>
                <c:pt idx="254">
                  <c:v>20100</c:v>
                </c:pt>
                <c:pt idx="255">
                  <c:v>20200</c:v>
                </c:pt>
                <c:pt idx="256">
                  <c:v>20100</c:v>
                </c:pt>
                <c:pt idx="257">
                  <c:v>20100</c:v>
                </c:pt>
                <c:pt idx="258">
                  <c:v>20200</c:v>
                </c:pt>
                <c:pt idx="259">
                  <c:v>#N/A</c:v>
                </c:pt>
                <c:pt idx="260">
                  <c:v>#N/A</c:v>
                </c:pt>
                <c:pt idx="261">
                  <c:v>20100</c:v>
                </c:pt>
                <c:pt idx="262">
                  <c:v>20200</c:v>
                </c:pt>
                <c:pt idx="263">
                  <c:v>20200</c:v>
                </c:pt>
                <c:pt idx="264">
                  <c:v>20300</c:v>
                </c:pt>
                <c:pt idx="265">
                  <c:v>20300</c:v>
                </c:pt>
                <c:pt idx="266">
                  <c:v>#N/A</c:v>
                </c:pt>
                <c:pt idx="267">
                  <c:v>#N/A</c:v>
                </c:pt>
                <c:pt idx="268">
                  <c:v>20300</c:v>
                </c:pt>
                <c:pt idx="269">
                  <c:v>20300</c:v>
                </c:pt>
                <c:pt idx="270">
                  <c:v>20300</c:v>
                </c:pt>
                <c:pt idx="271">
                  <c:v>20500</c:v>
                </c:pt>
                <c:pt idx="272">
                  <c:v>#N/A</c:v>
                </c:pt>
                <c:pt idx="273">
                  <c:v>#N/A</c:v>
                </c:pt>
                <c:pt idx="274">
                  <c:v>#N/A</c:v>
                </c:pt>
                <c:pt idx="275">
                  <c:v>#N/A</c:v>
                </c:pt>
                <c:pt idx="276">
                  <c:v>#N/A</c:v>
                </c:pt>
                <c:pt idx="277">
                  <c:v>#N/A</c:v>
                </c:pt>
                <c:pt idx="278">
                  <c:v>#N/A</c:v>
                </c:pt>
                <c:pt idx="279">
                  <c:v>#N/A</c:v>
                </c:pt>
                <c:pt idx="280">
                  <c:v>#N/A</c:v>
                </c:pt>
                <c:pt idx="281">
                  <c:v>#N/A</c:v>
                </c:pt>
                <c:pt idx="282">
                  <c:v>20300</c:v>
                </c:pt>
                <c:pt idx="283">
                  <c:v>20300</c:v>
                </c:pt>
                <c:pt idx="284">
                  <c:v>20200</c:v>
                </c:pt>
                <c:pt idx="285">
                  <c:v>20100</c:v>
                </c:pt>
                <c:pt idx="286">
                  <c:v>20000</c:v>
                </c:pt>
                <c:pt idx="287">
                  <c:v>#N/A</c:v>
                </c:pt>
                <c:pt idx="288">
                  <c:v>#N/A</c:v>
                </c:pt>
                <c:pt idx="289">
                  <c:v>20000</c:v>
                </c:pt>
                <c:pt idx="290">
                  <c:v>20000</c:v>
                </c:pt>
                <c:pt idx="291">
                  <c:v>20100</c:v>
                </c:pt>
                <c:pt idx="292">
                  <c:v>20100</c:v>
                </c:pt>
                <c:pt idx="293">
                  <c:v>20100</c:v>
                </c:pt>
                <c:pt idx="294">
                  <c:v>#N/A</c:v>
                </c:pt>
                <c:pt idx="295">
                  <c:v>#N/A</c:v>
                </c:pt>
                <c:pt idx="296">
                  <c:v>20000</c:v>
                </c:pt>
                <c:pt idx="297">
                  <c:v>20000</c:v>
                </c:pt>
                <c:pt idx="298">
                  <c:v>20200</c:v>
                </c:pt>
                <c:pt idx="299">
                  <c:v>20200</c:v>
                </c:pt>
                <c:pt idx="300">
                  <c:v>20100</c:v>
                </c:pt>
                <c:pt idx="301">
                  <c:v>#N/A</c:v>
                </c:pt>
                <c:pt idx="302">
                  <c:v>#N/A</c:v>
                </c:pt>
                <c:pt idx="303">
                  <c:v>20300</c:v>
                </c:pt>
                <c:pt idx="304">
                  <c:v>20300</c:v>
                </c:pt>
                <c:pt idx="305">
                  <c:v>20300</c:v>
                </c:pt>
                <c:pt idx="306">
                  <c:v>20300</c:v>
                </c:pt>
                <c:pt idx="307">
                  <c:v>20300</c:v>
                </c:pt>
                <c:pt idx="308">
                  <c:v>#N/A</c:v>
                </c:pt>
                <c:pt idx="309">
                  <c:v>#N/A</c:v>
                </c:pt>
                <c:pt idx="310">
                  <c:v>20300</c:v>
                </c:pt>
                <c:pt idx="311">
                  <c:v>20400</c:v>
                </c:pt>
                <c:pt idx="312">
                  <c:v>20400</c:v>
                </c:pt>
                <c:pt idx="313">
                  <c:v>20400</c:v>
                </c:pt>
                <c:pt idx="314">
                  <c:v>20400</c:v>
                </c:pt>
                <c:pt idx="315">
                  <c:v>#N/A</c:v>
                </c:pt>
                <c:pt idx="316">
                  <c:v>#N/A</c:v>
                </c:pt>
                <c:pt idx="317">
                  <c:v>20100</c:v>
                </c:pt>
                <c:pt idx="318">
                  <c:v>20100</c:v>
                </c:pt>
                <c:pt idx="319">
                  <c:v>20100</c:v>
                </c:pt>
                <c:pt idx="320">
                  <c:v>20000</c:v>
                </c:pt>
                <c:pt idx="321">
                  <c:v>19900</c:v>
                </c:pt>
                <c:pt idx="322">
                  <c:v>#N/A</c:v>
                </c:pt>
                <c:pt idx="323">
                  <c:v>#N/A</c:v>
                </c:pt>
                <c:pt idx="324">
                  <c:v>20000</c:v>
                </c:pt>
                <c:pt idx="325">
                  <c:v>20100</c:v>
                </c:pt>
                <c:pt idx="326">
                  <c:v>20000</c:v>
                </c:pt>
                <c:pt idx="327">
                  <c:v>19900</c:v>
                </c:pt>
                <c:pt idx="328">
                  <c:v>19900</c:v>
                </c:pt>
                <c:pt idx="329">
                  <c:v>#N/A</c:v>
                </c:pt>
                <c:pt idx="330">
                  <c:v>#N/A</c:v>
                </c:pt>
                <c:pt idx="331">
                  <c:v>20000</c:v>
                </c:pt>
                <c:pt idx="332">
                  <c:v>20000</c:v>
                </c:pt>
                <c:pt idx="333">
                  <c:v>20000</c:v>
                </c:pt>
                <c:pt idx="334">
                  <c:v>19900</c:v>
                </c:pt>
                <c:pt idx="335">
                  <c:v>19900</c:v>
                </c:pt>
                <c:pt idx="336">
                  <c:v>#N/A</c:v>
                </c:pt>
                <c:pt idx="337">
                  <c:v>#N/A</c:v>
                </c:pt>
                <c:pt idx="338">
                  <c:v>19900</c:v>
                </c:pt>
                <c:pt idx="339">
                  <c:v>19700</c:v>
                </c:pt>
                <c:pt idx="340">
                  <c:v>19700</c:v>
                </c:pt>
                <c:pt idx="341">
                  <c:v>19700</c:v>
                </c:pt>
                <c:pt idx="342">
                  <c:v>19700</c:v>
                </c:pt>
                <c:pt idx="343">
                  <c:v>#N/A</c:v>
                </c:pt>
                <c:pt idx="344">
                  <c:v>#N/A</c:v>
                </c:pt>
                <c:pt idx="345">
                  <c:v>19500</c:v>
                </c:pt>
                <c:pt idx="346">
                  <c:v>19500</c:v>
                </c:pt>
                <c:pt idx="347">
                  <c:v>19500</c:v>
                </c:pt>
                <c:pt idx="348">
                  <c:v>19700</c:v>
                </c:pt>
                <c:pt idx="349">
                  <c:v>19900</c:v>
                </c:pt>
                <c:pt idx="350">
                  <c:v>#N/A</c:v>
                </c:pt>
                <c:pt idx="351">
                  <c:v>#N/A</c:v>
                </c:pt>
                <c:pt idx="352">
                  <c:v>20000</c:v>
                </c:pt>
                <c:pt idx="353">
                  <c:v>20000</c:v>
                </c:pt>
                <c:pt idx="354">
                  <c:v>20000</c:v>
                </c:pt>
                <c:pt idx="355">
                  <c:v>20000</c:v>
                </c:pt>
                <c:pt idx="356">
                  <c:v>20100</c:v>
                </c:pt>
                <c:pt idx="357">
                  <c:v>#N/A</c:v>
                </c:pt>
                <c:pt idx="358">
                  <c:v>#N/A</c:v>
                </c:pt>
                <c:pt idx="359">
                  <c:v>20100</c:v>
                </c:pt>
                <c:pt idx="360">
                  <c:v>20200</c:v>
                </c:pt>
                <c:pt idx="361">
                  <c:v>20300</c:v>
                </c:pt>
                <c:pt idx="362">
                  <c:v>20600</c:v>
                </c:pt>
                <c:pt idx="363">
                  <c:v>20600</c:v>
                </c:pt>
                <c:pt idx="364">
                  <c:v>#N/A</c:v>
                </c:pt>
                <c:pt idx="365">
                  <c:v>#N/A</c:v>
                </c:pt>
              </c:numCache>
            </c:numRef>
          </c:val>
          <c:smooth val="0"/>
          <c:extLst>
            <c:ext xmlns:c16="http://schemas.microsoft.com/office/drawing/2014/chart" uri="{C3380CC4-5D6E-409C-BE32-E72D297353CC}">
              <c16:uniqueId val="{00000003-D159-40D3-9DB7-102FC90707C4}"/>
            </c:ext>
          </c:extLst>
        </c:ser>
        <c:ser>
          <c:idx val="4"/>
          <c:order val="4"/>
          <c:tx>
            <c:strRef>
              <c:f>铝合金价格图表!$AO$4</c:f>
              <c:strCache>
                <c:ptCount val="1"/>
                <c:pt idx="0">
                  <c:v>2024</c:v>
                </c:pt>
              </c:strCache>
            </c:strRef>
          </c:tx>
          <c:spPr>
            <a:ln w="28575" cap="rnd">
              <a:solidFill>
                <a:schemeClr val="tx1"/>
              </a:solidFill>
              <a:round/>
            </a:ln>
            <a:effectLst/>
          </c:spPr>
          <c:marker>
            <c:symbol val="none"/>
          </c:marker>
          <c:cat>
            <c:strRef>
              <c:f>铝合金价格图表!$AJ$5:$AJ$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铝合金价格图表!$AO$5:$AO$370</c:f>
              <c:numCache>
                <c:formatCode>General</c:formatCode>
                <c:ptCount val="366"/>
                <c:pt idx="0">
                  <c:v>#N/A</c:v>
                </c:pt>
                <c:pt idx="1">
                  <c:v>20600</c:v>
                </c:pt>
                <c:pt idx="2">
                  <c:v>20600</c:v>
                </c:pt>
                <c:pt idx="3">
                  <c:v>20500</c:v>
                </c:pt>
                <c:pt idx="4">
                  <c:v>20400</c:v>
                </c:pt>
                <c:pt idx="5">
                  <c:v>#N/A</c:v>
                </c:pt>
                <c:pt idx="6">
                  <c:v>#N/A</c:v>
                </c:pt>
                <c:pt idx="7">
                  <c:v>20300</c:v>
                </c:pt>
                <c:pt idx="8">
                  <c:v>20200</c:v>
                </c:pt>
                <c:pt idx="9">
                  <c:v>20300</c:v>
                </c:pt>
                <c:pt idx="10">
                  <c:v>20200</c:v>
                </c:pt>
                <c:pt idx="11">
                  <c:v>20200</c:v>
                </c:pt>
                <c:pt idx="12">
                  <c:v>#N/A</c:v>
                </c:pt>
                <c:pt idx="13">
                  <c:v>#N/A</c:v>
                </c:pt>
                <c:pt idx="14">
                  <c:v>20100</c:v>
                </c:pt>
                <c:pt idx="15">
                  <c:v>20000</c:v>
                </c:pt>
                <c:pt idx="16">
                  <c:v>20000</c:v>
                </c:pt>
                <c:pt idx="17">
                  <c:v>19900</c:v>
                </c:pt>
                <c:pt idx="18">
                  <c:v>19800</c:v>
                </c:pt>
                <c:pt idx="19">
                  <c:v>#N/A</c:v>
                </c:pt>
                <c:pt idx="20">
                  <c:v>#N/A</c:v>
                </c:pt>
                <c:pt idx="21">
                  <c:v>19800</c:v>
                </c:pt>
                <c:pt idx="22">
                  <c:v>19700</c:v>
                </c:pt>
                <c:pt idx="23">
                  <c:v>19900</c:v>
                </c:pt>
                <c:pt idx="24">
                  <c:v>19900</c:v>
                </c:pt>
                <c:pt idx="25">
                  <c:v>20100</c:v>
                </c:pt>
                <c:pt idx="26">
                  <c:v>#N/A</c:v>
                </c:pt>
                <c:pt idx="27">
                  <c:v>#N/A</c:v>
                </c:pt>
                <c:pt idx="28">
                  <c:v>20100</c:v>
                </c:pt>
                <c:pt idx="29">
                  <c:v>20000</c:v>
                </c:pt>
                <c:pt idx="30">
                  <c:v>20000</c:v>
                </c:pt>
                <c:pt idx="31">
                  <c:v>20000</c:v>
                </c:pt>
                <c:pt idx="32">
                  <c:v>20000</c:v>
                </c:pt>
                <c:pt idx="33">
                  <c:v>#N/A</c:v>
                </c:pt>
                <c:pt idx="34">
                  <c:v>#N/A</c:v>
                </c:pt>
                <c:pt idx="35">
                  <c:v>19900</c:v>
                </c:pt>
                <c:pt idx="36">
                  <c:v>19900</c:v>
                </c:pt>
                <c:pt idx="37">
                  <c:v>20100</c:v>
                </c:pt>
                <c:pt idx="38">
                  <c:v>20100</c:v>
                </c:pt>
                <c:pt idx="39">
                  <c:v>#N/A</c:v>
                </c:pt>
                <c:pt idx="40">
                  <c:v>#N/A</c:v>
                </c:pt>
                <c:pt idx="41">
                  <c:v>#N/A</c:v>
                </c:pt>
                <c:pt idx="42">
                  <c:v>#N/A</c:v>
                </c:pt>
                <c:pt idx="43">
                  <c:v>#N/A</c:v>
                </c:pt>
                <c:pt idx="44">
                  <c:v>#N/A</c:v>
                </c:pt>
                <c:pt idx="45">
                  <c:v>#N/A</c:v>
                </c:pt>
                <c:pt idx="46">
                  <c:v>#N/A</c:v>
                </c:pt>
                <c:pt idx="47">
                  <c:v>#N/A</c:v>
                </c:pt>
                <c:pt idx="48">
                  <c:v>#N/A</c:v>
                </c:pt>
                <c:pt idx="49">
                  <c:v>20100</c:v>
                </c:pt>
                <c:pt idx="50">
                  <c:v>19900</c:v>
                </c:pt>
                <c:pt idx="51">
                  <c:v>20100</c:v>
                </c:pt>
                <c:pt idx="52">
                  <c:v>20000</c:v>
                </c:pt>
                <c:pt idx="53">
                  <c:v>20000</c:v>
                </c:pt>
                <c:pt idx="54">
                  <c:v>#N/A</c:v>
                </c:pt>
                <c:pt idx="55">
                  <c:v>#N/A</c:v>
                </c:pt>
                <c:pt idx="56">
                  <c:v>19800</c:v>
                </c:pt>
                <c:pt idx="57">
                  <c:v>19900</c:v>
                </c:pt>
                <c:pt idx="58">
                  <c:v>19900</c:v>
                </c:pt>
                <c:pt idx="59">
                  <c:v>19900</c:v>
                </c:pt>
                <c:pt idx="60">
                  <c:v>20000</c:v>
                </c:pt>
                <c:pt idx="61">
                  <c:v>#N/A</c:v>
                </c:pt>
                <c:pt idx="62">
                  <c:v>#N/A</c:v>
                </c:pt>
                <c:pt idx="63">
                  <c:v>20000</c:v>
                </c:pt>
                <c:pt idx="64">
                  <c:v>20100</c:v>
                </c:pt>
                <c:pt idx="65">
                  <c:v>20000</c:v>
                </c:pt>
                <c:pt idx="66">
                  <c:v>20100</c:v>
                </c:pt>
                <c:pt idx="67">
                  <c:v>20200</c:v>
                </c:pt>
                <c:pt idx="68">
                  <c:v>#N/A</c:v>
                </c:pt>
                <c:pt idx="69">
                  <c:v>#N/A</c:v>
                </c:pt>
                <c:pt idx="70">
                  <c:v>20100</c:v>
                </c:pt>
                <c:pt idx="71">
                  <c:v>20100</c:v>
                </c:pt>
                <c:pt idx="72">
                  <c:v>20100</c:v>
                </c:pt>
                <c:pt idx="73">
                  <c:v>20200</c:v>
                </c:pt>
                <c:pt idx="74">
                  <c:v>20200</c:v>
                </c:pt>
                <c:pt idx="75">
                  <c:v>#N/A</c:v>
                </c:pt>
                <c:pt idx="76">
                  <c:v>#N/A</c:v>
                </c:pt>
                <c:pt idx="77">
                  <c:v>20300</c:v>
                </c:pt>
                <c:pt idx="78">
                  <c:v>20300</c:v>
                </c:pt>
                <c:pt idx="79">
                  <c:v>20300</c:v>
                </c:pt>
                <c:pt idx="80">
                  <c:v>20400</c:v>
                </c:pt>
                <c:pt idx="81">
                  <c:v>20400</c:v>
                </c:pt>
                <c:pt idx="82">
                  <c:v>#N/A</c:v>
                </c:pt>
                <c:pt idx="83">
                  <c:v>#N/A</c:v>
                </c:pt>
                <c:pt idx="84">
                  <c:v>20400</c:v>
                </c:pt>
                <c:pt idx="85">
                  <c:v>20500</c:v>
                </c:pt>
                <c:pt idx="86">
                  <c:v>20300</c:v>
                </c:pt>
                <c:pt idx="87">
                  <c:v>20300</c:v>
                </c:pt>
                <c:pt idx="88">
                  <c:v>20400</c:v>
                </c:pt>
                <c:pt idx="89">
                  <c:v>#N/A</c:v>
                </c:pt>
                <c:pt idx="90">
                  <c:v>#N/A</c:v>
                </c:pt>
                <c:pt idx="91">
                  <c:v>20400</c:v>
                </c:pt>
                <c:pt idx="92">
                  <c:v>20400</c:v>
                </c:pt>
                <c:pt idx="93">
                  <c:v>20600</c:v>
                </c:pt>
                <c:pt idx="94">
                  <c:v>#N/A</c:v>
                </c:pt>
                <c:pt idx="95">
                  <c:v>#N/A</c:v>
                </c:pt>
                <c:pt idx="96">
                  <c:v>#N/A</c:v>
                </c:pt>
                <c:pt idx="97">
                  <c:v>#N/A</c:v>
                </c:pt>
                <c:pt idx="98">
                  <c:v>20900</c:v>
                </c:pt>
                <c:pt idx="99">
                  <c:v>20900</c:v>
                </c:pt>
                <c:pt idx="100">
                  <c:v>21000</c:v>
                </c:pt>
                <c:pt idx="101">
                  <c:v>21100</c:v>
                </c:pt>
                <c:pt idx="102">
                  <c:v>21300</c:v>
                </c:pt>
                <c:pt idx="103">
                  <c:v>#N/A</c:v>
                </c:pt>
                <c:pt idx="104">
                  <c:v>#N/A</c:v>
                </c:pt>
                <c:pt idx="105">
                  <c:v>21500</c:v>
                </c:pt>
                <c:pt idx="106">
                  <c:v>21100</c:v>
                </c:pt>
                <c:pt idx="107">
                  <c:v>21000</c:v>
                </c:pt>
                <c:pt idx="108">
                  <c:v>21000</c:v>
                </c:pt>
                <c:pt idx="109">
                  <c:v>21100</c:v>
                </c:pt>
                <c:pt idx="110">
                  <c:v>#N/A</c:v>
                </c:pt>
                <c:pt idx="111">
                  <c:v>#N/A</c:v>
                </c:pt>
                <c:pt idx="112">
                  <c:v>21400</c:v>
                </c:pt>
                <c:pt idx="113">
                  <c:v>21200</c:v>
                </c:pt>
                <c:pt idx="114">
                  <c:v>21100</c:v>
                </c:pt>
                <c:pt idx="115">
                  <c:v>21200</c:v>
                </c:pt>
                <c:pt idx="116">
                  <c:v>21300</c:v>
                </c:pt>
                <c:pt idx="117">
                  <c:v>#N/A</c:v>
                </c:pt>
                <c:pt idx="118">
                  <c:v>#N/A</c:v>
                </c:pt>
                <c:pt idx="119">
                  <c:v>21500</c:v>
                </c:pt>
                <c:pt idx="120">
                  <c:v>21500</c:v>
                </c:pt>
                <c:pt idx="121">
                  <c:v>#N/A</c:v>
                </c:pt>
                <c:pt idx="122">
                  <c:v>#N/A</c:v>
                </c:pt>
                <c:pt idx="123">
                  <c:v>#N/A</c:v>
                </c:pt>
                <c:pt idx="124">
                  <c:v>#N/A</c:v>
                </c:pt>
                <c:pt idx="125">
                  <c:v>#N/A</c:v>
                </c:pt>
                <c:pt idx="126">
                  <c:v>21500</c:v>
                </c:pt>
                <c:pt idx="127">
                  <c:v>21500</c:v>
                </c:pt>
                <c:pt idx="128">
                  <c:v>21300</c:v>
                </c:pt>
                <c:pt idx="129">
                  <c:v>21500</c:v>
                </c:pt>
                <c:pt idx="130">
                  <c:v>21500</c:v>
                </c:pt>
                <c:pt idx="131">
                  <c:v>#N/A</c:v>
                </c:pt>
                <c:pt idx="132">
                  <c:v>#N/A</c:v>
                </c:pt>
                <c:pt idx="133">
                  <c:v>21400</c:v>
                </c:pt>
                <c:pt idx="134">
                  <c:v>21400</c:v>
                </c:pt>
                <c:pt idx="135">
                  <c:v>21400</c:v>
                </c:pt>
                <c:pt idx="136">
                  <c:v>21600</c:v>
                </c:pt>
                <c:pt idx="137">
                  <c:v>21600</c:v>
                </c:pt>
                <c:pt idx="138">
                  <c:v>#N/A</c:v>
                </c:pt>
                <c:pt idx="139">
                  <c:v>#N/A</c:v>
                </c:pt>
                <c:pt idx="140">
                  <c:v>21800</c:v>
                </c:pt>
                <c:pt idx="141">
                  <c:v>21700</c:v>
                </c:pt>
                <c:pt idx="142">
                  <c:v>22000</c:v>
                </c:pt>
                <c:pt idx="143">
                  <c:v>21700</c:v>
                </c:pt>
                <c:pt idx="144">
                  <c:v>21700</c:v>
                </c:pt>
                <c:pt idx="145">
                  <c:v>#N/A</c:v>
                </c:pt>
                <c:pt idx="146">
                  <c:v>#N/A</c:v>
                </c:pt>
                <c:pt idx="147">
                  <c:v>21800</c:v>
                </c:pt>
                <c:pt idx="148">
                  <c:v>21900</c:v>
                </c:pt>
                <c:pt idx="149">
                  <c:v>21900</c:v>
                </c:pt>
                <c:pt idx="150">
                  <c:v>22500</c:v>
                </c:pt>
                <c:pt idx="151">
                  <c:v>22100</c:v>
                </c:pt>
                <c:pt idx="152">
                  <c:v>#N/A</c:v>
                </c:pt>
                <c:pt idx="153">
                  <c:v>#N/A</c:v>
                </c:pt>
                <c:pt idx="154">
                  <c:v>22000</c:v>
                </c:pt>
                <c:pt idx="155">
                  <c:v>22100</c:v>
                </c:pt>
                <c:pt idx="156">
                  <c:v>22000</c:v>
                </c:pt>
                <c:pt idx="157">
                  <c:v>22100</c:v>
                </c:pt>
                <c:pt idx="158">
                  <c:v>22100</c:v>
                </c:pt>
                <c:pt idx="159">
                  <c:v>#N/A</c:v>
                </c:pt>
                <c:pt idx="160">
                  <c:v>#N/A</c:v>
                </c:pt>
                <c:pt idx="161">
                  <c:v>#N/A</c:v>
                </c:pt>
                <c:pt idx="162">
                  <c:v>21800</c:v>
                </c:pt>
                <c:pt idx="163">
                  <c:v>21800</c:v>
                </c:pt>
                <c:pt idx="164">
                  <c:v>21700</c:v>
                </c:pt>
                <c:pt idx="165">
                  <c:v>21700</c:v>
                </c:pt>
                <c:pt idx="166">
                  <c:v>#N/A</c:v>
                </c:pt>
                <c:pt idx="167">
                  <c:v>#N/A</c:v>
                </c:pt>
                <c:pt idx="168">
                  <c:v>21500</c:v>
                </c:pt>
                <c:pt idx="169">
                  <c:v>21500</c:v>
                </c:pt>
                <c:pt idx="170">
                  <c:v>21600</c:v>
                </c:pt>
                <c:pt idx="171">
                  <c:v>21600</c:v>
                </c:pt>
                <c:pt idx="172">
                  <c:v>21600</c:v>
                </c:pt>
                <c:pt idx="173">
                  <c:v>#N/A</c:v>
                </c:pt>
                <c:pt idx="174">
                  <c:v>#N/A</c:v>
                </c:pt>
                <c:pt idx="175">
                  <c:v>21500</c:v>
                </c:pt>
                <c:pt idx="176">
                  <c:v>21500</c:v>
                </c:pt>
                <c:pt idx="177">
                  <c:v>21400</c:v>
                </c:pt>
                <c:pt idx="178">
                  <c:v>21500</c:v>
                </c:pt>
                <c:pt idx="179">
                  <c:v>21500</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4-D159-40D3-9DB7-102FC90707C4}"/>
            </c:ext>
          </c:extLst>
        </c:ser>
        <c:dLbls>
          <c:showLegendKey val="0"/>
          <c:showVal val="0"/>
          <c:showCatName val="0"/>
          <c:showSerName val="0"/>
          <c:showPercent val="0"/>
          <c:showBubbleSize val="0"/>
        </c:dLbls>
        <c:smooth val="0"/>
        <c:axId val="1396062960"/>
        <c:axId val="1155662912"/>
      </c:lineChart>
      <c:catAx>
        <c:axId val="1396062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ea"/>
                <a:sym typeface="+mn-lt"/>
              </a:defRPr>
            </a:pPr>
            <a:endParaRPr lang="zh-CN"/>
          </a:p>
        </c:txPr>
        <c:crossAx val="1155662912"/>
        <c:crosses val="autoZero"/>
        <c:auto val="1"/>
        <c:lblAlgn val="ctr"/>
        <c:lblOffset val="100"/>
        <c:noMultiLvlLbl val="0"/>
      </c:catAx>
      <c:valAx>
        <c:axId val="1155662912"/>
        <c:scaling>
          <c:orientation val="minMax"/>
          <c:max val="28000"/>
          <c:min val="10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ea"/>
                <a:sym typeface="+mn-lt"/>
              </a:defRPr>
            </a:pPr>
            <a:endParaRPr lang="zh-CN"/>
          </a:p>
        </c:txPr>
        <c:crossAx val="13960629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ysClr val="windowText" lastClr="000000"/>
          </a:solidFill>
          <a:latin typeface="+mn-lt"/>
          <a:ea typeface="+mn-ea"/>
          <a:cs typeface="+mn-ea"/>
          <a:sym typeface="+mn-lt"/>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现货价差!$AJ$3</c:f>
          <c:strCache>
            <c:ptCount val="1"/>
            <c:pt idx="0">
              <c:v>华东421-553价差</c:v>
            </c:pt>
          </c:strCache>
        </c:strRef>
      </c:tx>
      <c:overlay val="0"/>
      <c:spPr>
        <a:noFill/>
        <a:ln>
          <a:noFill/>
        </a:ln>
        <a:effectLst/>
      </c:spPr>
      <c:txPr>
        <a:bodyPr rot="0" vert="horz"/>
        <a:lstStyle/>
        <a:p>
          <a:pPr>
            <a:defRPr b="0"/>
          </a:pPr>
          <a:endParaRPr lang="zh-CN"/>
        </a:p>
      </c:txPr>
    </c:title>
    <c:autoTitleDeleted val="0"/>
    <c:plotArea>
      <c:layout/>
      <c:lineChart>
        <c:grouping val="standard"/>
        <c:varyColors val="0"/>
        <c:ser>
          <c:idx val="5"/>
          <c:order val="0"/>
          <c:tx>
            <c:strRef>
              <c:f>现货价差!$AO$4</c:f>
              <c:strCache>
                <c:ptCount val="1"/>
                <c:pt idx="0">
                  <c:v>2020</c:v>
                </c:pt>
              </c:strCache>
            </c:strRef>
          </c:tx>
          <c:spPr>
            <a:ln w="19050">
              <a:solidFill>
                <a:srgbClr val="7030A0">
                  <a:alpha val="60000"/>
                </a:srgbClr>
              </a:solidFill>
            </a:ln>
          </c:spPr>
          <c:marker>
            <c:symbol val="none"/>
          </c:marker>
          <c:cat>
            <c:strRef>
              <c:f>现货价差!$AL$5:$AL$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O$5:$AO$370</c:f>
              <c:numCache>
                <c:formatCode>General</c:formatCode>
                <c:ptCount val="366"/>
                <c:pt idx="0">
                  <c:v>#N/A</c:v>
                </c:pt>
                <c:pt idx="1">
                  <c:v>925</c:v>
                </c:pt>
                <c:pt idx="2">
                  <c:v>925</c:v>
                </c:pt>
                <c:pt idx="3">
                  <c:v>#N/A</c:v>
                </c:pt>
                <c:pt idx="4">
                  <c:v>#N/A</c:v>
                </c:pt>
                <c:pt idx="5">
                  <c:v>850</c:v>
                </c:pt>
                <c:pt idx="6">
                  <c:v>850</c:v>
                </c:pt>
                <c:pt idx="7">
                  <c:v>850</c:v>
                </c:pt>
                <c:pt idx="8">
                  <c:v>850</c:v>
                </c:pt>
                <c:pt idx="9">
                  <c:v>800</c:v>
                </c:pt>
                <c:pt idx="10">
                  <c:v>#N/A</c:v>
                </c:pt>
                <c:pt idx="11">
                  <c:v>#N/A</c:v>
                </c:pt>
                <c:pt idx="12">
                  <c:v>800</c:v>
                </c:pt>
                <c:pt idx="13">
                  <c:v>800</c:v>
                </c:pt>
                <c:pt idx="14">
                  <c:v>800</c:v>
                </c:pt>
                <c:pt idx="15">
                  <c:v>800</c:v>
                </c:pt>
                <c:pt idx="16">
                  <c:v>800</c:v>
                </c:pt>
                <c:pt idx="17">
                  <c:v>#N/A</c:v>
                </c:pt>
                <c:pt idx="18">
                  <c:v>#N/A</c:v>
                </c:pt>
                <c:pt idx="19">
                  <c:v>800</c:v>
                </c:pt>
                <c:pt idx="20">
                  <c:v>800</c:v>
                </c:pt>
                <c:pt idx="21">
                  <c:v>800</c:v>
                </c:pt>
                <c:pt idx="22">
                  <c:v>800</c:v>
                </c:pt>
                <c:pt idx="23">
                  <c:v>#N/A</c:v>
                </c:pt>
                <c:pt idx="24">
                  <c:v>#N/A</c:v>
                </c:pt>
                <c:pt idx="25">
                  <c:v>#N/A</c:v>
                </c:pt>
                <c:pt idx="26">
                  <c:v>#N/A</c:v>
                </c:pt>
                <c:pt idx="27">
                  <c:v>#N/A</c:v>
                </c:pt>
                <c:pt idx="28">
                  <c:v>#N/A</c:v>
                </c:pt>
                <c:pt idx="29">
                  <c:v>#N/A</c:v>
                </c:pt>
                <c:pt idx="30">
                  <c:v>#N/A</c:v>
                </c:pt>
                <c:pt idx="31">
                  <c:v>#N/A</c:v>
                </c:pt>
                <c:pt idx="32">
                  <c:v>#N/A</c:v>
                </c:pt>
                <c:pt idx="33">
                  <c:v>800</c:v>
                </c:pt>
                <c:pt idx="34">
                  <c:v>800</c:v>
                </c:pt>
                <c:pt idx="35">
                  <c:v>800</c:v>
                </c:pt>
                <c:pt idx="36">
                  <c:v>750</c:v>
                </c:pt>
                <c:pt idx="37">
                  <c:v>750</c:v>
                </c:pt>
                <c:pt idx="38">
                  <c:v>#N/A</c:v>
                </c:pt>
                <c:pt idx="39">
                  <c:v>#N/A</c:v>
                </c:pt>
                <c:pt idx="40">
                  <c:v>700</c:v>
                </c:pt>
                <c:pt idx="41">
                  <c:v>700</c:v>
                </c:pt>
                <c:pt idx="42">
                  <c:v>750</c:v>
                </c:pt>
                <c:pt idx="43">
                  <c:v>750</c:v>
                </c:pt>
                <c:pt idx="44">
                  <c:v>750</c:v>
                </c:pt>
                <c:pt idx="45">
                  <c:v>#N/A</c:v>
                </c:pt>
                <c:pt idx="46">
                  <c:v>#N/A</c:v>
                </c:pt>
                <c:pt idx="47">
                  <c:v>700</c:v>
                </c:pt>
                <c:pt idx="48">
                  <c:v>700</c:v>
                </c:pt>
                <c:pt idx="49">
                  <c:v>700</c:v>
                </c:pt>
                <c:pt idx="50">
                  <c:v>650</c:v>
                </c:pt>
                <c:pt idx="51">
                  <c:v>700</c:v>
                </c:pt>
                <c:pt idx="52">
                  <c:v>#N/A</c:v>
                </c:pt>
                <c:pt idx="53">
                  <c:v>#N/A</c:v>
                </c:pt>
                <c:pt idx="54">
                  <c:v>800</c:v>
                </c:pt>
                <c:pt idx="55">
                  <c:v>750</c:v>
                </c:pt>
                <c:pt idx="56">
                  <c:v>750</c:v>
                </c:pt>
                <c:pt idx="57">
                  <c:v>750</c:v>
                </c:pt>
                <c:pt idx="58">
                  <c:v>750</c:v>
                </c:pt>
                <c:pt idx="59">
                  <c:v>#N/A</c:v>
                </c:pt>
                <c:pt idx="60">
                  <c:v>#N/A</c:v>
                </c:pt>
                <c:pt idx="61">
                  <c:v>750</c:v>
                </c:pt>
                <c:pt idx="62">
                  <c:v>800</c:v>
                </c:pt>
                <c:pt idx="63">
                  <c:v>900</c:v>
                </c:pt>
                <c:pt idx="64">
                  <c:v>900</c:v>
                </c:pt>
                <c:pt idx="65">
                  <c:v>900</c:v>
                </c:pt>
                <c:pt idx="66">
                  <c:v>#N/A</c:v>
                </c:pt>
                <c:pt idx="67">
                  <c:v>#N/A</c:v>
                </c:pt>
                <c:pt idx="68">
                  <c:v>950</c:v>
                </c:pt>
                <c:pt idx="69">
                  <c:v>950</c:v>
                </c:pt>
                <c:pt idx="70">
                  <c:v>950</c:v>
                </c:pt>
                <c:pt idx="71">
                  <c:v>950</c:v>
                </c:pt>
                <c:pt idx="72">
                  <c:v>1000</c:v>
                </c:pt>
                <c:pt idx="73">
                  <c:v>#N/A</c:v>
                </c:pt>
                <c:pt idx="74">
                  <c:v>#N/A</c:v>
                </c:pt>
                <c:pt idx="75">
                  <c:v>1000</c:v>
                </c:pt>
                <c:pt idx="76">
                  <c:v>1050</c:v>
                </c:pt>
                <c:pt idx="77">
                  <c:v>1250</c:v>
                </c:pt>
                <c:pt idx="78">
                  <c:v>1250</c:v>
                </c:pt>
                <c:pt idx="79">
                  <c:v>1250</c:v>
                </c:pt>
                <c:pt idx="80">
                  <c:v>#N/A</c:v>
                </c:pt>
                <c:pt idx="81">
                  <c:v>#N/A</c:v>
                </c:pt>
                <c:pt idx="82">
                  <c:v>1250</c:v>
                </c:pt>
                <c:pt idx="83">
                  <c:v>1250</c:v>
                </c:pt>
                <c:pt idx="84">
                  <c:v>1350</c:v>
                </c:pt>
                <c:pt idx="85">
                  <c:v>1400</c:v>
                </c:pt>
                <c:pt idx="86">
                  <c:v>1450</c:v>
                </c:pt>
                <c:pt idx="87">
                  <c:v>#N/A</c:v>
                </c:pt>
                <c:pt idx="88">
                  <c:v>#N/A</c:v>
                </c:pt>
                <c:pt idx="89">
                  <c:v>1450</c:v>
                </c:pt>
                <c:pt idx="90">
                  <c:v>1350</c:v>
                </c:pt>
                <c:pt idx="91">
                  <c:v>1300</c:v>
                </c:pt>
                <c:pt idx="92">
                  <c:v>1300</c:v>
                </c:pt>
                <c:pt idx="93">
                  <c:v>1200</c:v>
                </c:pt>
                <c:pt idx="94">
                  <c:v>#N/A</c:v>
                </c:pt>
                <c:pt idx="95">
                  <c:v>#N/A</c:v>
                </c:pt>
                <c:pt idx="96">
                  <c:v>#N/A</c:v>
                </c:pt>
                <c:pt idx="97">
                  <c:v>1200</c:v>
                </c:pt>
                <c:pt idx="98">
                  <c:v>1350</c:v>
                </c:pt>
                <c:pt idx="99">
                  <c:v>1350</c:v>
                </c:pt>
                <c:pt idx="100">
                  <c:v>1250</c:v>
                </c:pt>
                <c:pt idx="101">
                  <c:v>#N/A</c:v>
                </c:pt>
                <c:pt idx="102">
                  <c:v>#N/A</c:v>
                </c:pt>
                <c:pt idx="103">
                  <c:v>1250</c:v>
                </c:pt>
                <c:pt idx="104">
                  <c:v>1250</c:v>
                </c:pt>
                <c:pt idx="105">
                  <c:v>1250</c:v>
                </c:pt>
                <c:pt idx="106">
                  <c:v>1250</c:v>
                </c:pt>
                <c:pt idx="107">
                  <c:v>1300</c:v>
                </c:pt>
                <c:pt idx="108">
                  <c:v>#N/A</c:v>
                </c:pt>
                <c:pt idx="109">
                  <c:v>#N/A</c:v>
                </c:pt>
                <c:pt idx="110">
                  <c:v>1300</c:v>
                </c:pt>
                <c:pt idx="111">
                  <c:v>1300</c:v>
                </c:pt>
                <c:pt idx="112">
                  <c:v>1300</c:v>
                </c:pt>
                <c:pt idx="113">
                  <c:v>1300</c:v>
                </c:pt>
                <c:pt idx="114">
                  <c:v>1300</c:v>
                </c:pt>
                <c:pt idx="115">
                  <c:v>#N/A</c:v>
                </c:pt>
                <c:pt idx="116">
                  <c:v>#N/A</c:v>
                </c:pt>
                <c:pt idx="117">
                  <c:v>1250</c:v>
                </c:pt>
                <c:pt idx="118">
                  <c:v>1200</c:v>
                </c:pt>
                <c:pt idx="119">
                  <c:v>1200</c:v>
                </c:pt>
                <c:pt idx="120">
                  <c:v>1200</c:v>
                </c:pt>
                <c:pt idx="121">
                  <c:v>#N/A</c:v>
                </c:pt>
                <c:pt idx="122">
                  <c:v>#N/A</c:v>
                </c:pt>
                <c:pt idx="123">
                  <c:v>#N/A</c:v>
                </c:pt>
                <c:pt idx="124">
                  <c:v>#N/A</c:v>
                </c:pt>
                <c:pt idx="125">
                  <c:v>#N/A</c:v>
                </c:pt>
                <c:pt idx="126">
                  <c:v>1200</c:v>
                </c:pt>
                <c:pt idx="127">
                  <c:v>1050</c:v>
                </c:pt>
                <c:pt idx="128">
                  <c:v>850</c:v>
                </c:pt>
                <c:pt idx="129">
                  <c:v>#N/A</c:v>
                </c:pt>
                <c:pt idx="130">
                  <c:v>#N/A</c:v>
                </c:pt>
                <c:pt idx="131">
                  <c:v>700</c:v>
                </c:pt>
                <c:pt idx="132">
                  <c:v>600</c:v>
                </c:pt>
                <c:pt idx="133">
                  <c:v>600</c:v>
                </c:pt>
                <c:pt idx="134">
                  <c:v>550</c:v>
                </c:pt>
                <c:pt idx="135">
                  <c:v>550</c:v>
                </c:pt>
                <c:pt idx="136">
                  <c:v>#N/A</c:v>
                </c:pt>
                <c:pt idx="137">
                  <c:v>#N/A</c:v>
                </c:pt>
                <c:pt idx="138">
                  <c:v>550</c:v>
                </c:pt>
                <c:pt idx="139">
                  <c:v>550</c:v>
                </c:pt>
                <c:pt idx="140">
                  <c:v>550</c:v>
                </c:pt>
                <c:pt idx="141">
                  <c:v>550</c:v>
                </c:pt>
                <c:pt idx="142">
                  <c:v>550</c:v>
                </c:pt>
                <c:pt idx="143">
                  <c:v>#N/A</c:v>
                </c:pt>
                <c:pt idx="144">
                  <c:v>#N/A</c:v>
                </c:pt>
                <c:pt idx="145">
                  <c:v>550</c:v>
                </c:pt>
                <c:pt idx="146">
                  <c:v>550</c:v>
                </c:pt>
                <c:pt idx="147">
                  <c:v>600</c:v>
                </c:pt>
                <c:pt idx="148">
                  <c:v>600</c:v>
                </c:pt>
                <c:pt idx="149">
                  <c:v>600</c:v>
                </c:pt>
                <c:pt idx="150">
                  <c:v>#N/A</c:v>
                </c:pt>
                <c:pt idx="151">
                  <c:v>#N/A</c:v>
                </c:pt>
                <c:pt idx="152">
                  <c:v>550</c:v>
                </c:pt>
                <c:pt idx="153">
                  <c:v>550</c:v>
                </c:pt>
                <c:pt idx="154">
                  <c:v>550</c:v>
                </c:pt>
                <c:pt idx="155">
                  <c:v>550</c:v>
                </c:pt>
                <c:pt idx="156">
                  <c:v>550</c:v>
                </c:pt>
                <c:pt idx="157">
                  <c:v>#N/A</c:v>
                </c:pt>
                <c:pt idx="158">
                  <c:v>#N/A</c:v>
                </c:pt>
                <c:pt idx="159">
                  <c:v>650</c:v>
                </c:pt>
                <c:pt idx="160">
                  <c:v>650</c:v>
                </c:pt>
                <c:pt idx="161">
                  <c:v>650</c:v>
                </c:pt>
                <c:pt idx="162">
                  <c:v>700</c:v>
                </c:pt>
                <c:pt idx="163">
                  <c:v>700</c:v>
                </c:pt>
                <c:pt idx="164">
                  <c:v>#N/A</c:v>
                </c:pt>
                <c:pt idx="165">
                  <c:v>#N/A</c:v>
                </c:pt>
                <c:pt idx="166">
                  <c:v>700</c:v>
                </c:pt>
                <c:pt idx="167">
                  <c:v>700</c:v>
                </c:pt>
                <c:pt idx="168">
                  <c:v>700</c:v>
                </c:pt>
                <c:pt idx="169">
                  <c:v>700</c:v>
                </c:pt>
                <c:pt idx="170">
                  <c:v>650</c:v>
                </c:pt>
                <c:pt idx="171">
                  <c:v>#N/A</c:v>
                </c:pt>
                <c:pt idx="172">
                  <c:v>#N/A</c:v>
                </c:pt>
                <c:pt idx="173">
                  <c:v>650</c:v>
                </c:pt>
                <c:pt idx="174">
                  <c:v>700</c:v>
                </c:pt>
                <c:pt idx="175">
                  <c:v>700</c:v>
                </c:pt>
                <c:pt idx="176">
                  <c:v>#N/A</c:v>
                </c:pt>
                <c:pt idx="177">
                  <c:v>#N/A</c:v>
                </c:pt>
                <c:pt idx="178">
                  <c:v>#N/A</c:v>
                </c:pt>
                <c:pt idx="179">
                  <c:v>#N/A</c:v>
                </c:pt>
                <c:pt idx="180">
                  <c:v>700</c:v>
                </c:pt>
                <c:pt idx="181">
                  <c:v>700</c:v>
                </c:pt>
                <c:pt idx="182">
                  <c:v>700</c:v>
                </c:pt>
                <c:pt idx="183">
                  <c:v>700</c:v>
                </c:pt>
                <c:pt idx="184">
                  <c:v>700</c:v>
                </c:pt>
                <c:pt idx="185">
                  <c:v>#N/A</c:v>
                </c:pt>
                <c:pt idx="186">
                  <c:v>#N/A</c:v>
                </c:pt>
                <c:pt idx="187">
                  <c:v>650</c:v>
                </c:pt>
                <c:pt idx="188">
                  <c:v>550</c:v>
                </c:pt>
                <c:pt idx="189">
                  <c:v>450</c:v>
                </c:pt>
                <c:pt idx="190">
                  <c:v>400</c:v>
                </c:pt>
                <c:pt idx="191">
                  <c:v>350</c:v>
                </c:pt>
                <c:pt idx="192">
                  <c:v>#N/A</c:v>
                </c:pt>
                <c:pt idx="193">
                  <c:v>#N/A</c:v>
                </c:pt>
                <c:pt idx="194">
                  <c:v>300</c:v>
                </c:pt>
                <c:pt idx="195">
                  <c:v>300</c:v>
                </c:pt>
                <c:pt idx="196">
                  <c:v>300</c:v>
                </c:pt>
                <c:pt idx="197">
                  <c:v>300</c:v>
                </c:pt>
                <c:pt idx="198">
                  <c:v>300</c:v>
                </c:pt>
                <c:pt idx="199">
                  <c:v>#N/A</c:v>
                </c:pt>
                <c:pt idx="200">
                  <c:v>#N/A</c:v>
                </c:pt>
                <c:pt idx="201">
                  <c:v>250</c:v>
                </c:pt>
                <c:pt idx="202">
                  <c:v>200</c:v>
                </c:pt>
                <c:pt idx="203">
                  <c:v>200</c:v>
                </c:pt>
                <c:pt idx="204">
                  <c:v>200</c:v>
                </c:pt>
                <c:pt idx="205">
                  <c:v>250</c:v>
                </c:pt>
                <c:pt idx="206">
                  <c:v>#N/A</c:v>
                </c:pt>
                <c:pt idx="207">
                  <c:v>#N/A</c:v>
                </c:pt>
                <c:pt idx="208">
                  <c:v>300</c:v>
                </c:pt>
                <c:pt idx="209">
                  <c:v>250</c:v>
                </c:pt>
                <c:pt idx="210">
                  <c:v>400</c:v>
                </c:pt>
                <c:pt idx="211">
                  <c:v>450</c:v>
                </c:pt>
                <c:pt idx="212">
                  <c:v>600</c:v>
                </c:pt>
                <c:pt idx="213">
                  <c:v>#N/A</c:v>
                </c:pt>
                <c:pt idx="214">
                  <c:v>#N/A</c:v>
                </c:pt>
                <c:pt idx="215">
                  <c:v>600</c:v>
                </c:pt>
                <c:pt idx="216">
                  <c:v>450</c:v>
                </c:pt>
                <c:pt idx="217">
                  <c:v>400</c:v>
                </c:pt>
                <c:pt idx="218">
                  <c:v>450</c:v>
                </c:pt>
                <c:pt idx="219">
                  <c:v>450</c:v>
                </c:pt>
                <c:pt idx="220">
                  <c:v>#N/A</c:v>
                </c:pt>
                <c:pt idx="221">
                  <c:v>#N/A</c:v>
                </c:pt>
                <c:pt idx="222">
                  <c:v>450</c:v>
                </c:pt>
                <c:pt idx="223">
                  <c:v>450</c:v>
                </c:pt>
                <c:pt idx="224">
                  <c:v>450</c:v>
                </c:pt>
                <c:pt idx="225">
                  <c:v>500</c:v>
                </c:pt>
                <c:pt idx="226">
                  <c:v>600</c:v>
                </c:pt>
                <c:pt idx="227">
                  <c:v>#N/A</c:v>
                </c:pt>
                <c:pt idx="228">
                  <c:v>#N/A</c:v>
                </c:pt>
                <c:pt idx="229">
                  <c:v>600</c:v>
                </c:pt>
                <c:pt idx="230">
                  <c:v>600</c:v>
                </c:pt>
                <c:pt idx="231">
                  <c:v>650</c:v>
                </c:pt>
                <c:pt idx="232">
                  <c:v>700</c:v>
                </c:pt>
                <c:pt idx="233">
                  <c:v>700</c:v>
                </c:pt>
                <c:pt idx="234">
                  <c:v>#N/A</c:v>
                </c:pt>
                <c:pt idx="235">
                  <c:v>#N/A</c:v>
                </c:pt>
                <c:pt idx="236">
                  <c:v>700</c:v>
                </c:pt>
                <c:pt idx="237">
                  <c:v>700</c:v>
                </c:pt>
                <c:pt idx="238">
                  <c:v>750</c:v>
                </c:pt>
                <c:pt idx="239">
                  <c:v>850</c:v>
                </c:pt>
                <c:pt idx="240">
                  <c:v>900</c:v>
                </c:pt>
                <c:pt idx="241">
                  <c:v>#N/A</c:v>
                </c:pt>
                <c:pt idx="242">
                  <c:v>#N/A</c:v>
                </c:pt>
                <c:pt idx="243">
                  <c:v>900</c:v>
                </c:pt>
                <c:pt idx="244">
                  <c:v>900</c:v>
                </c:pt>
                <c:pt idx="245">
                  <c:v>900</c:v>
                </c:pt>
                <c:pt idx="246">
                  <c:v>1100</c:v>
                </c:pt>
                <c:pt idx="247">
                  <c:v>1100</c:v>
                </c:pt>
                <c:pt idx="248">
                  <c:v>#N/A</c:v>
                </c:pt>
                <c:pt idx="249">
                  <c:v>#N/A</c:v>
                </c:pt>
                <c:pt idx="250">
                  <c:v>1100</c:v>
                </c:pt>
                <c:pt idx="251">
                  <c:v>1200</c:v>
                </c:pt>
                <c:pt idx="252">
                  <c:v>1200</c:v>
                </c:pt>
                <c:pt idx="253">
                  <c:v>1150</c:v>
                </c:pt>
                <c:pt idx="254">
                  <c:v>1150</c:v>
                </c:pt>
                <c:pt idx="255">
                  <c:v>#N/A</c:v>
                </c:pt>
                <c:pt idx="256">
                  <c:v>#N/A</c:v>
                </c:pt>
                <c:pt idx="257">
                  <c:v>1150</c:v>
                </c:pt>
                <c:pt idx="258">
                  <c:v>1150</c:v>
                </c:pt>
                <c:pt idx="259">
                  <c:v>1100</c:v>
                </c:pt>
                <c:pt idx="260">
                  <c:v>1100</c:v>
                </c:pt>
                <c:pt idx="261">
                  <c:v>1150</c:v>
                </c:pt>
                <c:pt idx="262">
                  <c:v>#N/A</c:v>
                </c:pt>
                <c:pt idx="263">
                  <c:v>#N/A</c:v>
                </c:pt>
                <c:pt idx="264">
                  <c:v>1100</c:v>
                </c:pt>
                <c:pt idx="265">
                  <c:v>1150</c:v>
                </c:pt>
                <c:pt idx="266">
                  <c:v>1200</c:v>
                </c:pt>
                <c:pt idx="267">
                  <c:v>1200</c:v>
                </c:pt>
                <c:pt idx="268">
                  <c:v>1200</c:v>
                </c:pt>
                <c:pt idx="269">
                  <c:v>#N/A</c:v>
                </c:pt>
                <c:pt idx="270">
                  <c:v>#N/A</c:v>
                </c:pt>
                <c:pt idx="271">
                  <c:v>1200</c:v>
                </c:pt>
                <c:pt idx="272">
                  <c:v>1050</c:v>
                </c:pt>
                <c:pt idx="273">
                  <c:v>1050</c:v>
                </c:pt>
                <c:pt idx="274">
                  <c:v>#N/A</c:v>
                </c:pt>
                <c:pt idx="275">
                  <c:v>#N/A</c:v>
                </c:pt>
                <c:pt idx="276">
                  <c:v>#N/A</c:v>
                </c:pt>
                <c:pt idx="277">
                  <c:v>#N/A</c:v>
                </c:pt>
                <c:pt idx="278">
                  <c:v>#N/A</c:v>
                </c:pt>
                <c:pt idx="279">
                  <c:v>#N/A</c:v>
                </c:pt>
                <c:pt idx="280">
                  <c:v>#N/A</c:v>
                </c:pt>
                <c:pt idx="281">
                  <c:v>#N/A</c:v>
                </c:pt>
                <c:pt idx="282">
                  <c:v>1050</c:v>
                </c:pt>
                <c:pt idx="283">
                  <c:v>#N/A</c:v>
                </c:pt>
                <c:pt idx="284">
                  <c:v>#N/A</c:v>
                </c:pt>
                <c:pt idx="285">
                  <c:v>1050</c:v>
                </c:pt>
                <c:pt idx="286">
                  <c:v>950</c:v>
                </c:pt>
                <c:pt idx="287">
                  <c:v>900</c:v>
                </c:pt>
                <c:pt idx="288">
                  <c:v>875</c:v>
                </c:pt>
                <c:pt idx="289">
                  <c:v>875</c:v>
                </c:pt>
                <c:pt idx="290">
                  <c:v>#N/A</c:v>
                </c:pt>
                <c:pt idx="291">
                  <c:v>#N/A</c:v>
                </c:pt>
                <c:pt idx="292">
                  <c:v>950</c:v>
                </c:pt>
                <c:pt idx="293">
                  <c:v>900</c:v>
                </c:pt>
                <c:pt idx="294">
                  <c:v>800</c:v>
                </c:pt>
                <c:pt idx="295">
                  <c:v>900</c:v>
                </c:pt>
                <c:pt idx="296">
                  <c:v>900</c:v>
                </c:pt>
                <c:pt idx="297">
                  <c:v>#N/A</c:v>
                </c:pt>
                <c:pt idx="298">
                  <c:v>#N/A</c:v>
                </c:pt>
                <c:pt idx="299">
                  <c:v>850</c:v>
                </c:pt>
                <c:pt idx="300">
                  <c:v>850</c:v>
                </c:pt>
                <c:pt idx="301">
                  <c:v>850</c:v>
                </c:pt>
                <c:pt idx="302">
                  <c:v>850</c:v>
                </c:pt>
                <c:pt idx="303">
                  <c:v>850</c:v>
                </c:pt>
                <c:pt idx="304">
                  <c:v>#N/A</c:v>
                </c:pt>
                <c:pt idx="305">
                  <c:v>#N/A</c:v>
                </c:pt>
                <c:pt idx="306">
                  <c:v>850</c:v>
                </c:pt>
                <c:pt idx="307">
                  <c:v>750</c:v>
                </c:pt>
                <c:pt idx="308">
                  <c:v>650</c:v>
                </c:pt>
                <c:pt idx="309">
                  <c:v>600</c:v>
                </c:pt>
                <c:pt idx="310">
                  <c:v>600</c:v>
                </c:pt>
                <c:pt idx="311">
                  <c:v>#N/A</c:v>
                </c:pt>
                <c:pt idx="312">
                  <c:v>#N/A</c:v>
                </c:pt>
                <c:pt idx="313">
                  <c:v>600</c:v>
                </c:pt>
                <c:pt idx="314">
                  <c:v>450</c:v>
                </c:pt>
                <c:pt idx="315">
                  <c:v>400</c:v>
                </c:pt>
                <c:pt idx="316">
                  <c:v>350</c:v>
                </c:pt>
                <c:pt idx="317">
                  <c:v>300</c:v>
                </c:pt>
                <c:pt idx="318">
                  <c:v>#N/A</c:v>
                </c:pt>
                <c:pt idx="319">
                  <c:v>#N/A</c:v>
                </c:pt>
                <c:pt idx="320">
                  <c:v>250</c:v>
                </c:pt>
                <c:pt idx="321">
                  <c:v>300</c:v>
                </c:pt>
                <c:pt idx="322">
                  <c:v>350</c:v>
                </c:pt>
                <c:pt idx="323">
                  <c:v>400</c:v>
                </c:pt>
                <c:pt idx="324">
                  <c:v>400</c:v>
                </c:pt>
                <c:pt idx="325">
                  <c:v>#N/A</c:v>
                </c:pt>
                <c:pt idx="326">
                  <c:v>#N/A</c:v>
                </c:pt>
                <c:pt idx="327">
                  <c:v>300</c:v>
                </c:pt>
                <c:pt idx="328">
                  <c:v>250</c:v>
                </c:pt>
                <c:pt idx="329">
                  <c:v>200</c:v>
                </c:pt>
                <c:pt idx="330">
                  <c:v>550</c:v>
                </c:pt>
                <c:pt idx="331">
                  <c:v>600</c:v>
                </c:pt>
                <c:pt idx="332">
                  <c:v>#N/A</c:v>
                </c:pt>
                <c:pt idx="333">
                  <c:v>#N/A</c:v>
                </c:pt>
                <c:pt idx="334">
                  <c:v>600</c:v>
                </c:pt>
                <c:pt idx="335">
                  <c:v>500</c:v>
                </c:pt>
                <c:pt idx="336">
                  <c:v>500</c:v>
                </c:pt>
                <c:pt idx="337">
                  <c:v>500</c:v>
                </c:pt>
                <c:pt idx="338">
                  <c:v>600</c:v>
                </c:pt>
                <c:pt idx="339">
                  <c:v>#N/A</c:v>
                </c:pt>
                <c:pt idx="340">
                  <c:v>#N/A</c:v>
                </c:pt>
                <c:pt idx="341">
                  <c:v>600</c:v>
                </c:pt>
                <c:pt idx="342">
                  <c:v>600</c:v>
                </c:pt>
                <c:pt idx="343">
                  <c:v>700</c:v>
                </c:pt>
                <c:pt idx="344">
                  <c:v>700</c:v>
                </c:pt>
                <c:pt idx="345">
                  <c:v>750</c:v>
                </c:pt>
                <c:pt idx="346">
                  <c:v>#N/A</c:v>
                </c:pt>
                <c:pt idx="347">
                  <c:v>#N/A</c:v>
                </c:pt>
                <c:pt idx="348">
                  <c:v>750</c:v>
                </c:pt>
                <c:pt idx="349">
                  <c:v>800</c:v>
                </c:pt>
                <c:pt idx="350">
                  <c:v>750</c:v>
                </c:pt>
                <c:pt idx="351">
                  <c:v>650</c:v>
                </c:pt>
                <c:pt idx="352">
                  <c:v>600</c:v>
                </c:pt>
                <c:pt idx="353">
                  <c:v>#N/A</c:v>
                </c:pt>
                <c:pt idx="354">
                  <c:v>#N/A</c:v>
                </c:pt>
                <c:pt idx="355">
                  <c:v>600</c:v>
                </c:pt>
                <c:pt idx="356">
                  <c:v>700</c:v>
                </c:pt>
                <c:pt idx="357">
                  <c:v>850</c:v>
                </c:pt>
                <c:pt idx="358">
                  <c:v>850</c:v>
                </c:pt>
                <c:pt idx="359">
                  <c:v>850</c:v>
                </c:pt>
                <c:pt idx="360">
                  <c:v>#N/A</c:v>
                </c:pt>
                <c:pt idx="361">
                  <c:v>#N/A</c:v>
                </c:pt>
                <c:pt idx="362">
                  <c:v>850</c:v>
                </c:pt>
                <c:pt idx="363">
                  <c:v>850</c:v>
                </c:pt>
                <c:pt idx="364">
                  <c:v>800</c:v>
                </c:pt>
                <c:pt idx="365">
                  <c:v>950</c:v>
                </c:pt>
              </c:numCache>
            </c:numRef>
          </c:val>
          <c:smooth val="0"/>
          <c:extLst>
            <c:ext xmlns:c16="http://schemas.microsoft.com/office/drawing/2014/chart" uri="{C3380CC4-5D6E-409C-BE32-E72D297353CC}">
              <c16:uniqueId val="{00000000-2EF3-4668-8D78-A3D4AFB71722}"/>
            </c:ext>
          </c:extLst>
        </c:ser>
        <c:ser>
          <c:idx val="6"/>
          <c:order val="1"/>
          <c:tx>
            <c:strRef>
              <c:f>现货价差!$AP$4</c:f>
              <c:strCache>
                <c:ptCount val="1"/>
                <c:pt idx="0">
                  <c:v>2021</c:v>
                </c:pt>
              </c:strCache>
            </c:strRef>
          </c:tx>
          <c:spPr>
            <a:ln w="19050">
              <a:solidFill>
                <a:schemeClr val="accent5">
                  <a:lumMod val="75000"/>
                  <a:alpha val="60000"/>
                </a:schemeClr>
              </a:solidFill>
            </a:ln>
          </c:spPr>
          <c:marker>
            <c:symbol val="none"/>
          </c:marker>
          <c:cat>
            <c:strRef>
              <c:f>现货价差!$AL$5:$AL$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P$5:$AP$370</c:f>
              <c:numCache>
                <c:formatCode>General</c:formatCode>
                <c:ptCount val="366"/>
                <c:pt idx="0">
                  <c:v>#N/A</c:v>
                </c:pt>
                <c:pt idx="1">
                  <c:v>#N/A</c:v>
                </c:pt>
                <c:pt idx="2">
                  <c:v>#N/A</c:v>
                </c:pt>
                <c:pt idx="3">
                  <c:v>950</c:v>
                </c:pt>
                <c:pt idx="4">
                  <c:v>1050</c:v>
                </c:pt>
                <c:pt idx="5">
                  <c:v>1000</c:v>
                </c:pt>
                <c:pt idx="6">
                  <c:v>1050</c:v>
                </c:pt>
                <c:pt idx="7">
                  <c:v>1050</c:v>
                </c:pt>
                <c:pt idx="8">
                  <c:v>#N/A</c:v>
                </c:pt>
                <c:pt idx="9">
                  <c:v>#N/A</c:v>
                </c:pt>
                <c:pt idx="10">
                  <c:v>1050</c:v>
                </c:pt>
                <c:pt idx="11">
                  <c:v>950</c:v>
                </c:pt>
                <c:pt idx="12">
                  <c:v>900</c:v>
                </c:pt>
                <c:pt idx="13">
                  <c:v>850</c:v>
                </c:pt>
                <c:pt idx="14">
                  <c:v>850</c:v>
                </c:pt>
                <c:pt idx="15">
                  <c:v>#N/A</c:v>
                </c:pt>
                <c:pt idx="16">
                  <c:v>#N/A</c:v>
                </c:pt>
                <c:pt idx="17">
                  <c:v>850</c:v>
                </c:pt>
                <c:pt idx="18">
                  <c:v>850</c:v>
                </c:pt>
                <c:pt idx="19">
                  <c:v>1000</c:v>
                </c:pt>
                <c:pt idx="20">
                  <c:v>1200</c:v>
                </c:pt>
                <c:pt idx="21">
                  <c:v>1250</c:v>
                </c:pt>
                <c:pt idx="22">
                  <c:v>#N/A</c:v>
                </c:pt>
                <c:pt idx="23">
                  <c:v>#N/A</c:v>
                </c:pt>
                <c:pt idx="24">
                  <c:v>1250</c:v>
                </c:pt>
                <c:pt idx="25">
                  <c:v>1250</c:v>
                </c:pt>
                <c:pt idx="26">
                  <c:v>1250</c:v>
                </c:pt>
                <c:pt idx="27">
                  <c:v>1250</c:v>
                </c:pt>
                <c:pt idx="28">
                  <c:v>1200</c:v>
                </c:pt>
                <c:pt idx="29">
                  <c:v>#N/A</c:v>
                </c:pt>
                <c:pt idx="30">
                  <c:v>#N/A</c:v>
                </c:pt>
                <c:pt idx="31">
                  <c:v>1200</c:v>
                </c:pt>
                <c:pt idx="32">
                  <c:v>1100</c:v>
                </c:pt>
                <c:pt idx="33">
                  <c:v>1100</c:v>
                </c:pt>
                <c:pt idx="34">
                  <c:v>1100</c:v>
                </c:pt>
                <c:pt idx="35">
                  <c:v>1100</c:v>
                </c:pt>
                <c:pt idx="36">
                  <c:v>#N/A</c:v>
                </c:pt>
                <c:pt idx="37">
                  <c:v>#N/A</c:v>
                </c:pt>
                <c:pt idx="38">
                  <c:v>1100</c:v>
                </c:pt>
                <c:pt idx="39">
                  <c:v>1100</c:v>
                </c:pt>
                <c:pt idx="40">
                  <c:v>1100</c:v>
                </c:pt>
                <c:pt idx="41">
                  <c:v>#N/A</c:v>
                </c:pt>
                <c:pt idx="42">
                  <c:v>#N/A</c:v>
                </c:pt>
                <c:pt idx="43">
                  <c:v>#N/A</c:v>
                </c:pt>
                <c:pt idx="44">
                  <c:v>#N/A</c:v>
                </c:pt>
                <c:pt idx="45">
                  <c:v>#N/A</c:v>
                </c:pt>
                <c:pt idx="46">
                  <c:v>#N/A</c:v>
                </c:pt>
                <c:pt idx="47">
                  <c:v>#N/A</c:v>
                </c:pt>
                <c:pt idx="48">
                  <c:v>1100</c:v>
                </c:pt>
                <c:pt idx="49">
                  <c:v>1100</c:v>
                </c:pt>
                <c:pt idx="50">
                  <c:v>#N/A</c:v>
                </c:pt>
                <c:pt idx="51">
                  <c:v>#N/A</c:v>
                </c:pt>
                <c:pt idx="52">
                  <c:v>1100</c:v>
                </c:pt>
                <c:pt idx="53">
                  <c:v>1050</c:v>
                </c:pt>
                <c:pt idx="54">
                  <c:v>1050</c:v>
                </c:pt>
                <c:pt idx="55">
                  <c:v>1000</c:v>
                </c:pt>
                <c:pt idx="56">
                  <c:v>1000</c:v>
                </c:pt>
                <c:pt idx="57">
                  <c:v>#N/A</c:v>
                </c:pt>
                <c:pt idx="58">
                  <c:v>#N/A</c:v>
                </c:pt>
                <c:pt idx="60">
                  <c:v>1000</c:v>
                </c:pt>
                <c:pt idx="61">
                  <c:v>1000</c:v>
                </c:pt>
                <c:pt idx="62">
                  <c:v>1050</c:v>
                </c:pt>
                <c:pt idx="63">
                  <c:v>850</c:v>
                </c:pt>
                <c:pt idx="64">
                  <c:v>950</c:v>
                </c:pt>
                <c:pt idx="65">
                  <c:v>#N/A</c:v>
                </c:pt>
                <c:pt idx="66">
                  <c:v>#N/A</c:v>
                </c:pt>
                <c:pt idx="67">
                  <c:v>950</c:v>
                </c:pt>
                <c:pt idx="68">
                  <c:v>950</c:v>
                </c:pt>
                <c:pt idx="69">
                  <c:v>1050</c:v>
                </c:pt>
                <c:pt idx="70">
                  <c:v>1050</c:v>
                </c:pt>
                <c:pt idx="71">
                  <c:v>1050</c:v>
                </c:pt>
                <c:pt idx="72">
                  <c:v>#N/A</c:v>
                </c:pt>
                <c:pt idx="73">
                  <c:v>#N/A</c:v>
                </c:pt>
                <c:pt idx="74">
                  <c:v>1050</c:v>
                </c:pt>
                <c:pt idx="75">
                  <c:v>1050</c:v>
                </c:pt>
                <c:pt idx="76">
                  <c:v>1100</c:v>
                </c:pt>
                <c:pt idx="77">
                  <c:v>1100</c:v>
                </c:pt>
                <c:pt idx="78">
                  <c:v>1100</c:v>
                </c:pt>
                <c:pt idx="79">
                  <c:v>#N/A</c:v>
                </c:pt>
                <c:pt idx="80">
                  <c:v>#N/A</c:v>
                </c:pt>
                <c:pt idx="81">
                  <c:v>1100</c:v>
                </c:pt>
                <c:pt idx="82">
                  <c:v>1150</c:v>
                </c:pt>
                <c:pt idx="83">
                  <c:v>1200</c:v>
                </c:pt>
                <c:pt idx="84">
                  <c:v>1250</c:v>
                </c:pt>
                <c:pt idx="85">
                  <c:v>1300</c:v>
                </c:pt>
                <c:pt idx="86">
                  <c:v>#N/A</c:v>
                </c:pt>
                <c:pt idx="87">
                  <c:v>#N/A</c:v>
                </c:pt>
                <c:pt idx="88">
                  <c:v>1300</c:v>
                </c:pt>
                <c:pt idx="89">
                  <c:v>1300</c:v>
                </c:pt>
                <c:pt idx="90">
                  <c:v>1400</c:v>
                </c:pt>
                <c:pt idx="91">
                  <c:v>1500</c:v>
                </c:pt>
                <c:pt idx="92">
                  <c:v>1500</c:v>
                </c:pt>
                <c:pt idx="93">
                  <c:v>#N/A</c:v>
                </c:pt>
                <c:pt idx="94">
                  <c:v>#N/A</c:v>
                </c:pt>
                <c:pt idx="95">
                  <c:v>#N/A</c:v>
                </c:pt>
                <c:pt idx="96">
                  <c:v>1500</c:v>
                </c:pt>
                <c:pt idx="97">
                  <c:v>1600</c:v>
                </c:pt>
                <c:pt idx="98">
                  <c:v>1600</c:v>
                </c:pt>
                <c:pt idx="99">
                  <c:v>1600</c:v>
                </c:pt>
                <c:pt idx="100">
                  <c:v>#N/A</c:v>
                </c:pt>
                <c:pt idx="101">
                  <c:v>#N/A</c:v>
                </c:pt>
                <c:pt idx="102">
                  <c:v>1700</c:v>
                </c:pt>
                <c:pt idx="103">
                  <c:v>1650</c:v>
                </c:pt>
                <c:pt idx="104">
                  <c:v>1650</c:v>
                </c:pt>
                <c:pt idx="105">
                  <c:v>1650</c:v>
                </c:pt>
                <c:pt idx="106">
                  <c:v>1750</c:v>
                </c:pt>
                <c:pt idx="107">
                  <c:v>#N/A</c:v>
                </c:pt>
                <c:pt idx="108">
                  <c:v>#N/A</c:v>
                </c:pt>
                <c:pt idx="109">
                  <c:v>1850</c:v>
                </c:pt>
                <c:pt idx="110">
                  <c:v>1750</c:v>
                </c:pt>
                <c:pt idx="111">
                  <c:v>1700</c:v>
                </c:pt>
                <c:pt idx="112">
                  <c:v>1800</c:v>
                </c:pt>
                <c:pt idx="113">
                  <c:v>1800</c:v>
                </c:pt>
                <c:pt idx="114">
                  <c:v>#N/A</c:v>
                </c:pt>
                <c:pt idx="115">
                  <c:v>#N/A</c:v>
                </c:pt>
                <c:pt idx="116">
                  <c:v>1850</c:v>
                </c:pt>
                <c:pt idx="117">
                  <c:v>1850</c:v>
                </c:pt>
                <c:pt idx="118">
                  <c:v>1850</c:v>
                </c:pt>
                <c:pt idx="119">
                  <c:v>1800</c:v>
                </c:pt>
                <c:pt idx="120">
                  <c:v>1800</c:v>
                </c:pt>
                <c:pt idx="121">
                  <c:v>#N/A</c:v>
                </c:pt>
                <c:pt idx="122">
                  <c:v>#N/A</c:v>
                </c:pt>
                <c:pt idx="123">
                  <c:v>#N/A</c:v>
                </c:pt>
                <c:pt idx="124">
                  <c:v>#N/A</c:v>
                </c:pt>
                <c:pt idx="125">
                  <c:v>#N/A</c:v>
                </c:pt>
                <c:pt idx="126">
                  <c:v>1800</c:v>
                </c:pt>
                <c:pt idx="127">
                  <c:v>1800</c:v>
                </c:pt>
                <c:pt idx="128">
                  <c:v>#N/A</c:v>
                </c:pt>
                <c:pt idx="129">
                  <c:v>#N/A</c:v>
                </c:pt>
                <c:pt idx="130">
                  <c:v>1550</c:v>
                </c:pt>
                <c:pt idx="131">
                  <c:v>1500</c:v>
                </c:pt>
                <c:pt idx="132">
                  <c:v>1400</c:v>
                </c:pt>
                <c:pt idx="133">
                  <c:v>1400</c:v>
                </c:pt>
                <c:pt idx="134">
                  <c:v>1300</c:v>
                </c:pt>
                <c:pt idx="135">
                  <c:v>#N/A</c:v>
                </c:pt>
                <c:pt idx="136">
                  <c:v>#N/A</c:v>
                </c:pt>
                <c:pt idx="137">
                  <c:v>850</c:v>
                </c:pt>
                <c:pt idx="138">
                  <c:v>700</c:v>
                </c:pt>
                <c:pt idx="139">
                  <c:v>700</c:v>
                </c:pt>
                <c:pt idx="140">
                  <c:v>700</c:v>
                </c:pt>
                <c:pt idx="141">
                  <c:v>700</c:v>
                </c:pt>
                <c:pt idx="142">
                  <c:v>#N/A</c:v>
                </c:pt>
                <c:pt idx="143">
                  <c:v>#N/A</c:v>
                </c:pt>
                <c:pt idx="144">
                  <c:v>900</c:v>
                </c:pt>
                <c:pt idx="145">
                  <c:v>1150</c:v>
                </c:pt>
                <c:pt idx="146">
                  <c:v>1300</c:v>
                </c:pt>
                <c:pt idx="147">
                  <c:v>1400</c:v>
                </c:pt>
                <c:pt idx="148">
                  <c:v>1750</c:v>
                </c:pt>
                <c:pt idx="149">
                  <c:v>#N/A</c:v>
                </c:pt>
                <c:pt idx="150">
                  <c:v>#N/A</c:v>
                </c:pt>
                <c:pt idx="151">
                  <c:v>2000</c:v>
                </c:pt>
                <c:pt idx="152">
                  <c:v>2000</c:v>
                </c:pt>
                <c:pt idx="153">
                  <c:v>2050</c:v>
                </c:pt>
                <c:pt idx="154">
                  <c:v>2050</c:v>
                </c:pt>
                <c:pt idx="155">
                  <c:v>2050</c:v>
                </c:pt>
                <c:pt idx="156">
                  <c:v>#N/A</c:v>
                </c:pt>
                <c:pt idx="157">
                  <c:v>#N/A</c:v>
                </c:pt>
                <c:pt idx="158">
                  <c:v>2050</c:v>
                </c:pt>
                <c:pt idx="159">
                  <c:v>2100</c:v>
                </c:pt>
                <c:pt idx="160">
                  <c:v>2100</c:v>
                </c:pt>
                <c:pt idx="161">
                  <c:v>1950</c:v>
                </c:pt>
                <c:pt idx="162">
                  <c:v>1800</c:v>
                </c:pt>
                <c:pt idx="163">
                  <c:v>#N/A</c:v>
                </c:pt>
                <c:pt idx="164">
                  <c:v>#N/A</c:v>
                </c:pt>
                <c:pt idx="165">
                  <c:v>#N/A</c:v>
                </c:pt>
                <c:pt idx="166">
                  <c:v>1700</c:v>
                </c:pt>
                <c:pt idx="167">
                  <c:v>1650</c:v>
                </c:pt>
                <c:pt idx="168">
                  <c:v>1500</c:v>
                </c:pt>
                <c:pt idx="169">
                  <c:v>1500</c:v>
                </c:pt>
                <c:pt idx="170">
                  <c:v>#N/A</c:v>
                </c:pt>
                <c:pt idx="171">
                  <c:v>#N/A</c:v>
                </c:pt>
                <c:pt idx="172">
                  <c:v>1400</c:v>
                </c:pt>
                <c:pt idx="173">
                  <c:v>1350</c:v>
                </c:pt>
                <c:pt idx="174">
                  <c:v>1350</c:v>
                </c:pt>
                <c:pt idx="175">
                  <c:v>1350</c:v>
                </c:pt>
                <c:pt idx="176">
                  <c:v>1350</c:v>
                </c:pt>
                <c:pt idx="177">
                  <c:v>#N/A</c:v>
                </c:pt>
                <c:pt idx="178">
                  <c:v>#N/A</c:v>
                </c:pt>
                <c:pt idx="179">
                  <c:v>1350</c:v>
                </c:pt>
                <c:pt idx="180">
                  <c:v>1350</c:v>
                </c:pt>
                <c:pt idx="181">
                  <c:v>1350</c:v>
                </c:pt>
                <c:pt idx="182">
                  <c:v>1600</c:v>
                </c:pt>
                <c:pt idx="183">
                  <c:v>1600</c:v>
                </c:pt>
                <c:pt idx="184">
                  <c:v>#N/A</c:v>
                </c:pt>
                <c:pt idx="185">
                  <c:v>#N/A</c:v>
                </c:pt>
                <c:pt idx="186">
                  <c:v>1600</c:v>
                </c:pt>
                <c:pt idx="187">
                  <c:v>1600</c:v>
                </c:pt>
                <c:pt idx="188">
                  <c:v>1600</c:v>
                </c:pt>
                <c:pt idx="189">
                  <c:v>1600</c:v>
                </c:pt>
                <c:pt idx="190">
                  <c:v>1600</c:v>
                </c:pt>
                <c:pt idx="191">
                  <c:v>#N/A</c:v>
                </c:pt>
                <c:pt idx="192">
                  <c:v>#N/A</c:v>
                </c:pt>
                <c:pt idx="193">
                  <c:v>1650</c:v>
                </c:pt>
                <c:pt idx="194">
                  <c:v>1650</c:v>
                </c:pt>
                <c:pt idx="195">
                  <c:v>1700</c:v>
                </c:pt>
                <c:pt idx="196">
                  <c:v>1700</c:v>
                </c:pt>
                <c:pt idx="197">
                  <c:v>1700</c:v>
                </c:pt>
                <c:pt idx="198">
                  <c:v>#N/A</c:v>
                </c:pt>
                <c:pt idx="199">
                  <c:v>#N/A</c:v>
                </c:pt>
                <c:pt idx="200">
                  <c:v>1700</c:v>
                </c:pt>
                <c:pt idx="201">
                  <c:v>1600</c:v>
                </c:pt>
                <c:pt idx="202">
                  <c:v>1500</c:v>
                </c:pt>
                <c:pt idx="203">
                  <c:v>1550</c:v>
                </c:pt>
                <c:pt idx="204">
                  <c:v>1600</c:v>
                </c:pt>
                <c:pt idx="205">
                  <c:v>#N/A</c:v>
                </c:pt>
                <c:pt idx="206">
                  <c:v>#N/A</c:v>
                </c:pt>
                <c:pt idx="207">
                  <c:v>1650</c:v>
                </c:pt>
                <c:pt idx="208">
                  <c:v>1850</c:v>
                </c:pt>
                <c:pt idx="209">
                  <c:v>1650</c:v>
                </c:pt>
                <c:pt idx="210">
                  <c:v>1700</c:v>
                </c:pt>
                <c:pt idx="211">
                  <c:v>1500</c:v>
                </c:pt>
                <c:pt idx="212">
                  <c:v>#N/A</c:v>
                </c:pt>
                <c:pt idx="213">
                  <c:v>#N/A</c:v>
                </c:pt>
                <c:pt idx="214">
                  <c:v>1350</c:v>
                </c:pt>
                <c:pt idx="215">
                  <c:v>950</c:v>
                </c:pt>
                <c:pt idx="216">
                  <c:v>1400</c:v>
                </c:pt>
                <c:pt idx="217">
                  <c:v>1050</c:v>
                </c:pt>
                <c:pt idx="218">
                  <c:v>1150</c:v>
                </c:pt>
                <c:pt idx="219">
                  <c:v>#N/A</c:v>
                </c:pt>
                <c:pt idx="220">
                  <c:v>#N/A</c:v>
                </c:pt>
                <c:pt idx="221">
                  <c:v>1450</c:v>
                </c:pt>
                <c:pt idx="222">
                  <c:v>1600</c:v>
                </c:pt>
                <c:pt idx="223">
                  <c:v>1350</c:v>
                </c:pt>
                <c:pt idx="224">
                  <c:v>1400</c:v>
                </c:pt>
                <c:pt idx="225">
                  <c:v>1200</c:v>
                </c:pt>
                <c:pt idx="226">
                  <c:v>#N/A</c:v>
                </c:pt>
                <c:pt idx="227">
                  <c:v>#N/A</c:v>
                </c:pt>
                <c:pt idx="228">
                  <c:v>1650</c:v>
                </c:pt>
                <c:pt idx="229">
                  <c:v>1400</c:v>
                </c:pt>
                <c:pt idx="230">
                  <c:v>1250</c:v>
                </c:pt>
                <c:pt idx="231">
                  <c:v>1500</c:v>
                </c:pt>
                <c:pt idx="232">
                  <c:v>1750</c:v>
                </c:pt>
                <c:pt idx="233">
                  <c:v>#N/A</c:v>
                </c:pt>
                <c:pt idx="234">
                  <c:v>#N/A</c:v>
                </c:pt>
                <c:pt idx="235">
                  <c:v>2250</c:v>
                </c:pt>
                <c:pt idx="236">
                  <c:v>3150</c:v>
                </c:pt>
                <c:pt idx="237">
                  <c:v>3400</c:v>
                </c:pt>
                <c:pt idx="238">
                  <c:v>3400</c:v>
                </c:pt>
                <c:pt idx="239">
                  <c:v>4050</c:v>
                </c:pt>
                <c:pt idx="240">
                  <c:v>#N/A</c:v>
                </c:pt>
                <c:pt idx="241">
                  <c:v>#N/A</c:v>
                </c:pt>
                <c:pt idx="242">
                  <c:v>4500</c:v>
                </c:pt>
                <c:pt idx="243">
                  <c:v>4850</c:v>
                </c:pt>
                <c:pt idx="244">
                  <c:v>5250</c:v>
                </c:pt>
                <c:pt idx="245">
                  <c:v>5250</c:v>
                </c:pt>
                <c:pt idx="246">
                  <c:v>5650</c:v>
                </c:pt>
                <c:pt idx="247">
                  <c:v>#N/A</c:v>
                </c:pt>
                <c:pt idx="248">
                  <c:v>#N/A</c:v>
                </c:pt>
                <c:pt idx="249">
                  <c:v>5650</c:v>
                </c:pt>
                <c:pt idx="250">
                  <c:v>4700</c:v>
                </c:pt>
                <c:pt idx="251">
                  <c:v>4750</c:v>
                </c:pt>
                <c:pt idx="252">
                  <c:v>4950</c:v>
                </c:pt>
                <c:pt idx="253">
                  <c:v>4700</c:v>
                </c:pt>
                <c:pt idx="254">
                  <c:v>#N/A</c:v>
                </c:pt>
                <c:pt idx="255">
                  <c:v>#N/A</c:v>
                </c:pt>
                <c:pt idx="256">
                  <c:v>4200</c:v>
                </c:pt>
                <c:pt idx="257">
                  <c:v>2250</c:v>
                </c:pt>
                <c:pt idx="258">
                  <c:v>1500</c:v>
                </c:pt>
                <c:pt idx="259">
                  <c:v>2500</c:v>
                </c:pt>
                <c:pt idx="260">
                  <c:v>3500</c:v>
                </c:pt>
                <c:pt idx="261">
                  <c:v>#N/A</c:v>
                </c:pt>
                <c:pt idx="262">
                  <c:v>#N/A</c:v>
                </c:pt>
                <c:pt idx="263">
                  <c:v>#N/A</c:v>
                </c:pt>
                <c:pt idx="264">
                  <c:v>#N/A</c:v>
                </c:pt>
                <c:pt idx="265">
                  <c:v>5500</c:v>
                </c:pt>
                <c:pt idx="266">
                  <c:v>5500</c:v>
                </c:pt>
                <c:pt idx="267">
                  <c:v>5500</c:v>
                </c:pt>
                <c:pt idx="268">
                  <c:v>#N/A</c:v>
                </c:pt>
                <c:pt idx="269">
                  <c:v>#N/A</c:v>
                </c:pt>
                <c:pt idx="270">
                  <c:v>7000</c:v>
                </c:pt>
                <c:pt idx="271">
                  <c:v>8000</c:v>
                </c:pt>
                <c:pt idx="272">
                  <c:v>7500</c:v>
                </c:pt>
                <c:pt idx="273">
                  <c:v>7500</c:v>
                </c:pt>
                <c:pt idx="274">
                  <c:v>#N/A</c:v>
                </c:pt>
                <c:pt idx="275">
                  <c:v>#N/A</c:v>
                </c:pt>
                <c:pt idx="276">
                  <c:v>#N/A</c:v>
                </c:pt>
                <c:pt idx="277">
                  <c:v>#N/A</c:v>
                </c:pt>
                <c:pt idx="278">
                  <c:v>#N/A</c:v>
                </c:pt>
                <c:pt idx="279">
                  <c:v>#N/A</c:v>
                </c:pt>
                <c:pt idx="280">
                  <c:v>#N/A</c:v>
                </c:pt>
                <c:pt idx="281">
                  <c:v>8000</c:v>
                </c:pt>
                <c:pt idx="282">
                  <c:v>#N/A</c:v>
                </c:pt>
                <c:pt idx="283">
                  <c:v>#N/A</c:v>
                </c:pt>
                <c:pt idx="284">
                  <c:v>10000</c:v>
                </c:pt>
                <c:pt idx="285">
                  <c:v>10500</c:v>
                </c:pt>
                <c:pt idx="286">
                  <c:v>11000</c:v>
                </c:pt>
                <c:pt idx="287">
                  <c:v>11750</c:v>
                </c:pt>
                <c:pt idx="288">
                  <c:v>11750</c:v>
                </c:pt>
                <c:pt idx="289">
                  <c:v>#N/A</c:v>
                </c:pt>
                <c:pt idx="290">
                  <c:v>#N/A</c:v>
                </c:pt>
                <c:pt idx="291">
                  <c:v>11750</c:v>
                </c:pt>
                <c:pt idx="292">
                  <c:v>13750</c:v>
                </c:pt>
                <c:pt idx="293">
                  <c:v>18500</c:v>
                </c:pt>
                <c:pt idx="294">
                  <c:v>19500</c:v>
                </c:pt>
                <c:pt idx="295">
                  <c:v>21500</c:v>
                </c:pt>
                <c:pt idx="296">
                  <c:v>#N/A</c:v>
                </c:pt>
                <c:pt idx="297">
                  <c:v>#N/A</c:v>
                </c:pt>
                <c:pt idx="298">
                  <c:v>23000</c:v>
                </c:pt>
                <c:pt idx="299">
                  <c:v>25500</c:v>
                </c:pt>
                <c:pt idx="300">
                  <c:v>25500</c:v>
                </c:pt>
                <c:pt idx="301">
                  <c:v>28000</c:v>
                </c:pt>
                <c:pt idx="302">
                  <c:v>29500</c:v>
                </c:pt>
                <c:pt idx="303">
                  <c:v>#N/A</c:v>
                </c:pt>
                <c:pt idx="304">
                  <c:v>#N/A</c:v>
                </c:pt>
                <c:pt idx="305">
                  <c:v>27500</c:v>
                </c:pt>
                <c:pt idx="306">
                  <c:v>26250</c:v>
                </c:pt>
                <c:pt idx="307">
                  <c:v>24000</c:v>
                </c:pt>
                <c:pt idx="308">
                  <c:v>23000</c:v>
                </c:pt>
                <c:pt idx="309">
                  <c:v>25250</c:v>
                </c:pt>
                <c:pt idx="310">
                  <c:v>#N/A</c:v>
                </c:pt>
                <c:pt idx="311">
                  <c:v>#N/A</c:v>
                </c:pt>
                <c:pt idx="312">
                  <c:v>25000</c:v>
                </c:pt>
                <c:pt idx="313">
                  <c:v>25000</c:v>
                </c:pt>
                <c:pt idx="314">
                  <c:v>26000</c:v>
                </c:pt>
                <c:pt idx="315">
                  <c:v>25750</c:v>
                </c:pt>
                <c:pt idx="316">
                  <c:v>25250</c:v>
                </c:pt>
                <c:pt idx="317">
                  <c:v>#N/A</c:v>
                </c:pt>
                <c:pt idx="318">
                  <c:v>#N/A</c:v>
                </c:pt>
                <c:pt idx="319">
                  <c:v>17250</c:v>
                </c:pt>
                <c:pt idx="320">
                  <c:v>14250</c:v>
                </c:pt>
                <c:pt idx="321">
                  <c:v>12000</c:v>
                </c:pt>
                <c:pt idx="322">
                  <c:v>11750</c:v>
                </c:pt>
                <c:pt idx="323">
                  <c:v>11750</c:v>
                </c:pt>
                <c:pt idx="324">
                  <c:v>#N/A</c:v>
                </c:pt>
                <c:pt idx="325">
                  <c:v>#N/A</c:v>
                </c:pt>
                <c:pt idx="326">
                  <c:v>11750</c:v>
                </c:pt>
                <c:pt idx="327">
                  <c:v>11750</c:v>
                </c:pt>
                <c:pt idx="328">
                  <c:v>11750</c:v>
                </c:pt>
                <c:pt idx="329">
                  <c:v>9250</c:v>
                </c:pt>
                <c:pt idx="330">
                  <c:v>7750</c:v>
                </c:pt>
                <c:pt idx="331">
                  <c:v>#N/A</c:v>
                </c:pt>
                <c:pt idx="332">
                  <c:v>#N/A</c:v>
                </c:pt>
                <c:pt idx="333">
                  <c:v>8000</c:v>
                </c:pt>
                <c:pt idx="334">
                  <c:v>8000</c:v>
                </c:pt>
                <c:pt idx="335">
                  <c:v>8000</c:v>
                </c:pt>
                <c:pt idx="336">
                  <c:v>6500</c:v>
                </c:pt>
                <c:pt idx="337">
                  <c:v>6500</c:v>
                </c:pt>
                <c:pt idx="338">
                  <c:v>#N/A</c:v>
                </c:pt>
                <c:pt idx="339">
                  <c:v>#N/A</c:v>
                </c:pt>
                <c:pt idx="340">
                  <c:v>8250</c:v>
                </c:pt>
                <c:pt idx="341">
                  <c:v>6000</c:v>
                </c:pt>
                <c:pt idx="342">
                  <c:v>5600</c:v>
                </c:pt>
                <c:pt idx="343">
                  <c:v>5000</c:v>
                </c:pt>
                <c:pt idx="344">
                  <c:v>4250</c:v>
                </c:pt>
                <c:pt idx="345">
                  <c:v>#N/A</c:v>
                </c:pt>
                <c:pt idx="346">
                  <c:v>#N/A</c:v>
                </c:pt>
                <c:pt idx="347">
                  <c:v>3900</c:v>
                </c:pt>
                <c:pt idx="348">
                  <c:v>3900</c:v>
                </c:pt>
                <c:pt idx="349">
                  <c:v>3900</c:v>
                </c:pt>
                <c:pt idx="350">
                  <c:v>3150</c:v>
                </c:pt>
                <c:pt idx="351">
                  <c:v>2650</c:v>
                </c:pt>
                <c:pt idx="352">
                  <c:v>#N/A</c:v>
                </c:pt>
                <c:pt idx="353">
                  <c:v>#N/A</c:v>
                </c:pt>
                <c:pt idx="354">
                  <c:v>2650</c:v>
                </c:pt>
                <c:pt idx="355">
                  <c:v>2650</c:v>
                </c:pt>
                <c:pt idx="356">
                  <c:v>2650</c:v>
                </c:pt>
                <c:pt idx="357">
                  <c:v>2650</c:v>
                </c:pt>
                <c:pt idx="358">
                  <c:v>2650</c:v>
                </c:pt>
                <c:pt idx="359">
                  <c:v>#N/A</c:v>
                </c:pt>
                <c:pt idx="360">
                  <c:v>#N/A</c:v>
                </c:pt>
                <c:pt idx="361">
                  <c:v>1650</c:v>
                </c:pt>
                <c:pt idx="362">
                  <c:v>1600</c:v>
                </c:pt>
                <c:pt idx="363">
                  <c:v>1650</c:v>
                </c:pt>
                <c:pt idx="364">
                  <c:v>1750</c:v>
                </c:pt>
                <c:pt idx="365">
                  <c:v>1750</c:v>
                </c:pt>
              </c:numCache>
            </c:numRef>
          </c:val>
          <c:smooth val="0"/>
          <c:extLst>
            <c:ext xmlns:c16="http://schemas.microsoft.com/office/drawing/2014/chart" uri="{C3380CC4-5D6E-409C-BE32-E72D297353CC}">
              <c16:uniqueId val="{00000001-2EF3-4668-8D78-A3D4AFB71722}"/>
            </c:ext>
          </c:extLst>
        </c:ser>
        <c:ser>
          <c:idx val="7"/>
          <c:order val="2"/>
          <c:tx>
            <c:strRef>
              <c:f>现货价差!$AQ$4</c:f>
              <c:strCache>
                <c:ptCount val="1"/>
                <c:pt idx="0">
                  <c:v>2022</c:v>
                </c:pt>
              </c:strCache>
            </c:strRef>
          </c:tx>
          <c:spPr>
            <a:ln w="19050">
              <a:solidFill>
                <a:schemeClr val="bg1">
                  <a:lumMod val="50000"/>
                  <a:alpha val="60000"/>
                </a:schemeClr>
              </a:solidFill>
            </a:ln>
          </c:spPr>
          <c:marker>
            <c:symbol val="none"/>
          </c:marker>
          <c:cat>
            <c:strRef>
              <c:f>现货价差!$AL$5:$AL$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Q$5:$AQ$370</c:f>
              <c:numCache>
                <c:formatCode>General</c:formatCode>
                <c:ptCount val="366"/>
                <c:pt idx="0">
                  <c:v>#N/A</c:v>
                </c:pt>
                <c:pt idx="1">
                  <c:v>#N/A</c:v>
                </c:pt>
                <c:pt idx="2">
                  <c:v>#N/A</c:v>
                </c:pt>
                <c:pt idx="3">
                  <c:v>1800</c:v>
                </c:pt>
                <c:pt idx="4">
                  <c:v>1750</c:v>
                </c:pt>
                <c:pt idx="5">
                  <c:v>1900</c:v>
                </c:pt>
                <c:pt idx="6">
                  <c:v>1950</c:v>
                </c:pt>
                <c:pt idx="7">
                  <c:v>#N/A</c:v>
                </c:pt>
                <c:pt idx="8">
                  <c:v>#N/A</c:v>
                </c:pt>
                <c:pt idx="9">
                  <c:v>2100</c:v>
                </c:pt>
                <c:pt idx="10">
                  <c:v>2100</c:v>
                </c:pt>
                <c:pt idx="11">
                  <c:v>2100</c:v>
                </c:pt>
                <c:pt idx="12">
                  <c:v>2150</c:v>
                </c:pt>
                <c:pt idx="13">
                  <c:v>2150</c:v>
                </c:pt>
                <c:pt idx="14">
                  <c:v>#N/A</c:v>
                </c:pt>
                <c:pt idx="15">
                  <c:v>#N/A</c:v>
                </c:pt>
                <c:pt idx="16">
                  <c:v>2150</c:v>
                </c:pt>
                <c:pt idx="17">
                  <c:v>2150</c:v>
                </c:pt>
                <c:pt idx="18">
                  <c:v>2150</c:v>
                </c:pt>
                <c:pt idx="19">
                  <c:v>2150</c:v>
                </c:pt>
                <c:pt idx="20">
                  <c:v>2150</c:v>
                </c:pt>
                <c:pt idx="21">
                  <c:v>#N/A</c:v>
                </c:pt>
                <c:pt idx="22">
                  <c:v>#N/A</c:v>
                </c:pt>
                <c:pt idx="23">
                  <c:v>2150</c:v>
                </c:pt>
                <c:pt idx="24">
                  <c:v>2150</c:v>
                </c:pt>
                <c:pt idx="25">
                  <c:v>2150</c:v>
                </c:pt>
                <c:pt idx="26">
                  <c:v>2150</c:v>
                </c:pt>
                <c:pt idx="27">
                  <c:v>2150</c:v>
                </c:pt>
                <c:pt idx="28">
                  <c:v>#N/A</c:v>
                </c:pt>
                <c:pt idx="29">
                  <c:v>#N/A</c:v>
                </c:pt>
                <c:pt idx="30">
                  <c:v>#N/A</c:v>
                </c:pt>
                <c:pt idx="31">
                  <c:v>#N/A</c:v>
                </c:pt>
                <c:pt idx="32">
                  <c:v>#N/A</c:v>
                </c:pt>
                <c:pt idx="33">
                  <c:v>#N/A</c:v>
                </c:pt>
                <c:pt idx="34">
                  <c:v>#N/A</c:v>
                </c:pt>
                <c:pt idx="35">
                  <c:v>#N/A</c:v>
                </c:pt>
                <c:pt idx="36">
                  <c:v>#N/A</c:v>
                </c:pt>
                <c:pt idx="37">
                  <c:v>2150</c:v>
                </c:pt>
                <c:pt idx="38">
                  <c:v>2150</c:v>
                </c:pt>
                <c:pt idx="39">
                  <c:v>2150</c:v>
                </c:pt>
                <c:pt idx="40">
                  <c:v>2150</c:v>
                </c:pt>
                <c:pt idx="41">
                  <c:v>2100</c:v>
                </c:pt>
                <c:pt idx="42">
                  <c:v>#N/A</c:v>
                </c:pt>
                <c:pt idx="43">
                  <c:v>#N/A</c:v>
                </c:pt>
                <c:pt idx="44">
                  <c:v>2050</c:v>
                </c:pt>
                <c:pt idx="45">
                  <c:v>1950</c:v>
                </c:pt>
                <c:pt idx="46">
                  <c:v>2100</c:v>
                </c:pt>
                <c:pt idx="47">
                  <c:v>2100</c:v>
                </c:pt>
                <c:pt idx="48">
                  <c:v>1900</c:v>
                </c:pt>
                <c:pt idx="49">
                  <c:v>#N/A</c:v>
                </c:pt>
                <c:pt idx="50">
                  <c:v>#N/A</c:v>
                </c:pt>
                <c:pt idx="51">
                  <c:v>1850</c:v>
                </c:pt>
                <c:pt idx="52">
                  <c:v>1950</c:v>
                </c:pt>
                <c:pt idx="53">
                  <c:v>1900</c:v>
                </c:pt>
                <c:pt idx="54">
                  <c:v>1900</c:v>
                </c:pt>
                <c:pt idx="55">
                  <c:v>1550</c:v>
                </c:pt>
                <c:pt idx="56">
                  <c:v>#N/A</c:v>
                </c:pt>
                <c:pt idx="57">
                  <c:v>#N/A</c:v>
                </c:pt>
                <c:pt idx="58">
                  <c:v>1550</c:v>
                </c:pt>
                <c:pt idx="60">
                  <c:v>1450</c:v>
                </c:pt>
                <c:pt idx="61">
                  <c:v>1500</c:v>
                </c:pt>
                <c:pt idx="62">
                  <c:v>1550</c:v>
                </c:pt>
                <c:pt idx="63">
                  <c:v>1550</c:v>
                </c:pt>
                <c:pt idx="64">
                  <c:v>#N/A</c:v>
                </c:pt>
                <c:pt idx="65">
                  <c:v>#N/A</c:v>
                </c:pt>
                <c:pt idx="66">
                  <c:v>1750</c:v>
                </c:pt>
                <c:pt idx="67">
                  <c:v>1800</c:v>
                </c:pt>
                <c:pt idx="68">
                  <c:v>1950</c:v>
                </c:pt>
                <c:pt idx="69">
                  <c:v>1950</c:v>
                </c:pt>
                <c:pt idx="70">
                  <c:v>1950</c:v>
                </c:pt>
                <c:pt idx="71">
                  <c:v>#N/A</c:v>
                </c:pt>
                <c:pt idx="72">
                  <c:v>#N/A</c:v>
                </c:pt>
                <c:pt idx="73">
                  <c:v>1950</c:v>
                </c:pt>
                <c:pt idx="74">
                  <c:v>1950</c:v>
                </c:pt>
                <c:pt idx="75">
                  <c:v>2150</c:v>
                </c:pt>
                <c:pt idx="76">
                  <c:v>2400</c:v>
                </c:pt>
                <c:pt idx="77">
                  <c:v>2400</c:v>
                </c:pt>
                <c:pt idx="78">
                  <c:v>#N/A</c:v>
                </c:pt>
                <c:pt idx="79">
                  <c:v>#N/A</c:v>
                </c:pt>
                <c:pt idx="80">
                  <c:v>2400</c:v>
                </c:pt>
                <c:pt idx="81">
                  <c:v>2600</c:v>
                </c:pt>
                <c:pt idx="82">
                  <c:v>2500</c:v>
                </c:pt>
                <c:pt idx="83">
                  <c:v>2350</c:v>
                </c:pt>
                <c:pt idx="84">
                  <c:v>2400</c:v>
                </c:pt>
                <c:pt idx="85">
                  <c:v>#N/A</c:v>
                </c:pt>
                <c:pt idx="86">
                  <c:v>#N/A</c:v>
                </c:pt>
                <c:pt idx="87">
                  <c:v>2100</c:v>
                </c:pt>
                <c:pt idx="88">
                  <c:v>2050</c:v>
                </c:pt>
                <c:pt idx="89">
                  <c:v>2200</c:v>
                </c:pt>
                <c:pt idx="90">
                  <c:v>2250</c:v>
                </c:pt>
                <c:pt idx="91">
                  <c:v>2400</c:v>
                </c:pt>
                <c:pt idx="92">
                  <c:v>#N/A</c:v>
                </c:pt>
                <c:pt idx="93">
                  <c:v>#N/A</c:v>
                </c:pt>
                <c:pt idx="94">
                  <c:v>#N/A</c:v>
                </c:pt>
                <c:pt idx="95">
                  <c:v>#N/A</c:v>
                </c:pt>
                <c:pt idx="96">
                  <c:v>2550</c:v>
                </c:pt>
                <c:pt idx="97">
                  <c:v>2050</c:v>
                </c:pt>
                <c:pt idx="98">
                  <c:v>2050</c:v>
                </c:pt>
                <c:pt idx="99">
                  <c:v>#N/A</c:v>
                </c:pt>
                <c:pt idx="100">
                  <c:v>#N/A</c:v>
                </c:pt>
                <c:pt idx="101">
                  <c:v>2050</c:v>
                </c:pt>
                <c:pt idx="102">
                  <c:v>1800</c:v>
                </c:pt>
                <c:pt idx="103">
                  <c:v>1800</c:v>
                </c:pt>
                <c:pt idx="104">
                  <c:v>1850</c:v>
                </c:pt>
                <c:pt idx="105">
                  <c:v>1850</c:v>
                </c:pt>
                <c:pt idx="106">
                  <c:v>#N/A</c:v>
                </c:pt>
                <c:pt idx="107">
                  <c:v>#N/A</c:v>
                </c:pt>
                <c:pt idx="108">
                  <c:v>2100</c:v>
                </c:pt>
                <c:pt idx="109">
                  <c:v>1900</c:v>
                </c:pt>
                <c:pt idx="110">
                  <c:v>1900</c:v>
                </c:pt>
                <c:pt idx="111">
                  <c:v>1950</c:v>
                </c:pt>
                <c:pt idx="112">
                  <c:v>1950</c:v>
                </c:pt>
                <c:pt idx="113">
                  <c:v>#N/A</c:v>
                </c:pt>
                <c:pt idx="114">
                  <c:v>#N/A</c:v>
                </c:pt>
                <c:pt idx="115">
                  <c:v>1850</c:v>
                </c:pt>
                <c:pt idx="116">
                  <c:v>1800</c:v>
                </c:pt>
                <c:pt idx="117">
                  <c:v>1850</c:v>
                </c:pt>
                <c:pt idx="118">
                  <c:v>1850</c:v>
                </c:pt>
                <c:pt idx="119">
                  <c:v>1850</c:v>
                </c:pt>
                <c:pt idx="120">
                  <c:v>#N/A</c:v>
                </c:pt>
                <c:pt idx="121">
                  <c:v>#N/A</c:v>
                </c:pt>
                <c:pt idx="122">
                  <c:v>#N/A</c:v>
                </c:pt>
                <c:pt idx="123">
                  <c:v>#N/A</c:v>
                </c:pt>
                <c:pt idx="124">
                  <c:v>#N/A</c:v>
                </c:pt>
                <c:pt idx="125">
                  <c:v>1850</c:v>
                </c:pt>
                <c:pt idx="126">
                  <c:v>1900</c:v>
                </c:pt>
                <c:pt idx="127">
                  <c:v>#N/A</c:v>
                </c:pt>
                <c:pt idx="128">
                  <c:v>#N/A</c:v>
                </c:pt>
                <c:pt idx="129">
                  <c:v>1950</c:v>
                </c:pt>
                <c:pt idx="130">
                  <c:v>1850</c:v>
                </c:pt>
                <c:pt idx="131">
                  <c:v>1850</c:v>
                </c:pt>
                <c:pt idx="132">
                  <c:v>2000</c:v>
                </c:pt>
                <c:pt idx="133">
                  <c:v>2050</c:v>
                </c:pt>
                <c:pt idx="134">
                  <c:v>#N/A</c:v>
                </c:pt>
                <c:pt idx="135">
                  <c:v>#N/A</c:v>
                </c:pt>
                <c:pt idx="136">
                  <c:v>2050</c:v>
                </c:pt>
                <c:pt idx="137">
                  <c:v>2700</c:v>
                </c:pt>
                <c:pt idx="138">
                  <c:v>2450</c:v>
                </c:pt>
                <c:pt idx="139">
                  <c:v>2350</c:v>
                </c:pt>
                <c:pt idx="140">
                  <c:v>2250</c:v>
                </c:pt>
                <c:pt idx="141">
                  <c:v>#N/A</c:v>
                </c:pt>
                <c:pt idx="142">
                  <c:v>#N/A</c:v>
                </c:pt>
                <c:pt idx="143">
                  <c:v>2200</c:v>
                </c:pt>
                <c:pt idx="144">
                  <c:v>1950</c:v>
                </c:pt>
                <c:pt idx="145">
                  <c:v>2200</c:v>
                </c:pt>
                <c:pt idx="146">
                  <c:v>2250</c:v>
                </c:pt>
                <c:pt idx="147">
                  <c:v>2400</c:v>
                </c:pt>
                <c:pt idx="148">
                  <c:v>#N/A</c:v>
                </c:pt>
                <c:pt idx="149">
                  <c:v>#N/A</c:v>
                </c:pt>
                <c:pt idx="150">
                  <c:v>2250</c:v>
                </c:pt>
                <c:pt idx="151">
                  <c:v>2100</c:v>
                </c:pt>
                <c:pt idx="152">
                  <c:v>1950</c:v>
                </c:pt>
                <c:pt idx="153">
                  <c:v>1950</c:v>
                </c:pt>
                <c:pt idx="154">
                  <c:v>#N/A</c:v>
                </c:pt>
                <c:pt idx="155">
                  <c:v>#N/A</c:v>
                </c:pt>
                <c:pt idx="156">
                  <c:v>#N/A</c:v>
                </c:pt>
                <c:pt idx="157">
                  <c:v>1950</c:v>
                </c:pt>
                <c:pt idx="158">
                  <c:v>1950</c:v>
                </c:pt>
                <c:pt idx="159">
                  <c:v>1950</c:v>
                </c:pt>
                <c:pt idx="160">
                  <c:v>1750</c:v>
                </c:pt>
                <c:pt idx="161">
                  <c:v>1750</c:v>
                </c:pt>
                <c:pt idx="162">
                  <c:v>#N/A</c:v>
                </c:pt>
                <c:pt idx="163">
                  <c:v>#N/A</c:v>
                </c:pt>
                <c:pt idx="164">
                  <c:v>1700</c:v>
                </c:pt>
                <c:pt idx="165">
                  <c:v>1500</c:v>
                </c:pt>
                <c:pt idx="166">
                  <c:v>1250</c:v>
                </c:pt>
                <c:pt idx="167">
                  <c:v>1100</c:v>
                </c:pt>
                <c:pt idx="168">
                  <c:v>1100</c:v>
                </c:pt>
                <c:pt idx="169">
                  <c:v>#N/A</c:v>
                </c:pt>
                <c:pt idx="170">
                  <c:v>#N/A</c:v>
                </c:pt>
                <c:pt idx="171">
                  <c:v>1250</c:v>
                </c:pt>
                <c:pt idx="172">
                  <c:v>1250</c:v>
                </c:pt>
                <c:pt idx="173">
                  <c:v>1250</c:v>
                </c:pt>
                <c:pt idx="174">
                  <c:v>1250</c:v>
                </c:pt>
                <c:pt idx="175">
                  <c:v>1350</c:v>
                </c:pt>
                <c:pt idx="176">
                  <c:v>#N/A</c:v>
                </c:pt>
                <c:pt idx="177">
                  <c:v>#N/A</c:v>
                </c:pt>
                <c:pt idx="178">
                  <c:v>1200</c:v>
                </c:pt>
                <c:pt idx="179">
                  <c:v>1300</c:v>
                </c:pt>
                <c:pt idx="180">
                  <c:v>1350</c:v>
                </c:pt>
                <c:pt idx="181">
                  <c:v>1350</c:v>
                </c:pt>
                <c:pt idx="182">
                  <c:v>1400</c:v>
                </c:pt>
                <c:pt idx="183">
                  <c:v>#N/A</c:v>
                </c:pt>
                <c:pt idx="184">
                  <c:v>#N/A</c:v>
                </c:pt>
                <c:pt idx="185">
                  <c:v>1400</c:v>
                </c:pt>
                <c:pt idx="186">
                  <c:v>1400</c:v>
                </c:pt>
                <c:pt idx="187">
                  <c:v>1400</c:v>
                </c:pt>
                <c:pt idx="188">
                  <c:v>1400</c:v>
                </c:pt>
                <c:pt idx="189">
                  <c:v>1250</c:v>
                </c:pt>
                <c:pt idx="190">
                  <c:v>#N/A</c:v>
                </c:pt>
                <c:pt idx="191">
                  <c:v>#N/A</c:v>
                </c:pt>
                <c:pt idx="192">
                  <c:v>1200</c:v>
                </c:pt>
                <c:pt idx="193">
                  <c:v>950</c:v>
                </c:pt>
                <c:pt idx="194">
                  <c:v>900</c:v>
                </c:pt>
                <c:pt idx="195">
                  <c:v>900</c:v>
                </c:pt>
                <c:pt idx="196">
                  <c:v>850</c:v>
                </c:pt>
                <c:pt idx="197">
                  <c:v>#N/A</c:v>
                </c:pt>
                <c:pt idx="198">
                  <c:v>#N/A</c:v>
                </c:pt>
                <c:pt idx="199">
                  <c:v>750</c:v>
                </c:pt>
                <c:pt idx="200">
                  <c:v>750</c:v>
                </c:pt>
                <c:pt idx="201">
                  <c:v>750</c:v>
                </c:pt>
                <c:pt idx="202">
                  <c:v>750</c:v>
                </c:pt>
                <c:pt idx="203">
                  <c:v>750</c:v>
                </c:pt>
                <c:pt idx="204">
                  <c:v>#N/A</c:v>
                </c:pt>
                <c:pt idx="205">
                  <c:v>#N/A</c:v>
                </c:pt>
                <c:pt idx="206">
                  <c:v>750</c:v>
                </c:pt>
                <c:pt idx="207">
                  <c:v>950</c:v>
                </c:pt>
                <c:pt idx="208">
                  <c:v>950</c:v>
                </c:pt>
                <c:pt idx="209">
                  <c:v>950</c:v>
                </c:pt>
                <c:pt idx="210">
                  <c:v>1000</c:v>
                </c:pt>
                <c:pt idx="211">
                  <c:v>#N/A</c:v>
                </c:pt>
                <c:pt idx="212">
                  <c:v>#N/A</c:v>
                </c:pt>
                <c:pt idx="213">
                  <c:v>1000</c:v>
                </c:pt>
                <c:pt idx="214">
                  <c:v>1000</c:v>
                </c:pt>
                <c:pt idx="215">
                  <c:v>900</c:v>
                </c:pt>
                <c:pt idx="216">
                  <c:v>900</c:v>
                </c:pt>
                <c:pt idx="217">
                  <c:v>800</c:v>
                </c:pt>
                <c:pt idx="218">
                  <c:v>#N/A</c:v>
                </c:pt>
                <c:pt idx="219">
                  <c:v>#N/A</c:v>
                </c:pt>
                <c:pt idx="220">
                  <c:v>750</c:v>
                </c:pt>
                <c:pt idx="221">
                  <c:v>750</c:v>
                </c:pt>
                <c:pt idx="222">
                  <c:v>750</c:v>
                </c:pt>
                <c:pt idx="223">
                  <c:v>750</c:v>
                </c:pt>
                <c:pt idx="224">
                  <c:v>700</c:v>
                </c:pt>
                <c:pt idx="225">
                  <c:v>#N/A</c:v>
                </c:pt>
                <c:pt idx="226">
                  <c:v>#N/A</c:v>
                </c:pt>
                <c:pt idx="227">
                  <c:v>750</c:v>
                </c:pt>
                <c:pt idx="228">
                  <c:v>850</c:v>
                </c:pt>
                <c:pt idx="229">
                  <c:v>750</c:v>
                </c:pt>
                <c:pt idx="230">
                  <c:v>850</c:v>
                </c:pt>
                <c:pt idx="231">
                  <c:v>850</c:v>
                </c:pt>
                <c:pt idx="232">
                  <c:v>#N/A</c:v>
                </c:pt>
                <c:pt idx="233">
                  <c:v>#N/A</c:v>
                </c:pt>
                <c:pt idx="234">
                  <c:v>850</c:v>
                </c:pt>
                <c:pt idx="235">
                  <c:v>850</c:v>
                </c:pt>
                <c:pt idx="236">
                  <c:v>1000</c:v>
                </c:pt>
                <c:pt idx="237">
                  <c:v>1100</c:v>
                </c:pt>
                <c:pt idx="238">
                  <c:v>1250</c:v>
                </c:pt>
                <c:pt idx="239">
                  <c:v>#N/A</c:v>
                </c:pt>
                <c:pt idx="240">
                  <c:v>#N/A</c:v>
                </c:pt>
                <c:pt idx="241">
                  <c:v>1200</c:v>
                </c:pt>
                <c:pt idx="242">
                  <c:v>1000</c:v>
                </c:pt>
                <c:pt idx="243">
                  <c:v>850</c:v>
                </c:pt>
                <c:pt idx="244">
                  <c:v>650</c:v>
                </c:pt>
                <c:pt idx="245">
                  <c:v>600</c:v>
                </c:pt>
                <c:pt idx="246">
                  <c:v>#N/A</c:v>
                </c:pt>
                <c:pt idx="247">
                  <c:v>#N/A</c:v>
                </c:pt>
                <c:pt idx="248">
                  <c:v>550</c:v>
                </c:pt>
                <c:pt idx="249">
                  <c:v>550</c:v>
                </c:pt>
                <c:pt idx="250">
                  <c:v>450</c:v>
                </c:pt>
                <c:pt idx="251">
                  <c:v>450</c:v>
                </c:pt>
                <c:pt idx="252">
                  <c:v>450</c:v>
                </c:pt>
                <c:pt idx="253">
                  <c:v>#N/A</c:v>
                </c:pt>
                <c:pt idx="254">
                  <c:v>#N/A</c:v>
                </c:pt>
                <c:pt idx="255">
                  <c:v>#N/A</c:v>
                </c:pt>
                <c:pt idx="256">
                  <c:v>450</c:v>
                </c:pt>
                <c:pt idx="257">
                  <c:v>500</c:v>
                </c:pt>
                <c:pt idx="258">
                  <c:v>600</c:v>
                </c:pt>
                <c:pt idx="259">
                  <c:v>600</c:v>
                </c:pt>
                <c:pt idx="260">
                  <c:v>#N/A</c:v>
                </c:pt>
                <c:pt idx="261">
                  <c:v>#N/A</c:v>
                </c:pt>
                <c:pt idx="262">
                  <c:v>600</c:v>
                </c:pt>
                <c:pt idx="263">
                  <c:v>500</c:v>
                </c:pt>
                <c:pt idx="264">
                  <c:v>500</c:v>
                </c:pt>
                <c:pt idx="265">
                  <c:v>600</c:v>
                </c:pt>
                <c:pt idx="266">
                  <c:v>600</c:v>
                </c:pt>
                <c:pt idx="267">
                  <c:v>#N/A</c:v>
                </c:pt>
                <c:pt idx="268">
                  <c:v>#N/A</c:v>
                </c:pt>
                <c:pt idx="269">
                  <c:v>600</c:v>
                </c:pt>
                <c:pt idx="270">
                  <c:v>650</c:v>
                </c:pt>
                <c:pt idx="271">
                  <c:v>650</c:v>
                </c:pt>
                <c:pt idx="272">
                  <c:v>650</c:v>
                </c:pt>
                <c:pt idx="273">
                  <c:v>650</c:v>
                </c:pt>
                <c:pt idx="274">
                  <c:v>#N/A</c:v>
                </c:pt>
                <c:pt idx="275">
                  <c:v>#N/A</c:v>
                </c:pt>
                <c:pt idx="276">
                  <c:v>#N/A</c:v>
                </c:pt>
                <c:pt idx="277">
                  <c:v>#N/A</c:v>
                </c:pt>
                <c:pt idx="278">
                  <c:v>#N/A</c:v>
                </c:pt>
                <c:pt idx="279">
                  <c:v>#N/A</c:v>
                </c:pt>
                <c:pt idx="280">
                  <c:v>#N/A</c:v>
                </c:pt>
                <c:pt idx="281">
                  <c:v>#N/A</c:v>
                </c:pt>
                <c:pt idx="282">
                  <c:v>#N/A</c:v>
                </c:pt>
                <c:pt idx="283">
                  <c:v>1000</c:v>
                </c:pt>
                <c:pt idx="284">
                  <c:v>1000</c:v>
                </c:pt>
                <c:pt idx="285">
                  <c:v>750</c:v>
                </c:pt>
                <c:pt idx="286">
                  <c:v>650</c:v>
                </c:pt>
                <c:pt idx="287">
                  <c:v>600</c:v>
                </c:pt>
                <c:pt idx="288">
                  <c:v>#N/A</c:v>
                </c:pt>
                <c:pt idx="289">
                  <c:v>#N/A</c:v>
                </c:pt>
                <c:pt idx="290">
                  <c:v>600</c:v>
                </c:pt>
                <c:pt idx="291">
                  <c:v>600</c:v>
                </c:pt>
                <c:pt idx="292">
                  <c:v>600</c:v>
                </c:pt>
                <c:pt idx="293">
                  <c:v>600</c:v>
                </c:pt>
                <c:pt idx="294">
                  <c:v>600</c:v>
                </c:pt>
                <c:pt idx="295">
                  <c:v>#N/A</c:v>
                </c:pt>
                <c:pt idx="296">
                  <c:v>#N/A</c:v>
                </c:pt>
                <c:pt idx="297">
                  <c:v>600</c:v>
                </c:pt>
                <c:pt idx="298">
                  <c:v>600</c:v>
                </c:pt>
                <c:pt idx="299">
                  <c:v>600</c:v>
                </c:pt>
                <c:pt idx="300">
                  <c:v>600</c:v>
                </c:pt>
                <c:pt idx="301">
                  <c:v>600</c:v>
                </c:pt>
                <c:pt idx="302">
                  <c:v>#N/A</c:v>
                </c:pt>
                <c:pt idx="303">
                  <c:v>#N/A</c:v>
                </c:pt>
                <c:pt idx="304">
                  <c:v>750</c:v>
                </c:pt>
                <c:pt idx="305">
                  <c:v>800</c:v>
                </c:pt>
                <c:pt idx="306">
                  <c:v>800</c:v>
                </c:pt>
                <c:pt idx="307">
                  <c:v>900</c:v>
                </c:pt>
                <c:pt idx="308">
                  <c:v>850</c:v>
                </c:pt>
                <c:pt idx="309">
                  <c:v>#N/A</c:v>
                </c:pt>
                <c:pt idx="310">
                  <c:v>#N/A</c:v>
                </c:pt>
                <c:pt idx="311">
                  <c:v>850</c:v>
                </c:pt>
                <c:pt idx="312">
                  <c:v>850</c:v>
                </c:pt>
                <c:pt idx="313">
                  <c:v>850</c:v>
                </c:pt>
                <c:pt idx="314">
                  <c:v>850</c:v>
                </c:pt>
                <c:pt idx="315">
                  <c:v>850</c:v>
                </c:pt>
                <c:pt idx="316">
                  <c:v>#N/A</c:v>
                </c:pt>
                <c:pt idx="317">
                  <c:v>#N/A</c:v>
                </c:pt>
                <c:pt idx="318">
                  <c:v>650</c:v>
                </c:pt>
                <c:pt idx="319">
                  <c:v>600</c:v>
                </c:pt>
                <c:pt idx="320">
                  <c:v>600</c:v>
                </c:pt>
                <c:pt idx="321">
                  <c:v>700</c:v>
                </c:pt>
                <c:pt idx="322">
                  <c:v>650</c:v>
                </c:pt>
                <c:pt idx="323">
                  <c:v>#N/A</c:v>
                </c:pt>
                <c:pt idx="324">
                  <c:v>#N/A</c:v>
                </c:pt>
                <c:pt idx="325">
                  <c:v>650</c:v>
                </c:pt>
                <c:pt idx="326">
                  <c:v>550</c:v>
                </c:pt>
                <c:pt idx="327">
                  <c:v>650</c:v>
                </c:pt>
                <c:pt idx="328">
                  <c:v>650</c:v>
                </c:pt>
                <c:pt idx="329">
                  <c:v>600</c:v>
                </c:pt>
                <c:pt idx="330">
                  <c:v>#N/A</c:v>
                </c:pt>
                <c:pt idx="331">
                  <c:v>#N/A</c:v>
                </c:pt>
                <c:pt idx="332">
                  <c:v>600</c:v>
                </c:pt>
                <c:pt idx="333">
                  <c:v>750</c:v>
                </c:pt>
                <c:pt idx="334">
                  <c:v>900</c:v>
                </c:pt>
                <c:pt idx="335">
                  <c:v>1050</c:v>
                </c:pt>
                <c:pt idx="336">
                  <c:v>1050</c:v>
                </c:pt>
                <c:pt idx="337">
                  <c:v>#N/A</c:v>
                </c:pt>
                <c:pt idx="338">
                  <c:v>#N/A</c:v>
                </c:pt>
                <c:pt idx="339">
                  <c:v>1050</c:v>
                </c:pt>
                <c:pt idx="340">
                  <c:v>1250</c:v>
                </c:pt>
                <c:pt idx="341">
                  <c:v>1250</c:v>
                </c:pt>
                <c:pt idx="342">
                  <c:v>1250</c:v>
                </c:pt>
                <c:pt idx="343">
                  <c:v>1250</c:v>
                </c:pt>
                <c:pt idx="344">
                  <c:v>#N/A</c:v>
                </c:pt>
                <c:pt idx="345">
                  <c:v>#N/A</c:v>
                </c:pt>
                <c:pt idx="346">
                  <c:v>1150</c:v>
                </c:pt>
                <c:pt idx="347">
                  <c:v>1100</c:v>
                </c:pt>
                <c:pt idx="348">
                  <c:v>1100</c:v>
                </c:pt>
                <c:pt idx="349">
                  <c:v>1200</c:v>
                </c:pt>
                <c:pt idx="350">
                  <c:v>1200</c:v>
                </c:pt>
                <c:pt idx="351">
                  <c:v>#N/A</c:v>
                </c:pt>
                <c:pt idx="352">
                  <c:v>#N/A</c:v>
                </c:pt>
                <c:pt idx="353">
                  <c:v>1000</c:v>
                </c:pt>
                <c:pt idx="354">
                  <c:v>1000</c:v>
                </c:pt>
                <c:pt idx="355">
                  <c:v>1050</c:v>
                </c:pt>
                <c:pt idx="356">
                  <c:v>1100</c:v>
                </c:pt>
                <c:pt idx="357">
                  <c:v>1050</c:v>
                </c:pt>
                <c:pt idx="358">
                  <c:v>#N/A</c:v>
                </c:pt>
                <c:pt idx="359">
                  <c:v>#N/A</c:v>
                </c:pt>
                <c:pt idx="360">
                  <c:v>1050</c:v>
                </c:pt>
                <c:pt idx="361">
                  <c:v>1150</c:v>
                </c:pt>
                <c:pt idx="362">
                  <c:v>1150</c:v>
                </c:pt>
                <c:pt idx="363">
                  <c:v>1150</c:v>
                </c:pt>
                <c:pt idx="364">
                  <c:v>1100</c:v>
                </c:pt>
                <c:pt idx="365">
                  <c:v>#N/A</c:v>
                </c:pt>
              </c:numCache>
            </c:numRef>
          </c:val>
          <c:smooth val="0"/>
          <c:extLst>
            <c:ext xmlns:c16="http://schemas.microsoft.com/office/drawing/2014/chart" uri="{C3380CC4-5D6E-409C-BE32-E72D297353CC}">
              <c16:uniqueId val="{00000002-2EF3-4668-8D78-A3D4AFB71722}"/>
            </c:ext>
          </c:extLst>
        </c:ser>
        <c:ser>
          <c:idx val="8"/>
          <c:order val="3"/>
          <c:tx>
            <c:strRef>
              <c:f>现货价差!$AR$4</c:f>
              <c:strCache>
                <c:ptCount val="1"/>
                <c:pt idx="0">
                  <c:v>2023</c:v>
                </c:pt>
              </c:strCache>
            </c:strRef>
          </c:tx>
          <c:spPr>
            <a:ln w="19050">
              <a:solidFill>
                <a:schemeClr val="accent4">
                  <a:lumMod val="75000"/>
                </a:schemeClr>
              </a:solidFill>
            </a:ln>
          </c:spPr>
          <c:marker>
            <c:symbol val="none"/>
          </c:marker>
          <c:cat>
            <c:strRef>
              <c:f>现货价差!$AL$5:$AL$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R$5:$AR$370</c:f>
              <c:numCache>
                <c:formatCode>General</c:formatCode>
                <c:ptCount val="366"/>
                <c:pt idx="0">
                  <c:v>#N/A</c:v>
                </c:pt>
                <c:pt idx="1">
                  <c:v>#N/A</c:v>
                </c:pt>
                <c:pt idx="2">
                  <c:v>1100</c:v>
                </c:pt>
                <c:pt idx="3">
                  <c:v>1250</c:v>
                </c:pt>
                <c:pt idx="4">
                  <c:v>1300</c:v>
                </c:pt>
                <c:pt idx="5">
                  <c:v>1300</c:v>
                </c:pt>
                <c:pt idx="6">
                  <c:v>#N/A</c:v>
                </c:pt>
                <c:pt idx="7">
                  <c:v>#N/A</c:v>
                </c:pt>
                <c:pt idx="8">
                  <c:v>1300</c:v>
                </c:pt>
                <c:pt idx="9">
                  <c:v>1300</c:v>
                </c:pt>
                <c:pt idx="10">
                  <c:v>1300</c:v>
                </c:pt>
                <c:pt idx="11">
                  <c:v>1300</c:v>
                </c:pt>
                <c:pt idx="12">
                  <c:v>1350</c:v>
                </c:pt>
                <c:pt idx="13">
                  <c:v>#N/A</c:v>
                </c:pt>
                <c:pt idx="14">
                  <c:v>#N/A</c:v>
                </c:pt>
                <c:pt idx="15">
                  <c:v>1350</c:v>
                </c:pt>
                <c:pt idx="16">
                  <c:v>1350</c:v>
                </c:pt>
                <c:pt idx="17">
                  <c:v>1350</c:v>
                </c:pt>
                <c:pt idx="18">
                  <c:v>1350</c:v>
                </c:pt>
                <c:pt idx="19">
                  <c:v>1350</c:v>
                </c:pt>
                <c:pt idx="20">
                  <c:v>#N/A</c:v>
                </c:pt>
                <c:pt idx="21">
                  <c:v>#N/A</c:v>
                </c:pt>
                <c:pt idx="22">
                  <c:v>#N/A</c:v>
                </c:pt>
                <c:pt idx="23">
                  <c:v>#N/A</c:v>
                </c:pt>
                <c:pt idx="24">
                  <c:v>#N/A</c:v>
                </c:pt>
                <c:pt idx="25">
                  <c:v>#N/A</c:v>
                </c:pt>
                <c:pt idx="26">
                  <c:v>#N/A</c:v>
                </c:pt>
                <c:pt idx="27">
                  <c:v>#N/A</c:v>
                </c:pt>
                <c:pt idx="28">
                  <c:v>#N/A</c:v>
                </c:pt>
                <c:pt idx="29">
                  <c:v>1550</c:v>
                </c:pt>
                <c:pt idx="30">
                  <c:v>1600</c:v>
                </c:pt>
                <c:pt idx="31">
                  <c:v>1750</c:v>
                </c:pt>
                <c:pt idx="32">
                  <c:v>1900</c:v>
                </c:pt>
                <c:pt idx="33">
                  <c:v>1850</c:v>
                </c:pt>
                <c:pt idx="34">
                  <c:v>#N/A</c:v>
                </c:pt>
                <c:pt idx="35">
                  <c:v>#N/A</c:v>
                </c:pt>
                <c:pt idx="36">
                  <c:v>1850</c:v>
                </c:pt>
                <c:pt idx="37">
                  <c:v>1750</c:v>
                </c:pt>
                <c:pt idx="38">
                  <c:v>1750</c:v>
                </c:pt>
                <c:pt idx="39">
                  <c:v>1650</c:v>
                </c:pt>
                <c:pt idx="40">
                  <c:v>1500</c:v>
                </c:pt>
                <c:pt idx="41">
                  <c:v>#N/A</c:v>
                </c:pt>
                <c:pt idx="42">
                  <c:v>#N/A</c:v>
                </c:pt>
                <c:pt idx="43">
                  <c:v>1350</c:v>
                </c:pt>
                <c:pt idx="44">
                  <c:v>1300</c:v>
                </c:pt>
                <c:pt idx="45">
                  <c:v>1300</c:v>
                </c:pt>
                <c:pt idx="46">
                  <c:v>1300</c:v>
                </c:pt>
                <c:pt idx="47">
                  <c:v>1300</c:v>
                </c:pt>
                <c:pt idx="48">
                  <c:v>#N/A</c:v>
                </c:pt>
                <c:pt idx="49">
                  <c:v>#N/A</c:v>
                </c:pt>
                <c:pt idx="50">
                  <c:v>1300</c:v>
                </c:pt>
                <c:pt idx="51">
                  <c:v>1300</c:v>
                </c:pt>
                <c:pt idx="52">
                  <c:v>1300</c:v>
                </c:pt>
                <c:pt idx="53">
                  <c:v>1300</c:v>
                </c:pt>
                <c:pt idx="54">
                  <c:v>1300</c:v>
                </c:pt>
                <c:pt idx="55">
                  <c:v>#N/A</c:v>
                </c:pt>
                <c:pt idx="56">
                  <c:v>#N/A</c:v>
                </c:pt>
                <c:pt idx="57">
                  <c:v>1300</c:v>
                </c:pt>
                <c:pt idx="58">
                  <c:v>1350</c:v>
                </c:pt>
                <c:pt idx="60">
                  <c:v>1450</c:v>
                </c:pt>
                <c:pt idx="61">
                  <c:v>1400</c:v>
                </c:pt>
                <c:pt idx="62">
                  <c:v>1300</c:v>
                </c:pt>
                <c:pt idx="63">
                  <c:v>#N/A</c:v>
                </c:pt>
                <c:pt idx="64">
                  <c:v>#N/A</c:v>
                </c:pt>
                <c:pt idx="65">
                  <c:v>1400</c:v>
                </c:pt>
                <c:pt idx="66">
                  <c:v>1400</c:v>
                </c:pt>
                <c:pt idx="67">
                  <c:v>1400</c:v>
                </c:pt>
                <c:pt idx="68">
                  <c:v>1400</c:v>
                </c:pt>
                <c:pt idx="69">
                  <c:v>1350</c:v>
                </c:pt>
                <c:pt idx="70">
                  <c:v>#N/A</c:v>
                </c:pt>
                <c:pt idx="71">
                  <c:v>#N/A</c:v>
                </c:pt>
                <c:pt idx="72">
                  <c:v>1400</c:v>
                </c:pt>
                <c:pt idx="73">
                  <c:v>1250</c:v>
                </c:pt>
                <c:pt idx="74">
                  <c:v>1150</c:v>
                </c:pt>
                <c:pt idx="75">
                  <c:v>900</c:v>
                </c:pt>
                <c:pt idx="76">
                  <c:v>850</c:v>
                </c:pt>
                <c:pt idx="77">
                  <c:v>#N/A</c:v>
                </c:pt>
                <c:pt idx="78">
                  <c:v>#N/A</c:v>
                </c:pt>
                <c:pt idx="79">
                  <c:v>850</c:v>
                </c:pt>
                <c:pt idx="80">
                  <c:v>900</c:v>
                </c:pt>
                <c:pt idx="81">
                  <c:v>1000</c:v>
                </c:pt>
                <c:pt idx="82">
                  <c:v>1100</c:v>
                </c:pt>
                <c:pt idx="83">
                  <c:v>1150</c:v>
                </c:pt>
                <c:pt idx="84">
                  <c:v>#N/A</c:v>
                </c:pt>
                <c:pt idx="85">
                  <c:v>#N/A</c:v>
                </c:pt>
                <c:pt idx="86">
                  <c:v>1150</c:v>
                </c:pt>
                <c:pt idx="87">
                  <c:v>1150</c:v>
                </c:pt>
                <c:pt idx="88">
                  <c:v>1150</c:v>
                </c:pt>
                <c:pt idx="89">
                  <c:v>1150</c:v>
                </c:pt>
                <c:pt idx="90">
                  <c:v>1050</c:v>
                </c:pt>
                <c:pt idx="91">
                  <c:v>#N/A</c:v>
                </c:pt>
                <c:pt idx="92">
                  <c:v>#N/A</c:v>
                </c:pt>
                <c:pt idx="93">
                  <c:v>1050</c:v>
                </c:pt>
                <c:pt idx="94">
                  <c:v>850</c:v>
                </c:pt>
                <c:pt idx="95">
                  <c:v>#N/A</c:v>
                </c:pt>
                <c:pt idx="96">
                  <c:v>950</c:v>
                </c:pt>
                <c:pt idx="97">
                  <c:v>1150</c:v>
                </c:pt>
                <c:pt idx="98">
                  <c:v>#N/A</c:v>
                </c:pt>
                <c:pt idx="99">
                  <c:v>#N/A</c:v>
                </c:pt>
                <c:pt idx="100">
                  <c:v>1200</c:v>
                </c:pt>
                <c:pt idx="101">
                  <c:v>1150</c:v>
                </c:pt>
                <c:pt idx="102">
                  <c:v>1150</c:v>
                </c:pt>
                <c:pt idx="103">
                  <c:v>1150</c:v>
                </c:pt>
                <c:pt idx="104">
                  <c:v>1150</c:v>
                </c:pt>
                <c:pt idx="105">
                  <c:v>#N/A</c:v>
                </c:pt>
                <c:pt idx="106">
                  <c:v>#N/A</c:v>
                </c:pt>
                <c:pt idx="107">
                  <c:v>1150</c:v>
                </c:pt>
                <c:pt idx="108">
                  <c:v>1150</c:v>
                </c:pt>
                <c:pt idx="109">
                  <c:v>1150</c:v>
                </c:pt>
                <c:pt idx="110">
                  <c:v>1300</c:v>
                </c:pt>
                <c:pt idx="111">
                  <c:v>1300</c:v>
                </c:pt>
                <c:pt idx="112">
                  <c:v>#N/A</c:v>
                </c:pt>
                <c:pt idx="113">
                  <c:v>#N/A</c:v>
                </c:pt>
                <c:pt idx="114">
                  <c:v>1250</c:v>
                </c:pt>
                <c:pt idx="115">
                  <c:v>1250</c:v>
                </c:pt>
                <c:pt idx="116">
                  <c:v>1250</c:v>
                </c:pt>
                <c:pt idx="117">
                  <c:v>1250</c:v>
                </c:pt>
                <c:pt idx="118">
                  <c:v>1250</c:v>
                </c:pt>
                <c:pt idx="119">
                  <c:v>#N/A</c:v>
                </c:pt>
                <c:pt idx="120">
                  <c:v>#N/A</c:v>
                </c:pt>
                <c:pt idx="121">
                  <c:v>#N/A</c:v>
                </c:pt>
                <c:pt idx="122">
                  <c:v>#N/A</c:v>
                </c:pt>
                <c:pt idx="123">
                  <c:v>#N/A</c:v>
                </c:pt>
                <c:pt idx="124">
                  <c:v>1250</c:v>
                </c:pt>
                <c:pt idx="125">
                  <c:v>1300</c:v>
                </c:pt>
                <c:pt idx="126">
                  <c:v>#N/A</c:v>
                </c:pt>
                <c:pt idx="127">
                  <c:v>#N/A</c:v>
                </c:pt>
                <c:pt idx="128">
                  <c:v>1400</c:v>
                </c:pt>
                <c:pt idx="129">
                  <c:v>1500</c:v>
                </c:pt>
                <c:pt idx="130">
                  <c:v>1500</c:v>
                </c:pt>
                <c:pt idx="131">
                  <c:v>1550</c:v>
                </c:pt>
                <c:pt idx="132">
                  <c:v>1500</c:v>
                </c:pt>
                <c:pt idx="133">
                  <c:v>#N/A</c:v>
                </c:pt>
                <c:pt idx="134">
                  <c:v>#N/A</c:v>
                </c:pt>
                <c:pt idx="135">
                  <c:v>1500</c:v>
                </c:pt>
                <c:pt idx="136">
                  <c:v>1450</c:v>
                </c:pt>
                <c:pt idx="137">
                  <c:v>1450</c:v>
                </c:pt>
                <c:pt idx="138">
                  <c:v>1500</c:v>
                </c:pt>
                <c:pt idx="139">
                  <c:v>1500</c:v>
                </c:pt>
                <c:pt idx="140">
                  <c:v>#N/A</c:v>
                </c:pt>
                <c:pt idx="141">
                  <c:v>#N/A</c:v>
                </c:pt>
                <c:pt idx="142">
                  <c:v>1450</c:v>
                </c:pt>
                <c:pt idx="143">
                  <c:v>1450</c:v>
                </c:pt>
                <c:pt idx="144">
                  <c:v>1300</c:v>
                </c:pt>
                <c:pt idx="145">
                  <c:v>1250</c:v>
                </c:pt>
                <c:pt idx="146">
                  <c:v>1200</c:v>
                </c:pt>
                <c:pt idx="147">
                  <c:v>#N/A</c:v>
                </c:pt>
                <c:pt idx="148">
                  <c:v>#N/A</c:v>
                </c:pt>
                <c:pt idx="149">
                  <c:v>1150</c:v>
                </c:pt>
                <c:pt idx="150">
                  <c:v>1150</c:v>
                </c:pt>
                <c:pt idx="151">
                  <c:v>1150</c:v>
                </c:pt>
                <c:pt idx="152">
                  <c:v>1150</c:v>
                </c:pt>
                <c:pt idx="153">
                  <c:v>1150</c:v>
                </c:pt>
                <c:pt idx="154">
                  <c:v>#N/A</c:v>
                </c:pt>
                <c:pt idx="155">
                  <c:v>#N/A</c:v>
                </c:pt>
                <c:pt idx="156">
                  <c:v>1150</c:v>
                </c:pt>
                <c:pt idx="157">
                  <c:v>1150</c:v>
                </c:pt>
                <c:pt idx="158">
                  <c:v>1150</c:v>
                </c:pt>
                <c:pt idx="159">
                  <c:v>1150</c:v>
                </c:pt>
                <c:pt idx="160">
                  <c:v>900</c:v>
                </c:pt>
                <c:pt idx="161">
                  <c:v>#N/A</c:v>
                </c:pt>
                <c:pt idx="162">
                  <c:v>#N/A</c:v>
                </c:pt>
                <c:pt idx="163">
                  <c:v>750</c:v>
                </c:pt>
                <c:pt idx="164">
                  <c:v>700</c:v>
                </c:pt>
                <c:pt idx="165">
                  <c:v>750</c:v>
                </c:pt>
                <c:pt idx="166">
                  <c:v>700</c:v>
                </c:pt>
                <c:pt idx="167">
                  <c:v>650</c:v>
                </c:pt>
                <c:pt idx="168">
                  <c:v>#N/A</c:v>
                </c:pt>
                <c:pt idx="169">
                  <c:v>#N/A</c:v>
                </c:pt>
                <c:pt idx="170">
                  <c:v>650</c:v>
                </c:pt>
                <c:pt idx="171">
                  <c:v>650</c:v>
                </c:pt>
                <c:pt idx="172">
                  <c:v>600</c:v>
                </c:pt>
                <c:pt idx="173">
                  <c:v>#N/A</c:v>
                </c:pt>
                <c:pt idx="174">
                  <c:v>#N/A</c:v>
                </c:pt>
                <c:pt idx="175">
                  <c:v>#N/A</c:v>
                </c:pt>
                <c:pt idx="176">
                  <c:v>#N/A</c:v>
                </c:pt>
                <c:pt idx="177">
                  <c:v>750</c:v>
                </c:pt>
                <c:pt idx="178">
                  <c:v>750</c:v>
                </c:pt>
                <c:pt idx="179">
                  <c:v>750</c:v>
                </c:pt>
                <c:pt idx="180">
                  <c:v>750</c:v>
                </c:pt>
                <c:pt idx="181">
                  <c:v>750</c:v>
                </c:pt>
                <c:pt idx="182">
                  <c:v>#N/A</c:v>
                </c:pt>
                <c:pt idx="183">
                  <c:v>#N/A</c:v>
                </c:pt>
                <c:pt idx="184">
                  <c:v>750</c:v>
                </c:pt>
                <c:pt idx="185">
                  <c:v>750</c:v>
                </c:pt>
                <c:pt idx="186">
                  <c:v>800</c:v>
                </c:pt>
                <c:pt idx="187">
                  <c:v>800</c:v>
                </c:pt>
                <c:pt idx="188">
                  <c:v>800</c:v>
                </c:pt>
                <c:pt idx="189">
                  <c:v>#N/A</c:v>
                </c:pt>
                <c:pt idx="190">
                  <c:v>#N/A</c:v>
                </c:pt>
                <c:pt idx="191">
                  <c:v>800</c:v>
                </c:pt>
                <c:pt idx="192">
                  <c:v>950</c:v>
                </c:pt>
                <c:pt idx="193">
                  <c:v>950</c:v>
                </c:pt>
                <c:pt idx="194">
                  <c:v>1300</c:v>
                </c:pt>
                <c:pt idx="195">
                  <c:v>1400</c:v>
                </c:pt>
                <c:pt idx="196">
                  <c:v>#N/A</c:v>
                </c:pt>
                <c:pt idx="197">
                  <c:v>#N/A</c:v>
                </c:pt>
                <c:pt idx="198">
                  <c:v>1400</c:v>
                </c:pt>
                <c:pt idx="199">
                  <c:v>1400</c:v>
                </c:pt>
                <c:pt idx="200">
                  <c:v>1400</c:v>
                </c:pt>
                <c:pt idx="201">
                  <c:v>1400</c:v>
                </c:pt>
                <c:pt idx="202">
                  <c:v>1400</c:v>
                </c:pt>
                <c:pt idx="203">
                  <c:v>#N/A</c:v>
                </c:pt>
                <c:pt idx="204">
                  <c:v>#N/A</c:v>
                </c:pt>
                <c:pt idx="205">
                  <c:v>1400</c:v>
                </c:pt>
                <c:pt idx="206">
                  <c:v>1400</c:v>
                </c:pt>
                <c:pt idx="207">
                  <c:v>1400</c:v>
                </c:pt>
                <c:pt idx="208">
                  <c:v>1400</c:v>
                </c:pt>
                <c:pt idx="209">
                  <c:v>1400</c:v>
                </c:pt>
                <c:pt idx="210">
                  <c:v>#N/A</c:v>
                </c:pt>
                <c:pt idx="211">
                  <c:v>#N/A</c:v>
                </c:pt>
                <c:pt idx="212">
                  <c:v>1400</c:v>
                </c:pt>
                <c:pt idx="213">
                  <c:v>1400</c:v>
                </c:pt>
                <c:pt idx="214">
                  <c:v>1400</c:v>
                </c:pt>
                <c:pt idx="215">
                  <c:v>1400</c:v>
                </c:pt>
                <c:pt idx="216">
                  <c:v>1400</c:v>
                </c:pt>
                <c:pt idx="217">
                  <c:v>#N/A</c:v>
                </c:pt>
                <c:pt idx="218">
                  <c:v>#N/A</c:v>
                </c:pt>
                <c:pt idx="219">
                  <c:v>1400</c:v>
                </c:pt>
                <c:pt idx="220">
                  <c:v>1400</c:v>
                </c:pt>
                <c:pt idx="221">
                  <c:v>1350</c:v>
                </c:pt>
                <c:pt idx="222">
                  <c:v>1000</c:v>
                </c:pt>
                <c:pt idx="223">
                  <c:v>900</c:v>
                </c:pt>
                <c:pt idx="224">
                  <c:v>#N/A</c:v>
                </c:pt>
                <c:pt idx="225">
                  <c:v>#N/A</c:v>
                </c:pt>
                <c:pt idx="226">
                  <c:v>900</c:v>
                </c:pt>
                <c:pt idx="227">
                  <c:v>900</c:v>
                </c:pt>
                <c:pt idx="228">
                  <c:v>900</c:v>
                </c:pt>
                <c:pt idx="229">
                  <c:v>900</c:v>
                </c:pt>
                <c:pt idx="230">
                  <c:v>900</c:v>
                </c:pt>
                <c:pt idx="231">
                  <c:v>#N/A</c:v>
                </c:pt>
                <c:pt idx="232">
                  <c:v>#N/A</c:v>
                </c:pt>
                <c:pt idx="233">
                  <c:v>850</c:v>
                </c:pt>
                <c:pt idx="234">
                  <c:v>950</c:v>
                </c:pt>
                <c:pt idx="235">
                  <c:v>900</c:v>
                </c:pt>
                <c:pt idx="236">
                  <c:v>950</c:v>
                </c:pt>
                <c:pt idx="237">
                  <c:v>1050</c:v>
                </c:pt>
                <c:pt idx="238">
                  <c:v>#N/A</c:v>
                </c:pt>
                <c:pt idx="239">
                  <c:v>#N/A</c:v>
                </c:pt>
                <c:pt idx="240">
                  <c:v>950</c:v>
                </c:pt>
                <c:pt idx="241">
                  <c:v>950</c:v>
                </c:pt>
                <c:pt idx="242">
                  <c:v>950</c:v>
                </c:pt>
                <c:pt idx="243">
                  <c:v>950</c:v>
                </c:pt>
                <c:pt idx="244">
                  <c:v>950</c:v>
                </c:pt>
                <c:pt idx="245">
                  <c:v>#N/A</c:v>
                </c:pt>
                <c:pt idx="246">
                  <c:v>#N/A</c:v>
                </c:pt>
                <c:pt idx="247">
                  <c:v>900</c:v>
                </c:pt>
                <c:pt idx="248">
                  <c:v>850</c:v>
                </c:pt>
                <c:pt idx="249">
                  <c:v>850</c:v>
                </c:pt>
                <c:pt idx="250">
                  <c:v>750</c:v>
                </c:pt>
                <c:pt idx="251">
                  <c:v>750</c:v>
                </c:pt>
                <c:pt idx="252">
                  <c:v>#N/A</c:v>
                </c:pt>
                <c:pt idx="253">
                  <c:v>#N/A</c:v>
                </c:pt>
                <c:pt idx="254">
                  <c:v>750</c:v>
                </c:pt>
                <c:pt idx="255">
                  <c:v>750</c:v>
                </c:pt>
                <c:pt idx="256">
                  <c:v>750</c:v>
                </c:pt>
                <c:pt idx="257">
                  <c:v>700</c:v>
                </c:pt>
                <c:pt idx="258">
                  <c:v>800</c:v>
                </c:pt>
                <c:pt idx="259">
                  <c:v>#N/A</c:v>
                </c:pt>
                <c:pt idx="260">
                  <c:v>#N/A</c:v>
                </c:pt>
                <c:pt idx="261">
                  <c:v>800</c:v>
                </c:pt>
                <c:pt idx="262">
                  <c:v>800</c:v>
                </c:pt>
                <c:pt idx="263">
                  <c:v>800</c:v>
                </c:pt>
                <c:pt idx="264">
                  <c:v>750</c:v>
                </c:pt>
                <c:pt idx="265">
                  <c:v>750</c:v>
                </c:pt>
                <c:pt idx="266">
                  <c:v>#N/A</c:v>
                </c:pt>
                <c:pt idx="267">
                  <c:v>#N/A</c:v>
                </c:pt>
                <c:pt idx="268">
                  <c:v>700</c:v>
                </c:pt>
                <c:pt idx="269">
                  <c:v>700</c:v>
                </c:pt>
                <c:pt idx="270">
                  <c:v>700</c:v>
                </c:pt>
                <c:pt idx="271">
                  <c:v>700</c:v>
                </c:pt>
                <c:pt idx="272">
                  <c:v>#N/A</c:v>
                </c:pt>
                <c:pt idx="273">
                  <c:v>#N/A</c:v>
                </c:pt>
                <c:pt idx="274">
                  <c:v>#N/A</c:v>
                </c:pt>
                <c:pt idx="275">
                  <c:v>#N/A</c:v>
                </c:pt>
                <c:pt idx="276">
                  <c:v>#N/A</c:v>
                </c:pt>
                <c:pt idx="277">
                  <c:v>#N/A</c:v>
                </c:pt>
                <c:pt idx="278">
                  <c:v>#N/A</c:v>
                </c:pt>
                <c:pt idx="279">
                  <c:v>#N/A</c:v>
                </c:pt>
                <c:pt idx="280">
                  <c:v>#N/A</c:v>
                </c:pt>
                <c:pt idx="281">
                  <c:v>#N/A</c:v>
                </c:pt>
                <c:pt idx="282">
                  <c:v>700</c:v>
                </c:pt>
                <c:pt idx="283">
                  <c:v>700</c:v>
                </c:pt>
                <c:pt idx="284">
                  <c:v>700</c:v>
                </c:pt>
                <c:pt idx="285">
                  <c:v>700</c:v>
                </c:pt>
                <c:pt idx="286">
                  <c:v>700</c:v>
                </c:pt>
                <c:pt idx="287">
                  <c:v>#N/A</c:v>
                </c:pt>
                <c:pt idx="288">
                  <c:v>#N/A</c:v>
                </c:pt>
                <c:pt idx="289">
                  <c:v>650</c:v>
                </c:pt>
                <c:pt idx="290">
                  <c:v>650</c:v>
                </c:pt>
                <c:pt idx="291">
                  <c:v>650</c:v>
                </c:pt>
                <c:pt idx="292">
                  <c:v>700</c:v>
                </c:pt>
                <c:pt idx="293">
                  <c:v>700</c:v>
                </c:pt>
                <c:pt idx="294">
                  <c:v>#N/A</c:v>
                </c:pt>
                <c:pt idx="295">
                  <c:v>#N/A</c:v>
                </c:pt>
                <c:pt idx="296">
                  <c:v>700</c:v>
                </c:pt>
                <c:pt idx="297">
                  <c:v>700</c:v>
                </c:pt>
                <c:pt idx="298">
                  <c:v>700</c:v>
                </c:pt>
                <c:pt idx="299">
                  <c:v>750</c:v>
                </c:pt>
                <c:pt idx="300">
                  <c:v>750</c:v>
                </c:pt>
                <c:pt idx="301">
                  <c:v>#N/A</c:v>
                </c:pt>
                <c:pt idx="302">
                  <c:v>#N/A</c:v>
                </c:pt>
                <c:pt idx="303">
                  <c:v>750</c:v>
                </c:pt>
                <c:pt idx="304">
                  <c:v>750</c:v>
                </c:pt>
                <c:pt idx="305">
                  <c:v>650</c:v>
                </c:pt>
                <c:pt idx="306">
                  <c:v>650</c:v>
                </c:pt>
                <c:pt idx="307">
                  <c:v>700</c:v>
                </c:pt>
                <c:pt idx="308">
                  <c:v>#N/A</c:v>
                </c:pt>
                <c:pt idx="309">
                  <c:v>#N/A</c:v>
                </c:pt>
                <c:pt idx="310">
                  <c:v>700</c:v>
                </c:pt>
                <c:pt idx="311">
                  <c:v>700</c:v>
                </c:pt>
                <c:pt idx="312">
                  <c:v>700</c:v>
                </c:pt>
                <c:pt idx="313">
                  <c:v>750</c:v>
                </c:pt>
                <c:pt idx="314">
                  <c:v>800</c:v>
                </c:pt>
                <c:pt idx="315">
                  <c:v>#N/A</c:v>
                </c:pt>
                <c:pt idx="316">
                  <c:v>#N/A</c:v>
                </c:pt>
                <c:pt idx="317">
                  <c:v>850</c:v>
                </c:pt>
                <c:pt idx="318">
                  <c:v>850</c:v>
                </c:pt>
                <c:pt idx="319">
                  <c:v>850</c:v>
                </c:pt>
                <c:pt idx="320">
                  <c:v>950</c:v>
                </c:pt>
                <c:pt idx="321">
                  <c:v>950</c:v>
                </c:pt>
                <c:pt idx="322">
                  <c:v>#N/A</c:v>
                </c:pt>
                <c:pt idx="323">
                  <c:v>#N/A</c:v>
                </c:pt>
                <c:pt idx="324">
                  <c:v>950</c:v>
                </c:pt>
                <c:pt idx="325">
                  <c:v>950</c:v>
                </c:pt>
                <c:pt idx="326">
                  <c:v>950</c:v>
                </c:pt>
                <c:pt idx="327">
                  <c:v>950</c:v>
                </c:pt>
                <c:pt idx="328">
                  <c:v>950</c:v>
                </c:pt>
                <c:pt idx="329">
                  <c:v>#N/A</c:v>
                </c:pt>
                <c:pt idx="330">
                  <c:v>#N/A</c:v>
                </c:pt>
                <c:pt idx="331">
                  <c:v>950</c:v>
                </c:pt>
                <c:pt idx="332">
                  <c:v>950</c:v>
                </c:pt>
                <c:pt idx="333">
                  <c:v>850</c:v>
                </c:pt>
                <c:pt idx="334">
                  <c:v>850</c:v>
                </c:pt>
                <c:pt idx="335">
                  <c:v>850</c:v>
                </c:pt>
                <c:pt idx="336">
                  <c:v>#N/A</c:v>
                </c:pt>
                <c:pt idx="337">
                  <c:v>#N/A</c:v>
                </c:pt>
                <c:pt idx="338">
                  <c:v>850</c:v>
                </c:pt>
                <c:pt idx="339">
                  <c:v>850</c:v>
                </c:pt>
                <c:pt idx="340">
                  <c:v>850</c:v>
                </c:pt>
                <c:pt idx="341">
                  <c:v>850</c:v>
                </c:pt>
                <c:pt idx="342">
                  <c:v>850</c:v>
                </c:pt>
                <c:pt idx="343">
                  <c:v>#N/A</c:v>
                </c:pt>
                <c:pt idx="344">
                  <c:v>#N/A</c:v>
                </c:pt>
                <c:pt idx="345">
                  <c:v>800</c:v>
                </c:pt>
                <c:pt idx="346">
                  <c:v>800</c:v>
                </c:pt>
                <c:pt idx="347">
                  <c:v>700</c:v>
                </c:pt>
                <c:pt idx="348">
                  <c:v>650</c:v>
                </c:pt>
                <c:pt idx="349">
                  <c:v>650</c:v>
                </c:pt>
                <c:pt idx="350">
                  <c:v>#N/A</c:v>
                </c:pt>
                <c:pt idx="351">
                  <c:v>#N/A</c:v>
                </c:pt>
                <c:pt idx="352">
                  <c:v>500</c:v>
                </c:pt>
                <c:pt idx="353">
                  <c:v>400</c:v>
                </c:pt>
                <c:pt idx="354">
                  <c:v>400</c:v>
                </c:pt>
                <c:pt idx="355">
                  <c:v>350</c:v>
                </c:pt>
                <c:pt idx="356">
                  <c:v>350</c:v>
                </c:pt>
                <c:pt idx="357">
                  <c:v>#N/A</c:v>
                </c:pt>
                <c:pt idx="358">
                  <c:v>#N/A</c:v>
                </c:pt>
                <c:pt idx="359">
                  <c:v>300</c:v>
                </c:pt>
                <c:pt idx="360">
                  <c:v>300</c:v>
                </c:pt>
                <c:pt idx="361">
                  <c:v>300</c:v>
                </c:pt>
                <c:pt idx="362">
                  <c:v>250</c:v>
                </c:pt>
                <c:pt idx="363">
                  <c:v>250</c:v>
                </c:pt>
                <c:pt idx="364">
                  <c:v>#N/A</c:v>
                </c:pt>
                <c:pt idx="365">
                  <c:v>#N/A</c:v>
                </c:pt>
              </c:numCache>
            </c:numRef>
          </c:val>
          <c:smooth val="0"/>
          <c:extLst>
            <c:ext xmlns:c16="http://schemas.microsoft.com/office/drawing/2014/chart" uri="{C3380CC4-5D6E-409C-BE32-E72D297353CC}">
              <c16:uniqueId val="{00000003-2EF3-4668-8D78-A3D4AFB71722}"/>
            </c:ext>
          </c:extLst>
        </c:ser>
        <c:ser>
          <c:idx val="9"/>
          <c:order val="4"/>
          <c:tx>
            <c:strRef>
              <c:f>现货价差!$AS$4</c:f>
              <c:strCache>
                <c:ptCount val="1"/>
                <c:pt idx="0">
                  <c:v>2024</c:v>
                </c:pt>
              </c:strCache>
            </c:strRef>
          </c:tx>
          <c:spPr>
            <a:ln>
              <a:solidFill>
                <a:schemeClr val="tx1"/>
              </a:solidFill>
            </a:ln>
          </c:spPr>
          <c:marker>
            <c:symbol val="none"/>
          </c:marker>
          <c:cat>
            <c:strRef>
              <c:f>现货价差!$AL$5:$AL$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S$5:$AS$370</c:f>
              <c:numCache>
                <c:formatCode>General</c:formatCode>
                <c:ptCount val="366"/>
                <c:pt idx="0">
                  <c:v>#N/A</c:v>
                </c:pt>
                <c:pt idx="1">
                  <c:v>250</c:v>
                </c:pt>
                <c:pt idx="2">
                  <c:v>250</c:v>
                </c:pt>
                <c:pt idx="3">
                  <c:v>250</c:v>
                </c:pt>
                <c:pt idx="4">
                  <c:v>250</c:v>
                </c:pt>
                <c:pt idx="5">
                  <c:v>#N/A</c:v>
                </c:pt>
                <c:pt idx="6">
                  <c:v>#N/A</c:v>
                </c:pt>
                <c:pt idx="7">
                  <c:v>250</c:v>
                </c:pt>
                <c:pt idx="8">
                  <c:v>250</c:v>
                </c:pt>
                <c:pt idx="9">
                  <c:v>250</c:v>
                </c:pt>
                <c:pt idx="10">
                  <c:v>350</c:v>
                </c:pt>
                <c:pt idx="11">
                  <c:v>350</c:v>
                </c:pt>
                <c:pt idx="12">
                  <c:v>#N/A</c:v>
                </c:pt>
                <c:pt idx="13">
                  <c:v>#N/A</c:v>
                </c:pt>
                <c:pt idx="14">
                  <c:v>450</c:v>
                </c:pt>
                <c:pt idx="15">
                  <c:v>400</c:v>
                </c:pt>
                <c:pt idx="16">
                  <c:v>350</c:v>
                </c:pt>
                <c:pt idx="17">
                  <c:v>350</c:v>
                </c:pt>
                <c:pt idx="18">
                  <c:v>350</c:v>
                </c:pt>
                <c:pt idx="19">
                  <c:v>#N/A</c:v>
                </c:pt>
                <c:pt idx="20">
                  <c:v>#N/A</c:v>
                </c:pt>
                <c:pt idx="21">
                  <c:v>350</c:v>
                </c:pt>
                <c:pt idx="22">
                  <c:v>400</c:v>
                </c:pt>
                <c:pt idx="23">
                  <c:v>400</c:v>
                </c:pt>
                <c:pt idx="24">
                  <c:v>400</c:v>
                </c:pt>
                <c:pt idx="25">
                  <c:v>450</c:v>
                </c:pt>
                <c:pt idx="26">
                  <c:v>#N/A</c:v>
                </c:pt>
                <c:pt idx="27">
                  <c:v>#N/A</c:v>
                </c:pt>
                <c:pt idx="28">
                  <c:v>450</c:v>
                </c:pt>
                <c:pt idx="29">
                  <c:v>450</c:v>
                </c:pt>
                <c:pt idx="30">
                  <c:v>450</c:v>
                </c:pt>
                <c:pt idx="31">
                  <c:v>450</c:v>
                </c:pt>
                <c:pt idx="32">
                  <c:v>450</c:v>
                </c:pt>
                <c:pt idx="33">
                  <c:v>#N/A</c:v>
                </c:pt>
                <c:pt idx="34">
                  <c:v>#N/A</c:v>
                </c:pt>
                <c:pt idx="35">
                  <c:v>450</c:v>
                </c:pt>
                <c:pt idx="36">
                  <c:v>450</c:v>
                </c:pt>
                <c:pt idx="37">
                  <c:v>450</c:v>
                </c:pt>
                <c:pt idx="38">
                  <c:v>450</c:v>
                </c:pt>
                <c:pt idx="39">
                  <c:v>#N/A</c:v>
                </c:pt>
                <c:pt idx="40">
                  <c:v>#N/A</c:v>
                </c:pt>
                <c:pt idx="41">
                  <c:v>#N/A</c:v>
                </c:pt>
                <c:pt idx="42">
                  <c:v>#N/A</c:v>
                </c:pt>
                <c:pt idx="43">
                  <c:v>#N/A</c:v>
                </c:pt>
                <c:pt idx="44">
                  <c:v>#N/A</c:v>
                </c:pt>
                <c:pt idx="45">
                  <c:v>#N/A</c:v>
                </c:pt>
                <c:pt idx="46">
                  <c:v>#N/A</c:v>
                </c:pt>
                <c:pt idx="47">
                  <c:v>#N/A</c:v>
                </c:pt>
                <c:pt idx="48">
                  <c:v>#N/A</c:v>
                </c:pt>
                <c:pt idx="49">
                  <c:v>450</c:v>
                </c:pt>
                <c:pt idx="50">
                  <c:v>400</c:v>
                </c:pt>
                <c:pt idx="51">
                  <c:v>350</c:v>
                </c:pt>
                <c:pt idx="52">
                  <c:v>400</c:v>
                </c:pt>
                <c:pt idx="53">
                  <c:v>450</c:v>
                </c:pt>
                <c:pt idx="54">
                  <c:v>#N/A</c:v>
                </c:pt>
                <c:pt idx="55">
                  <c:v>#N/A</c:v>
                </c:pt>
                <c:pt idx="56">
                  <c:v>450</c:v>
                </c:pt>
                <c:pt idx="57">
                  <c:v>450</c:v>
                </c:pt>
                <c:pt idx="58">
                  <c:v>500</c:v>
                </c:pt>
                <c:pt idx="59">
                  <c:v>500</c:v>
                </c:pt>
                <c:pt idx="60">
                  <c:v>500</c:v>
                </c:pt>
                <c:pt idx="61">
                  <c:v>#N/A</c:v>
                </c:pt>
                <c:pt idx="62">
                  <c:v>#N/A</c:v>
                </c:pt>
                <c:pt idx="63">
                  <c:v>500</c:v>
                </c:pt>
                <c:pt idx="64">
                  <c:v>500</c:v>
                </c:pt>
                <c:pt idx="65">
                  <c:v>500</c:v>
                </c:pt>
                <c:pt idx="66">
                  <c:v>500</c:v>
                </c:pt>
                <c:pt idx="67">
                  <c:v>550</c:v>
                </c:pt>
                <c:pt idx="68">
                  <c:v>#N/A</c:v>
                </c:pt>
                <c:pt idx="69">
                  <c:v>#N/A</c:v>
                </c:pt>
                <c:pt idx="70">
                  <c:v>550</c:v>
                </c:pt>
                <c:pt idx="71">
                  <c:v>600</c:v>
                </c:pt>
                <c:pt idx="72">
                  <c:v>600</c:v>
                </c:pt>
                <c:pt idx="73">
                  <c:v>650</c:v>
                </c:pt>
                <c:pt idx="74">
                  <c:v>650</c:v>
                </c:pt>
                <c:pt idx="75">
                  <c:v>#N/A</c:v>
                </c:pt>
                <c:pt idx="76">
                  <c:v>#N/A</c:v>
                </c:pt>
                <c:pt idx="77">
                  <c:v>650</c:v>
                </c:pt>
                <c:pt idx="78">
                  <c:v>600</c:v>
                </c:pt>
                <c:pt idx="79">
                  <c:v>550</c:v>
                </c:pt>
                <c:pt idx="80">
                  <c:v>600</c:v>
                </c:pt>
                <c:pt idx="81">
                  <c:v>550</c:v>
                </c:pt>
                <c:pt idx="82">
                  <c:v>#N/A</c:v>
                </c:pt>
                <c:pt idx="83">
                  <c:v>#N/A</c:v>
                </c:pt>
                <c:pt idx="84">
                  <c:v>550</c:v>
                </c:pt>
                <c:pt idx="85">
                  <c:v>600</c:v>
                </c:pt>
                <c:pt idx="86">
                  <c:v>600</c:v>
                </c:pt>
                <c:pt idx="87">
                  <c:v>600</c:v>
                </c:pt>
                <c:pt idx="88">
                  <c:v>600</c:v>
                </c:pt>
                <c:pt idx="89">
                  <c:v>#N/A</c:v>
                </c:pt>
                <c:pt idx="90">
                  <c:v>#N/A</c:v>
                </c:pt>
                <c:pt idx="91">
                  <c:v>600</c:v>
                </c:pt>
                <c:pt idx="92">
                  <c:v>650</c:v>
                </c:pt>
                <c:pt idx="93">
                  <c:v>650</c:v>
                </c:pt>
                <c:pt idx="94">
                  <c:v>#N/A</c:v>
                </c:pt>
                <c:pt idx="95">
                  <c:v>#N/A</c:v>
                </c:pt>
                <c:pt idx="96">
                  <c:v>#N/A</c:v>
                </c:pt>
                <c:pt idx="97">
                  <c:v>#N/A</c:v>
                </c:pt>
                <c:pt idx="98">
                  <c:v>650</c:v>
                </c:pt>
                <c:pt idx="99">
                  <c:v>700</c:v>
                </c:pt>
                <c:pt idx="100">
                  <c:v>750</c:v>
                </c:pt>
                <c:pt idx="101">
                  <c:v>750</c:v>
                </c:pt>
                <c:pt idx="102">
                  <c:v>750</c:v>
                </c:pt>
                <c:pt idx="103">
                  <c:v>#N/A</c:v>
                </c:pt>
                <c:pt idx="104">
                  <c:v>#N/A</c:v>
                </c:pt>
                <c:pt idx="105">
                  <c:v>750</c:v>
                </c:pt>
                <c:pt idx="106">
                  <c:v>700</c:v>
                </c:pt>
                <c:pt idx="107">
                  <c:v>600</c:v>
                </c:pt>
                <c:pt idx="108">
                  <c:v>600</c:v>
                </c:pt>
                <c:pt idx="109">
                  <c:v>500</c:v>
                </c:pt>
                <c:pt idx="110">
                  <c:v>#N/A</c:v>
                </c:pt>
                <c:pt idx="111">
                  <c:v>#N/A</c:v>
                </c:pt>
                <c:pt idx="112">
                  <c:v>500</c:v>
                </c:pt>
                <c:pt idx="113">
                  <c:v>500</c:v>
                </c:pt>
                <c:pt idx="114">
                  <c:v>500</c:v>
                </c:pt>
                <c:pt idx="115">
                  <c:v>500</c:v>
                </c:pt>
                <c:pt idx="116">
                  <c:v>500</c:v>
                </c:pt>
                <c:pt idx="117">
                  <c:v>#N/A</c:v>
                </c:pt>
                <c:pt idx="118">
                  <c:v>#N/A</c:v>
                </c:pt>
                <c:pt idx="119">
                  <c:v>500</c:v>
                </c:pt>
                <c:pt idx="120">
                  <c:v>500</c:v>
                </c:pt>
                <c:pt idx="121">
                  <c:v>#N/A</c:v>
                </c:pt>
                <c:pt idx="122">
                  <c:v>#N/A</c:v>
                </c:pt>
                <c:pt idx="123">
                  <c:v>#N/A</c:v>
                </c:pt>
                <c:pt idx="124">
                  <c:v>#N/A</c:v>
                </c:pt>
                <c:pt idx="125">
                  <c:v>#N/A</c:v>
                </c:pt>
                <c:pt idx="126">
                  <c:v>450</c:v>
                </c:pt>
                <c:pt idx="127">
                  <c:v>450</c:v>
                </c:pt>
                <c:pt idx="128">
                  <c:v>450</c:v>
                </c:pt>
                <c:pt idx="129">
                  <c:v>450</c:v>
                </c:pt>
                <c:pt idx="130">
                  <c:v>450</c:v>
                </c:pt>
                <c:pt idx="131">
                  <c:v>#N/A</c:v>
                </c:pt>
                <c:pt idx="132">
                  <c:v>#N/A</c:v>
                </c:pt>
                <c:pt idx="133">
                  <c:v>450</c:v>
                </c:pt>
                <c:pt idx="134">
                  <c:v>450</c:v>
                </c:pt>
                <c:pt idx="135">
                  <c:v>450</c:v>
                </c:pt>
                <c:pt idx="136">
                  <c:v>550</c:v>
                </c:pt>
                <c:pt idx="137">
                  <c:v>550</c:v>
                </c:pt>
                <c:pt idx="138">
                  <c:v>#N/A</c:v>
                </c:pt>
                <c:pt idx="139">
                  <c:v>#N/A</c:v>
                </c:pt>
                <c:pt idx="140">
                  <c:v>550</c:v>
                </c:pt>
                <c:pt idx="141">
                  <c:v>550</c:v>
                </c:pt>
                <c:pt idx="142">
                  <c:v>500</c:v>
                </c:pt>
                <c:pt idx="143">
                  <c:v>500</c:v>
                </c:pt>
                <c:pt idx="144">
                  <c:v>500</c:v>
                </c:pt>
                <c:pt idx="145">
                  <c:v>#N/A</c:v>
                </c:pt>
                <c:pt idx="146">
                  <c:v>#N/A</c:v>
                </c:pt>
                <c:pt idx="147">
                  <c:v>500</c:v>
                </c:pt>
                <c:pt idx="148">
                  <c:v>500</c:v>
                </c:pt>
                <c:pt idx="149">
                  <c:v>500</c:v>
                </c:pt>
                <c:pt idx="150">
                  <c:v>500</c:v>
                </c:pt>
                <c:pt idx="151">
                  <c:v>500</c:v>
                </c:pt>
                <c:pt idx="152">
                  <c:v>#N/A</c:v>
                </c:pt>
                <c:pt idx="153">
                  <c:v>#N/A</c:v>
                </c:pt>
                <c:pt idx="154">
                  <c:v>500</c:v>
                </c:pt>
                <c:pt idx="155">
                  <c:v>500</c:v>
                </c:pt>
                <c:pt idx="156">
                  <c:v>500</c:v>
                </c:pt>
                <c:pt idx="157">
                  <c:v>500</c:v>
                </c:pt>
                <c:pt idx="158">
                  <c:v>500</c:v>
                </c:pt>
                <c:pt idx="159">
                  <c:v>#N/A</c:v>
                </c:pt>
                <c:pt idx="160">
                  <c:v>#N/A</c:v>
                </c:pt>
                <c:pt idx="161">
                  <c:v>#N/A</c:v>
                </c:pt>
                <c:pt idx="162">
                  <c:v>500</c:v>
                </c:pt>
                <c:pt idx="163">
                  <c:v>500</c:v>
                </c:pt>
                <c:pt idx="164">
                  <c:v>500</c:v>
                </c:pt>
                <c:pt idx="165">
                  <c:v>500</c:v>
                </c:pt>
                <c:pt idx="166">
                  <c:v>#N/A</c:v>
                </c:pt>
                <c:pt idx="167">
                  <c:v>#N/A</c:v>
                </c:pt>
                <c:pt idx="168">
                  <c:v>500</c:v>
                </c:pt>
                <c:pt idx="169">
                  <c:v>550</c:v>
                </c:pt>
                <c:pt idx="170">
                  <c:v>550</c:v>
                </c:pt>
                <c:pt idx="171">
                  <c:v>550</c:v>
                </c:pt>
                <c:pt idx="172">
                  <c:v>550</c:v>
                </c:pt>
                <c:pt idx="173">
                  <c:v>#N/A</c:v>
                </c:pt>
                <c:pt idx="174">
                  <c:v>#N/A</c:v>
                </c:pt>
                <c:pt idx="175">
                  <c:v>550</c:v>
                </c:pt>
                <c:pt idx="176">
                  <c:v>550</c:v>
                </c:pt>
                <c:pt idx="177">
                  <c:v>700</c:v>
                </c:pt>
                <c:pt idx="178">
                  <c:v>750</c:v>
                </c:pt>
                <c:pt idx="179">
                  <c:v>800</c:v>
                </c:pt>
                <c:pt idx="180">
                  <c:v>#N/A</c:v>
                </c:pt>
                <c:pt idx="181">
                  <c:v>#N/A</c:v>
                </c:pt>
                <c:pt idx="182">
                  <c:v>850</c:v>
                </c:pt>
                <c:pt idx="183">
                  <c:v>850</c:v>
                </c:pt>
                <c:pt idx="184">
                  <c:v>900</c:v>
                </c:pt>
                <c:pt idx="185">
                  <c:v>900</c:v>
                </c:pt>
                <c:pt idx="186">
                  <c:v>90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4-2EF3-4668-8D78-A3D4AFB71722}"/>
            </c:ext>
          </c:extLst>
        </c:ser>
        <c:dLbls>
          <c:showLegendKey val="0"/>
          <c:showVal val="0"/>
          <c:showCatName val="0"/>
          <c:showSerName val="0"/>
          <c:showPercent val="0"/>
          <c:showBubbleSize val="0"/>
        </c:dLbls>
        <c:smooth val="0"/>
        <c:axId val="2134209279"/>
        <c:axId val="2059693599"/>
      </c:lineChart>
      <c:catAx>
        <c:axId val="213420927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vert="horz"/>
          <a:lstStyle/>
          <a:p>
            <a:pPr>
              <a:defRPr/>
            </a:pPr>
            <a:endParaRPr lang="zh-CN"/>
          </a:p>
        </c:txPr>
        <c:crossAx val="2059693599"/>
        <c:crosses val="autoZero"/>
        <c:auto val="1"/>
        <c:lblAlgn val="ctr"/>
        <c:lblOffset val="100"/>
        <c:noMultiLvlLbl val="0"/>
      </c:catAx>
      <c:valAx>
        <c:axId val="2059693599"/>
        <c:scaling>
          <c:orientation val="minMax"/>
          <c:max val="3200"/>
          <c:min val="1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vert="horz"/>
          <a:lstStyle/>
          <a:p>
            <a:pPr>
              <a:defRPr/>
            </a:pPr>
            <a:endParaRPr lang="zh-CN"/>
          </a:p>
        </c:txPr>
        <c:crossAx val="2134209279"/>
        <c:crosses val="autoZero"/>
        <c:crossBetween val="between"/>
      </c:valAx>
    </c:plotArea>
    <c:legend>
      <c:legendPos val="b"/>
      <c:overlay val="0"/>
      <c:spPr>
        <a:noFill/>
        <a:ln>
          <a:noFill/>
        </a:ln>
        <a:effectLst/>
      </c:spPr>
      <c:txPr>
        <a:bodyPr rot="0" vert="horz"/>
        <a:lstStyle/>
        <a:p>
          <a:pPr>
            <a:defRPr/>
          </a:pPr>
          <a:endParaRPr lang="zh-CN"/>
        </a:p>
      </c:txPr>
    </c:legend>
    <c:plotVisOnly val="1"/>
    <c:dispBlanksAs val="span"/>
    <c:showDLblsOverMax val="0"/>
    <c:extLst/>
  </c:chart>
  <c:txPr>
    <a:bodyPr/>
    <a:lstStyle/>
    <a:p>
      <a:pPr>
        <a:defRPr sz="1000">
          <a:solidFill>
            <a:schemeClr val="tx1"/>
          </a:solidFill>
          <a:latin typeface="+mn-lt"/>
          <a:ea typeface="+mn-ea"/>
          <a:cs typeface="+mn-ea"/>
          <a:sym typeface="+mn-lt"/>
        </a:defRPr>
      </a:pPr>
      <a:endParaRPr lang="zh-CN"/>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ea"/>
                <a:ea typeface="+mn-ea"/>
                <a:cs typeface="+mn-cs"/>
              </a:defRPr>
            </a:pPr>
            <a:r>
              <a:rPr lang="zh-CN"/>
              <a:t>原铝系铝合金锭开工率</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ea"/>
              <a:ea typeface="+mn-ea"/>
              <a:cs typeface="+mn-cs"/>
            </a:defRPr>
          </a:pPr>
          <a:endParaRPr lang="zh-CN"/>
        </a:p>
      </c:txPr>
    </c:title>
    <c:autoTitleDeleted val="0"/>
    <c:plotArea>
      <c:layout/>
      <c:lineChart>
        <c:grouping val="standard"/>
        <c:varyColors val="0"/>
        <c:ser>
          <c:idx val="0"/>
          <c:order val="0"/>
          <c:tx>
            <c:strRef>
              <c:f>铝合金开工!$N$3</c:f>
              <c:strCache>
                <c:ptCount val="1"/>
                <c:pt idx="0">
                  <c:v>2020</c:v>
                </c:pt>
              </c:strCache>
            </c:strRef>
          </c:tx>
          <c:spPr>
            <a:ln w="19050" cap="rnd">
              <a:solidFill>
                <a:srgbClr val="7030A0">
                  <a:alpha val="60000"/>
                </a:srgbClr>
              </a:solidFill>
              <a:round/>
            </a:ln>
            <a:effectLst/>
          </c:spPr>
          <c:marker>
            <c:symbol val="none"/>
          </c:marker>
          <c:cat>
            <c:strRef>
              <c:f>铝合金开工!$K$34:$K$369</c:f>
              <c:strCache>
                <c:ptCount val="336"/>
                <c:pt idx="0">
                  <c:v>01-31</c:v>
                </c:pt>
                <c:pt idx="1">
                  <c:v>02-01</c:v>
                </c:pt>
                <c:pt idx="2">
                  <c:v>02-02</c:v>
                </c:pt>
                <c:pt idx="3">
                  <c:v>02-03</c:v>
                </c:pt>
                <c:pt idx="4">
                  <c:v>02-04</c:v>
                </c:pt>
                <c:pt idx="5">
                  <c:v>02-05</c:v>
                </c:pt>
                <c:pt idx="6">
                  <c:v>02-06</c:v>
                </c:pt>
                <c:pt idx="7">
                  <c:v>02-07</c:v>
                </c:pt>
                <c:pt idx="8">
                  <c:v>02-08</c:v>
                </c:pt>
                <c:pt idx="9">
                  <c:v>02-09</c:v>
                </c:pt>
                <c:pt idx="10">
                  <c:v>02-10</c:v>
                </c:pt>
                <c:pt idx="11">
                  <c:v>02-11</c:v>
                </c:pt>
                <c:pt idx="12">
                  <c:v>02-12</c:v>
                </c:pt>
                <c:pt idx="13">
                  <c:v>02-13</c:v>
                </c:pt>
                <c:pt idx="14">
                  <c:v>02-14</c:v>
                </c:pt>
                <c:pt idx="15">
                  <c:v>02-15</c:v>
                </c:pt>
                <c:pt idx="16">
                  <c:v>02-16</c:v>
                </c:pt>
                <c:pt idx="17">
                  <c:v>02-17</c:v>
                </c:pt>
                <c:pt idx="18">
                  <c:v>02-18</c:v>
                </c:pt>
                <c:pt idx="19">
                  <c:v>02-19</c:v>
                </c:pt>
                <c:pt idx="20">
                  <c:v>02-20</c:v>
                </c:pt>
                <c:pt idx="21">
                  <c:v>02-21</c:v>
                </c:pt>
                <c:pt idx="22">
                  <c:v>02-22</c:v>
                </c:pt>
                <c:pt idx="23">
                  <c:v>02-23</c:v>
                </c:pt>
                <c:pt idx="24">
                  <c:v>02-24</c:v>
                </c:pt>
                <c:pt idx="25">
                  <c:v>02-25</c:v>
                </c:pt>
                <c:pt idx="26">
                  <c:v>02-26</c:v>
                </c:pt>
                <c:pt idx="27">
                  <c:v>02-27</c:v>
                </c:pt>
                <c:pt idx="28">
                  <c:v>02-28</c:v>
                </c:pt>
                <c:pt idx="29">
                  <c:v>02-29</c:v>
                </c:pt>
                <c:pt idx="30">
                  <c:v>03-01</c:v>
                </c:pt>
                <c:pt idx="31">
                  <c:v>03-02</c:v>
                </c:pt>
                <c:pt idx="32">
                  <c:v>03-03</c:v>
                </c:pt>
                <c:pt idx="33">
                  <c:v>03-04</c:v>
                </c:pt>
                <c:pt idx="34">
                  <c:v>03-05</c:v>
                </c:pt>
                <c:pt idx="35">
                  <c:v>03-06</c:v>
                </c:pt>
                <c:pt idx="36">
                  <c:v>03-07</c:v>
                </c:pt>
                <c:pt idx="37">
                  <c:v>03-08</c:v>
                </c:pt>
                <c:pt idx="38">
                  <c:v>03-09</c:v>
                </c:pt>
                <c:pt idx="39">
                  <c:v>03-10</c:v>
                </c:pt>
                <c:pt idx="40">
                  <c:v>03-11</c:v>
                </c:pt>
                <c:pt idx="41">
                  <c:v>03-12</c:v>
                </c:pt>
                <c:pt idx="42">
                  <c:v>03-13</c:v>
                </c:pt>
                <c:pt idx="43">
                  <c:v>03-14</c:v>
                </c:pt>
                <c:pt idx="44">
                  <c:v>03-15</c:v>
                </c:pt>
                <c:pt idx="45">
                  <c:v>03-16</c:v>
                </c:pt>
                <c:pt idx="46">
                  <c:v>03-17</c:v>
                </c:pt>
                <c:pt idx="47">
                  <c:v>03-18</c:v>
                </c:pt>
                <c:pt idx="48">
                  <c:v>03-19</c:v>
                </c:pt>
                <c:pt idx="49">
                  <c:v>03-20</c:v>
                </c:pt>
                <c:pt idx="50">
                  <c:v>03-21</c:v>
                </c:pt>
                <c:pt idx="51">
                  <c:v>03-22</c:v>
                </c:pt>
                <c:pt idx="52">
                  <c:v>03-23</c:v>
                </c:pt>
                <c:pt idx="53">
                  <c:v>03-24</c:v>
                </c:pt>
                <c:pt idx="54">
                  <c:v>03-25</c:v>
                </c:pt>
                <c:pt idx="55">
                  <c:v>03-26</c:v>
                </c:pt>
                <c:pt idx="56">
                  <c:v>03-27</c:v>
                </c:pt>
                <c:pt idx="57">
                  <c:v>03-28</c:v>
                </c:pt>
                <c:pt idx="58">
                  <c:v>03-29</c:v>
                </c:pt>
                <c:pt idx="59">
                  <c:v>03-30</c:v>
                </c:pt>
                <c:pt idx="60">
                  <c:v>03-31</c:v>
                </c:pt>
                <c:pt idx="61">
                  <c:v>04-01</c:v>
                </c:pt>
                <c:pt idx="62">
                  <c:v>04-02</c:v>
                </c:pt>
                <c:pt idx="63">
                  <c:v>04-03</c:v>
                </c:pt>
                <c:pt idx="64">
                  <c:v>04-04</c:v>
                </c:pt>
                <c:pt idx="65">
                  <c:v>04-05</c:v>
                </c:pt>
                <c:pt idx="66">
                  <c:v>04-06</c:v>
                </c:pt>
                <c:pt idx="67">
                  <c:v>04-07</c:v>
                </c:pt>
                <c:pt idx="68">
                  <c:v>04-08</c:v>
                </c:pt>
                <c:pt idx="69">
                  <c:v>04-09</c:v>
                </c:pt>
                <c:pt idx="70">
                  <c:v>04-10</c:v>
                </c:pt>
                <c:pt idx="71">
                  <c:v>04-11</c:v>
                </c:pt>
                <c:pt idx="72">
                  <c:v>04-12</c:v>
                </c:pt>
                <c:pt idx="73">
                  <c:v>04-13</c:v>
                </c:pt>
                <c:pt idx="74">
                  <c:v>04-14</c:v>
                </c:pt>
                <c:pt idx="75">
                  <c:v>04-15</c:v>
                </c:pt>
                <c:pt idx="76">
                  <c:v>04-16</c:v>
                </c:pt>
                <c:pt idx="77">
                  <c:v>04-17</c:v>
                </c:pt>
                <c:pt idx="78">
                  <c:v>04-18</c:v>
                </c:pt>
                <c:pt idx="79">
                  <c:v>04-19</c:v>
                </c:pt>
                <c:pt idx="80">
                  <c:v>04-20</c:v>
                </c:pt>
                <c:pt idx="81">
                  <c:v>04-21</c:v>
                </c:pt>
                <c:pt idx="82">
                  <c:v>04-22</c:v>
                </c:pt>
                <c:pt idx="83">
                  <c:v>04-23</c:v>
                </c:pt>
                <c:pt idx="84">
                  <c:v>04-24</c:v>
                </c:pt>
                <c:pt idx="85">
                  <c:v>04-25</c:v>
                </c:pt>
                <c:pt idx="86">
                  <c:v>04-26</c:v>
                </c:pt>
                <c:pt idx="87">
                  <c:v>04-27</c:v>
                </c:pt>
                <c:pt idx="88">
                  <c:v>04-28</c:v>
                </c:pt>
                <c:pt idx="89">
                  <c:v>04-29</c:v>
                </c:pt>
                <c:pt idx="90">
                  <c:v>04-30</c:v>
                </c:pt>
                <c:pt idx="91">
                  <c:v>05-01</c:v>
                </c:pt>
                <c:pt idx="92">
                  <c:v>05-02</c:v>
                </c:pt>
                <c:pt idx="93">
                  <c:v>05-03</c:v>
                </c:pt>
                <c:pt idx="94">
                  <c:v>05-04</c:v>
                </c:pt>
                <c:pt idx="95">
                  <c:v>05-05</c:v>
                </c:pt>
                <c:pt idx="96">
                  <c:v>05-06</c:v>
                </c:pt>
                <c:pt idx="97">
                  <c:v>05-07</c:v>
                </c:pt>
                <c:pt idx="98">
                  <c:v>05-08</c:v>
                </c:pt>
                <c:pt idx="99">
                  <c:v>05-09</c:v>
                </c:pt>
                <c:pt idx="100">
                  <c:v>05-10</c:v>
                </c:pt>
                <c:pt idx="101">
                  <c:v>05-11</c:v>
                </c:pt>
                <c:pt idx="102">
                  <c:v>05-12</c:v>
                </c:pt>
                <c:pt idx="103">
                  <c:v>05-13</c:v>
                </c:pt>
                <c:pt idx="104">
                  <c:v>05-14</c:v>
                </c:pt>
                <c:pt idx="105">
                  <c:v>05-15</c:v>
                </c:pt>
                <c:pt idx="106">
                  <c:v>05-16</c:v>
                </c:pt>
                <c:pt idx="107">
                  <c:v>05-17</c:v>
                </c:pt>
                <c:pt idx="108">
                  <c:v>05-18</c:v>
                </c:pt>
                <c:pt idx="109">
                  <c:v>05-19</c:v>
                </c:pt>
                <c:pt idx="110">
                  <c:v>05-20</c:v>
                </c:pt>
                <c:pt idx="111">
                  <c:v>05-21</c:v>
                </c:pt>
                <c:pt idx="112">
                  <c:v>05-22</c:v>
                </c:pt>
                <c:pt idx="113">
                  <c:v>05-23</c:v>
                </c:pt>
                <c:pt idx="114">
                  <c:v>05-24</c:v>
                </c:pt>
                <c:pt idx="115">
                  <c:v>05-25</c:v>
                </c:pt>
                <c:pt idx="116">
                  <c:v>05-26</c:v>
                </c:pt>
                <c:pt idx="117">
                  <c:v>05-27</c:v>
                </c:pt>
                <c:pt idx="118">
                  <c:v>05-28</c:v>
                </c:pt>
                <c:pt idx="119">
                  <c:v>05-29</c:v>
                </c:pt>
                <c:pt idx="120">
                  <c:v>05-30</c:v>
                </c:pt>
                <c:pt idx="121">
                  <c:v>05-31</c:v>
                </c:pt>
                <c:pt idx="122">
                  <c:v>06-01</c:v>
                </c:pt>
                <c:pt idx="123">
                  <c:v>06-02</c:v>
                </c:pt>
                <c:pt idx="124">
                  <c:v>06-03</c:v>
                </c:pt>
                <c:pt idx="125">
                  <c:v>06-04</c:v>
                </c:pt>
                <c:pt idx="126">
                  <c:v>06-05</c:v>
                </c:pt>
                <c:pt idx="127">
                  <c:v>06-06</c:v>
                </c:pt>
                <c:pt idx="128">
                  <c:v>06-07</c:v>
                </c:pt>
                <c:pt idx="129">
                  <c:v>06-08</c:v>
                </c:pt>
                <c:pt idx="130">
                  <c:v>06-09</c:v>
                </c:pt>
                <c:pt idx="131">
                  <c:v>06-10</c:v>
                </c:pt>
                <c:pt idx="132">
                  <c:v>06-11</c:v>
                </c:pt>
                <c:pt idx="133">
                  <c:v>06-12</c:v>
                </c:pt>
                <c:pt idx="134">
                  <c:v>06-13</c:v>
                </c:pt>
                <c:pt idx="135">
                  <c:v>06-14</c:v>
                </c:pt>
                <c:pt idx="136">
                  <c:v>06-15</c:v>
                </c:pt>
                <c:pt idx="137">
                  <c:v>06-16</c:v>
                </c:pt>
                <c:pt idx="138">
                  <c:v>06-17</c:v>
                </c:pt>
                <c:pt idx="139">
                  <c:v>06-18</c:v>
                </c:pt>
                <c:pt idx="140">
                  <c:v>06-19</c:v>
                </c:pt>
                <c:pt idx="141">
                  <c:v>06-20</c:v>
                </c:pt>
                <c:pt idx="142">
                  <c:v>06-21</c:v>
                </c:pt>
                <c:pt idx="143">
                  <c:v>06-22</c:v>
                </c:pt>
                <c:pt idx="144">
                  <c:v>06-23</c:v>
                </c:pt>
                <c:pt idx="145">
                  <c:v>06-24</c:v>
                </c:pt>
                <c:pt idx="146">
                  <c:v>06-25</c:v>
                </c:pt>
                <c:pt idx="147">
                  <c:v>06-26</c:v>
                </c:pt>
                <c:pt idx="148">
                  <c:v>06-27</c:v>
                </c:pt>
                <c:pt idx="149">
                  <c:v>06-28</c:v>
                </c:pt>
                <c:pt idx="150">
                  <c:v>06-29</c:v>
                </c:pt>
                <c:pt idx="151">
                  <c:v>06-30</c:v>
                </c:pt>
                <c:pt idx="152">
                  <c:v>07-01</c:v>
                </c:pt>
                <c:pt idx="153">
                  <c:v>07-02</c:v>
                </c:pt>
                <c:pt idx="154">
                  <c:v>07-03</c:v>
                </c:pt>
                <c:pt idx="155">
                  <c:v>07-04</c:v>
                </c:pt>
                <c:pt idx="156">
                  <c:v>07-05</c:v>
                </c:pt>
                <c:pt idx="157">
                  <c:v>07-06</c:v>
                </c:pt>
                <c:pt idx="158">
                  <c:v>07-07</c:v>
                </c:pt>
                <c:pt idx="159">
                  <c:v>07-08</c:v>
                </c:pt>
                <c:pt idx="160">
                  <c:v>07-09</c:v>
                </c:pt>
                <c:pt idx="161">
                  <c:v>07-10</c:v>
                </c:pt>
                <c:pt idx="162">
                  <c:v>07-11</c:v>
                </c:pt>
                <c:pt idx="163">
                  <c:v>07-12</c:v>
                </c:pt>
                <c:pt idx="164">
                  <c:v>07-13</c:v>
                </c:pt>
                <c:pt idx="165">
                  <c:v>07-14</c:v>
                </c:pt>
                <c:pt idx="166">
                  <c:v>07-15</c:v>
                </c:pt>
                <c:pt idx="167">
                  <c:v>07-16</c:v>
                </c:pt>
                <c:pt idx="168">
                  <c:v>07-17</c:v>
                </c:pt>
                <c:pt idx="169">
                  <c:v>07-18</c:v>
                </c:pt>
                <c:pt idx="170">
                  <c:v>07-19</c:v>
                </c:pt>
                <c:pt idx="171">
                  <c:v>07-20</c:v>
                </c:pt>
                <c:pt idx="172">
                  <c:v>07-21</c:v>
                </c:pt>
                <c:pt idx="173">
                  <c:v>07-22</c:v>
                </c:pt>
                <c:pt idx="174">
                  <c:v>07-23</c:v>
                </c:pt>
                <c:pt idx="175">
                  <c:v>07-24</c:v>
                </c:pt>
                <c:pt idx="176">
                  <c:v>07-25</c:v>
                </c:pt>
                <c:pt idx="177">
                  <c:v>07-26</c:v>
                </c:pt>
                <c:pt idx="178">
                  <c:v>07-27</c:v>
                </c:pt>
                <c:pt idx="179">
                  <c:v>07-28</c:v>
                </c:pt>
                <c:pt idx="180">
                  <c:v>07-29</c:v>
                </c:pt>
                <c:pt idx="181">
                  <c:v>07-30</c:v>
                </c:pt>
                <c:pt idx="182">
                  <c:v>07-31</c:v>
                </c:pt>
                <c:pt idx="183">
                  <c:v>08-01</c:v>
                </c:pt>
                <c:pt idx="184">
                  <c:v>08-02</c:v>
                </c:pt>
                <c:pt idx="185">
                  <c:v>08-03</c:v>
                </c:pt>
                <c:pt idx="186">
                  <c:v>08-04</c:v>
                </c:pt>
                <c:pt idx="187">
                  <c:v>08-05</c:v>
                </c:pt>
                <c:pt idx="188">
                  <c:v>08-06</c:v>
                </c:pt>
                <c:pt idx="189">
                  <c:v>08-07</c:v>
                </c:pt>
                <c:pt idx="190">
                  <c:v>08-08</c:v>
                </c:pt>
                <c:pt idx="191">
                  <c:v>08-09</c:v>
                </c:pt>
                <c:pt idx="192">
                  <c:v>08-10</c:v>
                </c:pt>
                <c:pt idx="193">
                  <c:v>08-11</c:v>
                </c:pt>
                <c:pt idx="194">
                  <c:v>08-12</c:v>
                </c:pt>
                <c:pt idx="195">
                  <c:v>08-13</c:v>
                </c:pt>
                <c:pt idx="196">
                  <c:v>08-14</c:v>
                </c:pt>
                <c:pt idx="197">
                  <c:v>08-15</c:v>
                </c:pt>
                <c:pt idx="198">
                  <c:v>08-16</c:v>
                </c:pt>
                <c:pt idx="199">
                  <c:v>08-17</c:v>
                </c:pt>
                <c:pt idx="200">
                  <c:v>08-18</c:v>
                </c:pt>
                <c:pt idx="201">
                  <c:v>08-19</c:v>
                </c:pt>
                <c:pt idx="202">
                  <c:v>08-20</c:v>
                </c:pt>
                <c:pt idx="203">
                  <c:v>08-21</c:v>
                </c:pt>
                <c:pt idx="204">
                  <c:v>08-22</c:v>
                </c:pt>
                <c:pt idx="205">
                  <c:v>08-23</c:v>
                </c:pt>
                <c:pt idx="206">
                  <c:v>08-24</c:v>
                </c:pt>
                <c:pt idx="207">
                  <c:v>08-25</c:v>
                </c:pt>
                <c:pt idx="208">
                  <c:v>08-26</c:v>
                </c:pt>
                <c:pt idx="209">
                  <c:v>08-27</c:v>
                </c:pt>
                <c:pt idx="210">
                  <c:v>08-28</c:v>
                </c:pt>
                <c:pt idx="211">
                  <c:v>08-29</c:v>
                </c:pt>
                <c:pt idx="212">
                  <c:v>08-30</c:v>
                </c:pt>
                <c:pt idx="213">
                  <c:v>08-31</c:v>
                </c:pt>
                <c:pt idx="214">
                  <c:v>09-01</c:v>
                </c:pt>
                <c:pt idx="215">
                  <c:v>09-02</c:v>
                </c:pt>
                <c:pt idx="216">
                  <c:v>09-03</c:v>
                </c:pt>
                <c:pt idx="217">
                  <c:v>09-04</c:v>
                </c:pt>
                <c:pt idx="218">
                  <c:v>09-05</c:v>
                </c:pt>
                <c:pt idx="219">
                  <c:v>09-06</c:v>
                </c:pt>
                <c:pt idx="220">
                  <c:v>09-07</c:v>
                </c:pt>
                <c:pt idx="221">
                  <c:v>09-08</c:v>
                </c:pt>
                <c:pt idx="222">
                  <c:v>09-09</c:v>
                </c:pt>
                <c:pt idx="223">
                  <c:v>09-10</c:v>
                </c:pt>
                <c:pt idx="224">
                  <c:v>09-11</c:v>
                </c:pt>
                <c:pt idx="225">
                  <c:v>09-12</c:v>
                </c:pt>
                <c:pt idx="226">
                  <c:v>09-13</c:v>
                </c:pt>
                <c:pt idx="227">
                  <c:v>09-14</c:v>
                </c:pt>
                <c:pt idx="228">
                  <c:v>09-15</c:v>
                </c:pt>
                <c:pt idx="229">
                  <c:v>09-16</c:v>
                </c:pt>
                <c:pt idx="230">
                  <c:v>09-17</c:v>
                </c:pt>
                <c:pt idx="231">
                  <c:v>09-18</c:v>
                </c:pt>
                <c:pt idx="232">
                  <c:v>09-19</c:v>
                </c:pt>
                <c:pt idx="233">
                  <c:v>09-20</c:v>
                </c:pt>
                <c:pt idx="234">
                  <c:v>09-21</c:v>
                </c:pt>
                <c:pt idx="235">
                  <c:v>09-22</c:v>
                </c:pt>
                <c:pt idx="236">
                  <c:v>09-23</c:v>
                </c:pt>
                <c:pt idx="237">
                  <c:v>09-24</c:v>
                </c:pt>
                <c:pt idx="238">
                  <c:v>09-25</c:v>
                </c:pt>
                <c:pt idx="239">
                  <c:v>09-26</c:v>
                </c:pt>
                <c:pt idx="240">
                  <c:v>09-27</c:v>
                </c:pt>
                <c:pt idx="241">
                  <c:v>09-28</c:v>
                </c:pt>
                <c:pt idx="242">
                  <c:v>09-29</c:v>
                </c:pt>
                <c:pt idx="243">
                  <c:v>09-30</c:v>
                </c:pt>
                <c:pt idx="244">
                  <c:v>10-01</c:v>
                </c:pt>
                <c:pt idx="245">
                  <c:v>10-02</c:v>
                </c:pt>
                <c:pt idx="246">
                  <c:v>10-03</c:v>
                </c:pt>
                <c:pt idx="247">
                  <c:v>10-04</c:v>
                </c:pt>
                <c:pt idx="248">
                  <c:v>10-05</c:v>
                </c:pt>
                <c:pt idx="249">
                  <c:v>10-06</c:v>
                </c:pt>
                <c:pt idx="250">
                  <c:v>10-07</c:v>
                </c:pt>
                <c:pt idx="251">
                  <c:v>10-08</c:v>
                </c:pt>
                <c:pt idx="252">
                  <c:v>10-09</c:v>
                </c:pt>
                <c:pt idx="253">
                  <c:v>10-10</c:v>
                </c:pt>
                <c:pt idx="254">
                  <c:v>10-11</c:v>
                </c:pt>
                <c:pt idx="255">
                  <c:v>10-12</c:v>
                </c:pt>
                <c:pt idx="256">
                  <c:v>10-13</c:v>
                </c:pt>
                <c:pt idx="257">
                  <c:v>10-14</c:v>
                </c:pt>
                <c:pt idx="258">
                  <c:v>10-15</c:v>
                </c:pt>
                <c:pt idx="259">
                  <c:v>10-16</c:v>
                </c:pt>
                <c:pt idx="260">
                  <c:v>10-17</c:v>
                </c:pt>
                <c:pt idx="261">
                  <c:v>10-18</c:v>
                </c:pt>
                <c:pt idx="262">
                  <c:v>10-19</c:v>
                </c:pt>
                <c:pt idx="263">
                  <c:v>10-20</c:v>
                </c:pt>
                <c:pt idx="264">
                  <c:v>10-21</c:v>
                </c:pt>
                <c:pt idx="265">
                  <c:v>10-22</c:v>
                </c:pt>
                <c:pt idx="266">
                  <c:v>10-23</c:v>
                </c:pt>
                <c:pt idx="267">
                  <c:v>10-24</c:v>
                </c:pt>
                <c:pt idx="268">
                  <c:v>10-25</c:v>
                </c:pt>
                <c:pt idx="269">
                  <c:v>10-26</c:v>
                </c:pt>
                <c:pt idx="270">
                  <c:v>10-27</c:v>
                </c:pt>
                <c:pt idx="271">
                  <c:v>10-28</c:v>
                </c:pt>
                <c:pt idx="272">
                  <c:v>10-29</c:v>
                </c:pt>
                <c:pt idx="273">
                  <c:v>10-30</c:v>
                </c:pt>
                <c:pt idx="274">
                  <c:v>10-31</c:v>
                </c:pt>
                <c:pt idx="275">
                  <c:v>11-01</c:v>
                </c:pt>
                <c:pt idx="276">
                  <c:v>11-02</c:v>
                </c:pt>
                <c:pt idx="277">
                  <c:v>11-03</c:v>
                </c:pt>
                <c:pt idx="278">
                  <c:v>11-04</c:v>
                </c:pt>
                <c:pt idx="279">
                  <c:v>11-05</c:v>
                </c:pt>
                <c:pt idx="280">
                  <c:v>11-06</c:v>
                </c:pt>
                <c:pt idx="281">
                  <c:v>11-07</c:v>
                </c:pt>
                <c:pt idx="282">
                  <c:v>11-08</c:v>
                </c:pt>
                <c:pt idx="283">
                  <c:v>11-09</c:v>
                </c:pt>
                <c:pt idx="284">
                  <c:v>11-10</c:v>
                </c:pt>
                <c:pt idx="285">
                  <c:v>11-11</c:v>
                </c:pt>
                <c:pt idx="286">
                  <c:v>11-12</c:v>
                </c:pt>
                <c:pt idx="287">
                  <c:v>11-13</c:v>
                </c:pt>
                <c:pt idx="288">
                  <c:v>11-14</c:v>
                </c:pt>
                <c:pt idx="289">
                  <c:v>11-15</c:v>
                </c:pt>
                <c:pt idx="290">
                  <c:v>11-16</c:v>
                </c:pt>
                <c:pt idx="291">
                  <c:v>11-17</c:v>
                </c:pt>
                <c:pt idx="292">
                  <c:v>11-18</c:v>
                </c:pt>
                <c:pt idx="293">
                  <c:v>11-19</c:v>
                </c:pt>
                <c:pt idx="294">
                  <c:v>11-20</c:v>
                </c:pt>
                <c:pt idx="295">
                  <c:v>11-21</c:v>
                </c:pt>
                <c:pt idx="296">
                  <c:v>11-22</c:v>
                </c:pt>
                <c:pt idx="297">
                  <c:v>11-23</c:v>
                </c:pt>
                <c:pt idx="298">
                  <c:v>11-24</c:v>
                </c:pt>
                <c:pt idx="299">
                  <c:v>11-25</c:v>
                </c:pt>
                <c:pt idx="300">
                  <c:v>11-26</c:v>
                </c:pt>
                <c:pt idx="301">
                  <c:v>11-27</c:v>
                </c:pt>
                <c:pt idx="302">
                  <c:v>11-28</c:v>
                </c:pt>
                <c:pt idx="303">
                  <c:v>11-29</c:v>
                </c:pt>
                <c:pt idx="304">
                  <c:v>11-30</c:v>
                </c:pt>
                <c:pt idx="305">
                  <c:v>12-01</c:v>
                </c:pt>
                <c:pt idx="306">
                  <c:v>12-02</c:v>
                </c:pt>
                <c:pt idx="307">
                  <c:v>12-03</c:v>
                </c:pt>
                <c:pt idx="308">
                  <c:v>12-04</c:v>
                </c:pt>
                <c:pt idx="309">
                  <c:v>12-05</c:v>
                </c:pt>
                <c:pt idx="310">
                  <c:v>12-06</c:v>
                </c:pt>
                <c:pt idx="311">
                  <c:v>12-07</c:v>
                </c:pt>
                <c:pt idx="312">
                  <c:v>12-08</c:v>
                </c:pt>
                <c:pt idx="313">
                  <c:v>12-09</c:v>
                </c:pt>
                <c:pt idx="314">
                  <c:v>12-10</c:v>
                </c:pt>
                <c:pt idx="315">
                  <c:v>12-11</c:v>
                </c:pt>
                <c:pt idx="316">
                  <c:v>12-12</c:v>
                </c:pt>
                <c:pt idx="317">
                  <c:v>12-13</c:v>
                </c:pt>
                <c:pt idx="318">
                  <c:v>12-14</c:v>
                </c:pt>
                <c:pt idx="319">
                  <c:v>12-15</c:v>
                </c:pt>
                <c:pt idx="320">
                  <c:v>12-16</c:v>
                </c:pt>
                <c:pt idx="321">
                  <c:v>12-17</c:v>
                </c:pt>
                <c:pt idx="322">
                  <c:v>12-18</c:v>
                </c:pt>
                <c:pt idx="323">
                  <c:v>12-19</c:v>
                </c:pt>
                <c:pt idx="324">
                  <c:v>12-20</c:v>
                </c:pt>
                <c:pt idx="325">
                  <c:v>12-21</c:v>
                </c:pt>
                <c:pt idx="326">
                  <c:v>12-22</c:v>
                </c:pt>
                <c:pt idx="327">
                  <c:v>12-23</c:v>
                </c:pt>
                <c:pt idx="328">
                  <c:v>12-24</c:v>
                </c:pt>
                <c:pt idx="329">
                  <c:v>12-25</c:v>
                </c:pt>
                <c:pt idx="330">
                  <c:v>12-26</c:v>
                </c:pt>
                <c:pt idx="331">
                  <c:v>12-27</c:v>
                </c:pt>
                <c:pt idx="332">
                  <c:v>12-28</c:v>
                </c:pt>
                <c:pt idx="333">
                  <c:v>12-29</c:v>
                </c:pt>
                <c:pt idx="334">
                  <c:v>12-30</c:v>
                </c:pt>
                <c:pt idx="335">
                  <c:v>12-31</c:v>
                </c:pt>
              </c:strCache>
            </c:strRef>
          </c:cat>
          <c:val>
            <c:numRef>
              <c:f>铝合金开工!$N$34:$N$369</c:f>
              <c:numCache>
                <c:formatCode>General</c:formatCode>
                <c:ptCount val="336"/>
                <c:pt idx="0">
                  <c:v>42.12</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3.82</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31.5</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40.119999999999997</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39.07</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45.34</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42</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41.42</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45.77</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48.35</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48.25</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43.9</c:v>
                </c:pt>
              </c:numCache>
            </c:numRef>
          </c:val>
          <c:smooth val="0"/>
          <c:extLst>
            <c:ext xmlns:c16="http://schemas.microsoft.com/office/drawing/2014/chart" uri="{C3380CC4-5D6E-409C-BE32-E72D297353CC}">
              <c16:uniqueId val="{00000000-A540-4584-9AF7-0FA4823A0F36}"/>
            </c:ext>
          </c:extLst>
        </c:ser>
        <c:ser>
          <c:idx val="1"/>
          <c:order val="1"/>
          <c:tx>
            <c:strRef>
              <c:f>铝合金开工!$O$3</c:f>
              <c:strCache>
                <c:ptCount val="1"/>
                <c:pt idx="0">
                  <c:v>2021</c:v>
                </c:pt>
              </c:strCache>
            </c:strRef>
          </c:tx>
          <c:spPr>
            <a:ln w="19050" cap="rnd">
              <a:solidFill>
                <a:schemeClr val="accent5">
                  <a:lumMod val="75000"/>
                </a:schemeClr>
              </a:solidFill>
              <a:round/>
            </a:ln>
            <a:effectLst/>
          </c:spPr>
          <c:marker>
            <c:symbol val="none"/>
          </c:marker>
          <c:cat>
            <c:strRef>
              <c:f>铝合金开工!$K$34:$K$369</c:f>
              <c:strCache>
                <c:ptCount val="336"/>
                <c:pt idx="0">
                  <c:v>01-31</c:v>
                </c:pt>
                <c:pt idx="1">
                  <c:v>02-01</c:v>
                </c:pt>
                <c:pt idx="2">
                  <c:v>02-02</c:v>
                </c:pt>
                <c:pt idx="3">
                  <c:v>02-03</c:v>
                </c:pt>
                <c:pt idx="4">
                  <c:v>02-04</c:v>
                </c:pt>
                <c:pt idx="5">
                  <c:v>02-05</c:v>
                </c:pt>
                <c:pt idx="6">
                  <c:v>02-06</c:v>
                </c:pt>
                <c:pt idx="7">
                  <c:v>02-07</c:v>
                </c:pt>
                <c:pt idx="8">
                  <c:v>02-08</c:v>
                </c:pt>
                <c:pt idx="9">
                  <c:v>02-09</c:v>
                </c:pt>
                <c:pt idx="10">
                  <c:v>02-10</c:v>
                </c:pt>
                <c:pt idx="11">
                  <c:v>02-11</c:v>
                </c:pt>
                <c:pt idx="12">
                  <c:v>02-12</c:v>
                </c:pt>
                <c:pt idx="13">
                  <c:v>02-13</c:v>
                </c:pt>
                <c:pt idx="14">
                  <c:v>02-14</c:v>
                </c:pt>
                <c:pt idx="15">
                  <c:v>02-15</c:v>
                </c:pt>
                <c:pt idx="16">
                  <c:v>02-16</c:v>
                </c:pt>
                <c:pt idx="17">
                  <c:v>02-17</c:v>
                </c:pt>
                <c:pt idx="18">
                  <c:v>02-18</c:v>
                </c:pt>
                <c:pt idx="19">
                  <c:v>02-19</c:v>
                </c:pt>
                <c:pt idx="20">
                  <c:v>02-20</c:v>
                </c:pt>
                <c:pt idx="21">
                  <c:v>02-21</c:v>
                </c:pt>
                <c:pt idx="22">
                  <c:v>02-22</c:v>
                </c:pt>
                <c:pt idx="23">
                  <c:v>02-23</c:v>
                </c:pt>
                <c:pt idx="24">
                  <c:v>02-24</c:v>
                </c:pt>
                <c:pt idx="25">
                  <c:v>02-25</c:v>
                </c:pt>
                <c:pt idx="26">
                  <c:v>02-26</c:v>
                </c:pt>
                <c:pt idx="27">
                  <c:v>02-27</c:v>
                </c:pt>
                <c:pt idx="28">
                  <c:v>02-28</c:v>
                </c:pt>
                <c:pt idx="29">
                  <c:v>02-29</c:v>
                </c:pt>
                <c:pt idx="30">
                  <c:v>03-01</c:v>
                </c:pt>
                <c:pt idx="31">
                  <c:v>03-02</c:v>
                </c:pt>
                <c:pt idx="32">
                  <c:v>03-03</c:v>
                </c:pt>
                <c:pt idx="33">
                  <c:v>03-04</c:v>
                </c:pt>
                <c:pt idx="34">
                  <c:v>03-05</c:v>
                </c:pt>
                <c:pt idx="35">
                  <c:v>03-06</c:v>
                </c:pt>
                <c:pt idx="36">
                  <c:v>03-07</c:v>
                </c:pt>
                <c:pt idx="37">
                  <c:v>03-08</c:v>
                </c:pt>
                <c:pt idx="38">
                  <c:v>03-09</c:v>
                </c:pt>
                <c:pt idx="39">
                  <c:v>03-10</c:v>
                </c:pt>
                <c:pt idx="40">
                  <c:v>03-11</c:v>
                </c:pt>
                <c:pt idx="41">
                  <c:v>03-12</c:v>
                </c:pt>
                <c:pt idx="42">
                  <c:v>03-13</c:v>
                </c:pt>
                <c:pt idx="43">
                  <c:v>03-14</c:v>
                </c:pt>
                <c:pt idx="44">
                  <c:v>03-15</c:v>
                </c:pt>
                <c:pt idx="45">
                  <c:v>03-16</c:v>
                </c:pt>
                <c:pt idx="46">
                  <c:v>03-17</c:v>
                </c:pt>
                <c:pt idx="47">
                  <c:v>03-18</c:v>
                </c:pt>
                <c:pt idx="48">
                  <c:v>03-19</c:v>
                </c:pt>
                <c:pt idx="49">
                  <c:v>03-20</c:v>
                </c:pt>
                <c:pt idx="50">
                  <c:v>03-21</c:v>
                </c:pt>
                <c:pt idx="51">
                  <c:v>03-22</c:v>
                </c:pt>
                <c:pt idx="52">
                  <c:v>03-23</c:v>
                </c:pt>
                <c:pt idx="53">
                  <c:v>03-24</c:v>
                </c:pt>
                <c:pt idx="54">
                  <c:v>03-25</c:v>
                </c:pt>
                <c:pt idx="55">
                  <c:v>03-26</c:v>
                </c:pt>
                <c:pt idx="56">
                  <c:v>03-27</c:v>
                </c:pt>
                <c:pt idx="57">
                  <c:v>03-28</c:v>
                </c:pt>
                <c:pt idx="58">
                  <c:v>03-29</c:v>
                </c:pt>
                <c:pt idx="59">
                  <c:v>03-30</c:v>
                </c:pt>
                <c:pt idx="60">
                  <c:v>03-31</c:v>
                </c:pt>
                <c:pt idx="61">
                  <c:v>04-01</c:v>
                </c:pt>
                <c:pt idx="62">
                  <c:v>04-02</c:v>
                </c:pt>
                <c:pt idx="63">
                  <c:v>04-03</c:v>
                </c:pt>
                <c:pt idx="64">
                  <c:v>04-04</c:v>
                </c:pt>
                <c:pt idx="65">
                  <c:v>04-05</c:v>
                </c:pt>
                <c:pt idx="66">
                  <c:v>04-06</c:v>
                </c:pt>
                <c:pt idx="67">
                  <c:v>04-07</c:v>
                </c:pt>
                <c:pt idx="68">
                  <c:v>04-08</c:v>
                </c:pt>
                <c:pt idx="69">
                  <c:v>04-09</c:v>
                </c:pt>
                <c:pt idx="70">
                  <c:v>04-10</c:v>
                </c:pt>
                <c:pt idx="71">
                  <c:v>04-11</c:v>
                </c:pt>
                <c:pt idx="72">
                  <c:v>04-12</c:v>
                </c:pt>
                <c:pt idx="73">
                  <c:v>04-13</c:v>
                </c:pt>
                <c:pt idx="74">
                  <c:v>04-14</c:v>
                </c:pt>
                <c:pt idx="75">
                  <c:v>04-15</c:v>
                </c:pt>
                <c:pt idx="76">
                  <c:v>04-16</c:v>
                </c:pt>
                <c:pt idx="77">
                  <c:v>04-17</c:v>
                </c:pt>
                <c:pt idx="78">
                  <c:v>04-18</c:v>
                </c:pt>
                <c:pt idx="79">
                  <c:v>04-19</c:v>
                </c:pt>
                <c:pt idx="80">
                  <c:v>04-20</c:v>
                </c:pt>
                <c:pt idx="81">
                  <c:v>04-21</c:v>
                </c:pt>
                <c:pt idx="82">
                  <c:v>04-22</c:v>
                </c:pt>
                <c:pt idx="83">
                  <c:v>04-23</c:v>
                </c:pt>
                <c:pt idx="84">
                  <c:v>04-24</c:v>
                </c:pt>
                <c:pt idx="85">
                  <c:v>04-25</c:v>
                </c:pt>
                <c:pt idx="86">
                  <c:v>04-26</c:v>
                </c:pt>
                <c:pt idx="87">
                  <c:v>04-27</c:v>
                </c:pt>
                <c:pt idx="88">
                  <c:v>04-28</c:v>
                </c:pt>
                <c:pt idx="89">
                  <c:v>04-29</c:v>
                </c:pt>
                <c:pt idx="90">
                  <c:v>04-30</c:v>
                </c:pt>
                <c:pt idx="91">
                  <c:v>05-01</c:v>
                </c:pt>
                <c:pt idx="92">
                  <c:v>05-02</c:v>
                </c:pt>
                <c:pt idx="93">
                  <c:v>05-03</c:v>
                </c:pt>
                <c:pt idx="94">
                  <c:v>05-04</c:v>
                </c:pt>
                <c:pt idx="95">
                  <c:v>05-05</c:v>
                </c:pt>
                <c:pt idx="96">
                  <c:v>05-06</c:v>
                </c:pt>
                <c:pt idx="97">
                  <c:v>05-07</c:v>
                </c:pt>
                <c:pt idx="98">
                  <c:v>05-08</c:v>
                </c:pt>
                <c:pt idx="99">
                  <c:v>05-09</c:v>
                </c:pt>
                <c:pt idx="100">
                  <c:v>05-10</c:v>
                </c:pt>
                <c:pt idx="101">
                  <c:v>05-11</c:v>
                </c:pt>
                <c:pt idx="102">
                  <c:v>05-12</c:v>
                </c:pt>
                <c:pt idx="103">
                  <c:v>05-13</c:v>
                </c:pt>
                <c:pt idx="104">
                  <c:v>05-14</c:v>
                </c:pt>
                <c:pt idx="105">
                  <c:v>05-15</c:v>
                </c:pt>
                <c:pt idx="106">
                  <c:v>05-16</c:v>
                </c:pt>
                <c:pt idx="107">
                  <c:v>05-17</c:v>
                </c:pt>
                <c:pt idx="108">
                  <c:v>05-18</c:v>
                </c:pt>
                <c:pt idx="109">
                  <c:v>05-19</c:v>
                </c:pt>
                <c:pt idx="110">
                  <c:v>05-20</c:v>
                </c:pt>
                <c:pt idx="111">
                  <c:v>05-21</c:v>
                </c:pt>
                <c:pt idx="112">
                  <c:v>05-22</c:v>
                </c:pt>
                <c:pt idx="113">
                  <c:v>05-23</c:v>
                </c:pt>
                <c:pt idx="114">
                  <c:v>05-24</c:v>
                </c:pt>
                <c:pt idx="115">
                  <c:v>05-25</c:v>
                </c:pt>
                <c:pt idx="116">
                  <c:v>05-26</c:v>
                </c:pt>
                <c:pt idx="117">
                  <c:v>05-27</c:v>
                </c:pt>
                <c:pt idx="118">
                  <c:v>05-28</c:v>
                </c:pt>
                <c:pt idx="119">
                  <c:v>05-29</c:v>
                </c:pt>
                <c:pt idx="120">
                  <c:v>05-30</c:v>
                </c:pt>
                <c:pt idx="121">
                  <c:v>05-31</c:v>
                </c:pt>
                <c:pt idx="122">
                  <c:v>06-01</c:v>
                </c:pt>
                <c:pt idx="123">
                  <c:v>06-02</c:v>
                </c:pt>
                <c:pt idx="124">
                  <c:v>06-03</c:v>
                </c:pt>
                <c:pt idx="125">
                  <c:v>06-04</c:v>
                </c:pt>
                <c:pt idx="126">
                  <c:v>06-05</c:v>
                </c:pt>
                <c:pt idx="127">
                  <c:v>06-06</c:v>
                </c:pt>
                <c:pt idx="128">
                  <c:v>06-07</c:v>
                </c:pt>
                <c:pt idx="129">
                  <c:v>06-08</c:v>
                </c:pt>
                <c:pt idx="130">
                  <c:v>06-09</c:v>
                </c:pt>
                <c:pt idx="131">
                  <c:v>06-10</c:v>
                </c:pt>
                <c:pt idx="132">
                  <c:v>06-11</c:v>
                </c:pt>
                <c:pt idx="133">
                  <c:v>06-12</c:v>
                </c:pt>
                <c:pt idx="134">
                  <c:v>06-13</c:v>
                </c:pt>
                <c:pt idx="135">
                  <c:v>06-14</c:v>
                </c:pt>
                <c:pt idx="136">
                  <c:v>06-15</c:v>
                </c:pt>
                <c:pt idx="137">
                  <c:v>06-16</c:v>
                </c:pt>
                <c:pt idx="138">
                  <c:v>06-17</c:v>
                </c:pt>
                <c:pt idx="139">
                  <c:v>06-18</c:v>
                </c:pt>
                <c:pt idx="140">
                  <c:v>06-19</c:v>
                </c:pt>
                <c:pt idx="141">
                  <c:v>06-20</c:v>
                </c:pt>
                <c:pt idx="142">
                  <c:v>06-21</c:v>
                </c:pt>
                <c:pt idx="143">
                  <c:v>06-22</c:v>
                </c:pt>
                <c:pt idx="144">
                  <c:v>06-23</c:v>
                </c:pt>
                <c:pt idx="145">
                  <c:v>06-24</c:v>
                </c:pt>
                <c:pt idx="146">
                  <c:v>06-25</c:v>
                </c:pt>
                <c:pt idx="147">
                  <c:v>06-26</c:v>
                </c:pt>
                <c:pt idx="148">
                  <c:v>06-27</c:v>
                </c:pt>
                <c:pt idx="149">
                  <c:v>06-28</c:v>
                </c:pt>
                <c:pt idx="150">
                  <c:v>06-29</c:v>
                </c:pt>
                <c:pt idx="151">
                  <c:v>06-30</c:v>
                </c:pt>
                <c:pt idx="152">
                  <c:v>07-01</c:v>
                </c:pt>
                <c:pt idx="153">
                  <c:v>07-02</c:v>
                </c:pt>
                <c:pt idx="154">
                  <c:v>07-03</c:v>
                </c:pt>
                <c:pt idx="155">
                  <c:v>07-04</c:v>
                </c:pt>
                <c:pt idx="156">
                  <c:v>07-05</c:v>
                </c:pt>
                <c:pt idx="157">
                  <c:v>07-06</c:v>
                </c:pt>
                <c:pt idx="158">
                  <c:v>07-07</c:v>
                </c:pt>
                <c:pt idx="159">
                  <c:v>07-08</c:v>
                </c:pt>
                <c:pt idx="160">
                  <c:v>07-09</c:v>
                </c:pt>
                <c:pt idx="161">
                  <c:v>07-10</c:v>
                </c:pt>
                <c:pt idx="162">
                  <c:v>07-11</c:v>
                </c:pt>
                <c:pt idx="163">
                  <c:v>07-12</c:v>
                </c:pt>
                <c:pt idx="164">
                  <c:v>07-13</c:v>
                </c:pt>
                <c:pt idx="165">
                  <c:v>07-14</c:v>
                </c:pt>
                <c:pt idx="166">
                  <c:v>07-15</c:v>
                </c:pt>
                <c:pt idx="167">
                  <c:v>07-16</c:v>
                </c:pt>
                <c:pt idx="168">
                  <c:v>07-17</c:v>
                </c:pt>
                <c:pt idx="169">
                  <c:v>07-18</c:v>
                </c:pt>
                <c:pt idx="170">
                  <c:v>07-19</c:v>
                </c:pt>
                <c:pt idx="171">
                  <c:v>07-20</c:v>
                </c:pt>
                <c:pt idx="172">
                  <c:v>07-21</c:v>
                </c:pt>
                <c:pt idx="173">
                  <c:v>07-22</c:v>
                </c:pt>
                <c:pt idx="174">
                  <c:v>07-23</c:v>
                </c:pt>
                <c:pt idx="175">
                  <c:v>07-24</c:v>
                </c:pt>
                <c:pt idx="176">
                  <c:v>07-25</c:v>
                </c:pt>
                <c:pt idx="177">
                  <c:v>07-26</c:v>
                </c:pt>
                <c:pt idx="178">
                  <c:v>07-27</c:v>
                </c:pt>
                <c:pt idx="179">
                  <c:v>07-28</c:v>
                </c:pt>
                <c:pt idx="180">
                  <c:v>07-29</c:v>
                </c:pt>
                <c:pt idx="181">
                  <c:v>07-30</c:v>
                </c:pt>
                <c:pt idx="182">
                  <c:v>07-31</c:v>
                </c:pt>
                <c:pt idx="183">
                  <c:v>08-01</c:v>
                </c:pt>
                <c:pt idx="184">
                  <c:v>08-02</c:v>
                </c:pt>
                <c:pt idx="185">
                  <c:v>08-03</c:v>
                </c:pt>
                <c:pt idx="186">
                  <c:v>08-04</c:v>
                </c:pt>
                <c:pt idx="187">
                  <c:v>08-05</c:v>
                </c:pt>
                <c:pt idx="188">
                  <c:v>08-06</c:v>
                </c:pt>
                <c:pt idx="189">
                  <c:v>08-07</c:v>
                </c:pt>
                <c:pt idx="190">
                  <c:v>08-08</c:v>
                </c:pt>
                <c:pt idx="191">
                  <c:v>08-09</c:v>
                </c:pt>
                <c:pt idx="192">
                  <c:v>08-10</c:v>
                </c:pt>
                <c:pt idx="193">
                  <c:v>08-11</c:v>
                </c:pt>
                <c:pt idx="194">
                  <c:v>08-12</c:v>
                </c:pt>
                <c:pt idx="195">
                  <c:v>08-13</c:v>
                </c:pt>
                <c:pt idx="196">
                  <c:v>08-14</c:v>
                </c:pt>
                <c:pt idx="197">
                  <c:v>08-15</c:v>
                </c:pt>
                <c:pt idx="198">
                  <c:v>08-16</c:v>
                </c:pt>
                <c:pt idx="199">
                  <c:v>08-17</c:v>
                </c:pt>
                <c:pt idx="200">
                  <c:v>08-18</c:v>
                </c:pt>
                <c:pt idx="201">
                  <c:v>08-19</c:v>
                </c:pt>
                <c:pt idx="202">
                  <c:v>08-20</c:v>
                </c:pt>
                <c:pt idx="203">
                  <c:v>08-21</c:v>
                </c:pt>
                <c:pt idx="204">
                  <c:v>08-22</c:v>
                </c:pt>
                <c:pt idx="205">
                  <c:v>08-23</c:v>
                </c:pt>
                <c:pt idx="206">
                  <c:v>08-24</c:v>
                </c:pt>
                <c:pt idx="207">
                  <c:v>08-25</c:v>
                </c:pt>
                <c:pt idx="208">
                  <c:v>08-26</c:v>
                </c:pt>
                <c:pt idx="209">
                  <c:v>08-27</c:v>
                </c:pt>
                <c:pt idx="210">
                  <c:v>08-28</c:v>
                </c:pt>
                <c:pt idx="211">
                  <c:v>08-29</c:v>
                </c:pt>
                <c:pt idx="212">
                  <c:v>08-30</c:v>
                </c:pt>
                <c:pt idx="213">
                  <c:v>08-31</c:v>
                </c:pt>
                <c:pt idx="214">
                  <c:v>09-01</c:v>
                </c:pt>
                <c:pt idx="215">
                  <c:v>09-02</c:v>
                </c:pt>
                <c:pt idx="216">
                  <c:v>09-03</c:v>
                </c:pt>
                <c:pt idx="217">
                  <c:v>09-04</c:v>
                </c:pt>
                <c:pt idx="218">
                  <c:v>09-05</c:v>
                </c:pt>
                <c:pt idx="219">
                  <c:v>09-06</c:v>
                </c:pt>
                <c:pt idx="220">
                  <c:v>09-07</c:v>
                </c:pt>
                <c:pt idx="221">
                  <c:v>09-08</c:v>
                </c:pt>
                <c:pt idx="222">
                  <c:v>09-09</c:v>
                </c:pt>
                <c:pt idx="223">
                  <c:v>09-10</c:v>
                </c:pt>
                <c:pt idx="224">
                  <c:v>09-11</c:v>
                </c:pt>
                <c:pt idx="225">
                  <c:v>09-12</c:v>
                </c:pt>
                <c:pt idx="226">
                  <c:v>09-13</c:v>
                </c:pt>
                <c:pt idx="227">
                  <c:v>09-14</c:v>
                </c:pt>
                <c:pt idx="228">
                  <c:v>09-15</c:v>
                </c:pt>
                <c:pt idx="229">
                  <c:v>09-16</c:v>
                </c:pt>
                <c:pt idx="230">
                  <c:v>09-17</c:v>
                </c:pt>
                <c:pt idx="231">
                  <c:v>09-18</c:v>
                </c:pt>
                <c:pt idx="232">
                  <c:v>09-19</c:v>
                </c:pt>
                <c:pt idx="233">
                  <c:v>09-20</c:v>
                </c:pt>
                <c:pt idx="234">
                  <c:v>09-21</c:v>
                </c:pt>
                <c:pt idx="235">
                  <c:v>09-22</c:v>
                </c:pt>
                <c:pt idx="236">
                  <c:v>09-23</c:v>
                </c:pt>
                <c:pt idx="237">
                  <c:v>09-24</c:v>
                </c:pt>
                <c:pt idx="238">
                  <c:v>09-25</c:v>
                </c:pt>
                <c:pt idx="239">
                  <c:v>09-26</c:v>
                </c:pt>
                <c:pt idx="240">
                  <c:v>09-27</c:v>
                </c:pt>
                <c:pt idx="241">
                  <c:v>09-28</c:v>
                </c:pt>
                <c:pt idx="242">
                  <c:v>09-29</c:v>
                </c:pt>
                <c:pt idx="243">
                  <c:v>09-30</c:v>
                </c:pt>
                <c:pt idx="244">
                  <c:v>10-01</c:v>
                </c:pt>
                <c:pt idx="245">
                  <c:v>10-02</c:v>
                </c:pt>
                <c:pt idx="246">
                  <c:v>10-03</c:v>
                </c:pt>
                <c:pt idx="247">
                  <c:v>10-04</c:v>
                </c:pt>
                <c:pt idx="248">
                  <c:v>10-05</c:v>
                </c:pt>
                <c:pt idx="249">
                  <c:v>10-06</c:v>
                </c:pt>
                <c:pt idx="250">
                  <c:v>10-07</c:v>
                </c:pt>
                <c:pt idx="251">
                  <c:v>10-08</c:v>
                </c:pt>
                <c:pt idx="252">
                  <c:v>10-09</c:v>
                </c:pt>
                <c:pt idx="253">
                  <c:v>10-10</c:v>
                </c:pt>
                <c:pt idx="254">
                  <c:v>10-11</c:v>
                </c:pt>
                <c:pt idx="255">
                  <c:v>10-12</c:v>
                </c:pt>
                <c:pt idx="256">
                  <c:v>10-13</c:v>
                </c:pt>
                <c:pt idx="257">
                  <c:v>10-14</c:v>
                </c:pt>
                <c:pt idx="258">
                  <c:v>10-15</c:v>
                </c:pt>
                <c:pt idx="259">
                  <c:v>10-16</c:v>
                </c:pt>
                <c:pt idx="260">
                  <c:v>10-17</c:v>
                </c:pt>
                <c:pt idx="261">
                  <c:v>10-18</c:v>
                </c:pt>
                <c:pt idx="262">
                  <c:v>10-19</c:v>
                </c:pt>
                <c:pt idx="263">
                  <c:v>10-20</c:v>
                </c:pt>
                <c:pt idx="264">
                  <c:v>10-21</c:v>
                </c:pt>
                <c:pt idx="265">
                  <c:v>10-22</c:v>
                </c:pt>
                <c:pt idx="266">
                  <c:v>10-23</c:v>
                </c:pt>
                <c:pt idx="267">
                  <c:v>10-24</c:v>
                </c:pt>
                <c:pt idx="268">
                  <c:v>10-25</c:v>
                </c:pt>
                <c:pt idx="269">
                  <c:v>10-26</c:v>
                </c:pt>
                <c:pt idx="270">
                  <c:v>10-27</c:v>
                </c:pt>
                <c:pt idx="271">
                  <c:v>10-28</c:v>
                </c:pt>
                <c:pt idx="272">
                  <c:v>10-29</c:v>
                </c:pt>
                <c:pt idx="273">
                  <c:v>10-30</c:v>
                </c:pt>
                <c:pt idx="274">
                  <c:v>10-31</c:v>
                </c:pt>
                <c:pt idx="275">
                  <c:v>11-01</c:v>
                </c:pt>
                <c:pt idx="276">
                  <c:v>11-02</c:v>
                </c:pt>
                <c:pt idx="277">
                  <c:v>11-03</c:v>
                </c:pt>
                <c:pt idx="278">
                  <c:v>11-04</c:v>
                </c:pt>
                <c:pt idx="279">
                  <c:v>11-05</c:v>
                </c:pt>
                <c:pt idx="280">
                  <c:v>11-06</c:v>
                </c:pt>
                <c:pt idx="281">
                  <c:v>11-07</c:v>
                </c:pt>
                <c:pt idx="282">
                  <c:v>11-08</c:v>
                </c:pt>
                <c:pt idx="283">
                  <c:v>11-09</c:v>
                </c:pt>
                <c:pt idx="284">
                  <c:v>11-10</c:v>
                </c:pt>
                <c:pt idx="285">
                  <c:v>11-11</c:v>
                </c:pt>
                <c:pt idx="286">
                  <c:v>11-12</c:v>
                </c:pt>
                <c:pt idx="287">
                  <c:v>11-13</c:v>
                </c:pt>
                <c:pt idx="288">
                  <c:v>11-14</c:v>
                </c:pt>
                <c:pt idx="289">
                  <c:v>11-15</c:v>
                </c:pt>
                <c:pt idx="290">
                  <c:v>11-16</c:v>
                </c:pt>
                <c:pt idx="291">
                  <c:v>11-17</c:v>
                </c:pt>
                <c:pt idx="292">
                  <c:v>11-18</c:v>
                </c:pt>
                <c:pt idx="293">
                  <c:v>11-19</c:v>
                </c:pt>
                <c:pt idx="294">
                  <c:v>11-20</c:v>
                </c:pt>
                <c:pt idx="295">
                  <c:v>11-21</c:v>
                </c:pt>
                <c:pt idx="296">
                  <c:v>11-22</c:v>
                </c:pt>
                <c:pt idx="297">
                  <c:v>11-23</c:v>
                </c:pt>
                <c:pt idx="298">
                  <c:v>11-24</c:v>
                </c:pt>
                <c:pt idx="299">
                  <c:v>11-25</c:v>
                </c:pt>
                <c:pt idx="300">
                  <c:v>11-26</c:v>
                </c:pt>
                <c:pt idx="301">
                  <c:v>11-27</c:v>
                </c:pt>
                <c:pt idx="302">
                  <c:v>11-28</c:v>
                </c:pt>
                <c:pt idx="303">
                  <c:v>11-29</c:v>
                </c:pt>
                <c:pt idx="304">
                  <c:v>11-30</c:v>
                </c:pt>
                <c:pt idx="305">
                  <c:v>12-01</c:v>
                </c:pt>
                <c:pt idx="306">
                  <c:v>12-02</c:v>
                </c:pt>
                <c:pt idx="307">
                  <c:v>12-03</c:v>
                </c:pt>
                <c:pt idx="308">
                  <c:v>12-04</c:v>
                </c:pt>
                <c:pt idx="309">
                  <c:v>12-05</c:v>
                </c:pt>
                <c:pt idx="310">
                  <c:v>12-06</c:v>
                </c:pt>
                <c:pt idx="311">
                  <c:v>12-07</c:v>
                </c:pt>
                <c:pt idx="312">
                  <c:v>12-08</c:v>
                </c:pt>
                <c:pt idx="313">
                  <c:v>12-09</c:v>
                </c:pt>
                <c:pt idx="314">
                  <c:v>12-10</c:v>
                </c:pt>
                <c:pt idx="315">
                  <c:v>12-11</c:v>
                </c:pt>
                <c:pt idx="316">
                  <c:v>12-12</c:v>
                </c:pt>
                <c:pt idx="317">
                  <c:v>12-13</c:v>
                </c:pt>
                <c:pt idx="318">
                  <c:v>12-14</c:v>
                </c:pt>
                <c:pt idx="319">
                  <c:v>12-15</c:v>
                </c:pt>
                <c:pt idx="320">
                  <c:v>12-16</c:v>
                </c:pt>
                <c:pt idx="321">
                  <c:v>12-17</c:v>
                </c:pt>
                <c:pt idx="322">
                  <c:v>12-18</c:v>
                </c:pt>
                <c:pt idx="323">
                  <c:v>12-19</c:v>
                </c:pt>
                <c:pt idx="324">
                  <c:v>12-20</c:v>
                </c:pt>
                <c:pt idx="325">
                  <c:v>12-21</c:v>
                </c:pt>
                <c:pt idx="326">
                  <c:v>12-22</c:v>
                </c:pt>
                <c:pt idx="327">
                  <c:v>12-23</c:v>
                </c:pt>
                <c:pt idx="328">
                  <c:v>12-24</c:v>
                </c:pt>
                <c:pt idx="329">
                  <c:v>12-25</c:v>
                </c:pt>
                <c:pt idx="330">
                  <c:v>12-26</c:v>
                </c:pt>
                <c:pt idx="331">
                  <c:v>12-27</c:v>
                </c:pt>
                <c:pt idx="332">
                  <c:v>12-28</c:v>
                </c:pt>
                <c:pt idx="333">
                  <c:v>12-29</c:v>
                </c:pt>
                <c:pt idx="334">
                  <c:v>12-30</c:v>
                </c:pt>
                <c:pt idx="335">
                  <c:v>12-31</c:v>
                </c:pt>
              </c:strCache>
            </c:strRef>
          </c:cat>
          <c:val>
            <c:numRef>
              <c:f>铝合金开工!$O$34:$O$369</c:f>
              <c:numCache>
                <c:formatCode>General</c:formatCode>
                <c:ptCount val="336"/>
                <c:pt idx="0">
                  <c:v>55</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34.76</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40.03</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42.47</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41.69</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36.479999999999997</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35.380000000000003</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32.159999999999997</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26.25</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25.81</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26.91</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31.59</c:v>
                </c:pt>
              </c:numCache>
            </c:numRef>
          </c:val>
          <c:smooth val="0"/>
          <c:extLst>
            <c:ext xmlns:c16="http://schemas.microsoft.com/office/drawing/2014/chart" uri="{C3380CC4-5D6E-409C-BE32-E72D297353CC}">
              <c16:uniqueId val="{00000001-A540-4584-9AF7-0FA4823A0F36}"/>
            </c:ext>
          </c:extLst>
        </c:ser>
        <c:ser>
          <c:idx val="2"/>
          <c:order val="2"/>
          <c:tx>
            <c:strRef>
              <c:f>铝合金开工!$P$3</c:f>
              <c:strCache>
                <c:ptCount val="1"/>
                <c:pt idx="0">
                  <c:v>2022</c:v>
                </c:pt>
              </c:strCache>
            </c:strRef>
          </c:tx>
          <c:spPr>
            <a:ln w="19050" cap="rnd">
              <a:solidFill>
                <a:schemeClr val="bg1">
                  <a:lumMod val="50000"/>
                </a:schemeClr>
              </a:solidFill>
              <a:round/>
            </a:ln>
            <a:effectLst/>
          </c:spPr>
          <c:marker>
            <c:symbol val="none"/>
          </c:marker>
          <c:cat>
            <c:strRef>
              <c:f>铝合金开工!$K$34:$K$369</c:f>
              <c:strCache>
                <c:ptCount val="336"/>
                <c:pt idx="0">
                  <c:v>01-31</c:v>
                </c:pt>
                <c:pt idx="1">
                  <c:v>02-01</c:v>
                </c:pt>
                <c:pt idx="2">
                  <c:v>02-02</c:v>
                </c:pt>
                <c:pt idx="3">
                  <c:v>02-03</c:v>
                </c:pt>
                <c:pt idx="4">
                  <c:v>02-04</c:v>
                </c:pt>
                <c:pt idx="5">
                  <c:v>02-05</c:v>
                </c:pt>
                <c:pt idx="6">
                  <c:v>02-06</c:v>
                </c:pt>
                <c:pt idx="7">
                  <c:v>02-07</c:v>
                </c:pt>
                <c:pt idx="8">
                  <c:v>02-08</c:v>
                </c:pt>
                <c:pt idx="9">
                  <c:v>02-09</c:v>
                </c:pt>
                <c:pt idx="10">
                  <c:v>02-10</c:v>
                </c:pt>
                <c:pt idx="11">
                  <c:v>02-11</c:v>
                </c:pt>
                <c:pt idx="12">
                  <c:v>02-12</c:v>
                </c:pt>
                <c:pt idx="13">
                  <c:v>02-13</c:v>
                </c:pt>
                <c:pt idx="14">
                  <c:v>02-14</c:v>
                </c:pt>
                <c:pt idx="15">
                  <c:v>02-15</c:v>
                </c:pt>
                <c:pt idx="16">
                  <c:v>02-16</c:v>
                </c:pt>
                <c:pt idx="17">
                  <c:v>02-17</c:v>
                </c:pt>
                <c:pt idx="18">
                  <c:v>02-18</c:v>
                </c:pt>
                <c:pt idx="19">
                  <c:v>02-19</c:v>
                </c:pt>
                <c:pt idx="20">
                  <c:v>02-20</c:v>
                </c:pt>
                <c:pt idx="21">
                  <c:v>02-21</c:v>
                </c:pt>
                <c:pt idx="22">
                  <c:v>02-22</c:v>
                </c:pt>
                <c:pt idx="23">
                  <c:v>02-23</c:v>
                </c:pt>
                <c:pt idx="24">
                  <c:v>02-24</c:v>
                </c:pt>
                <c:pt idx="25">
                  <c:v>02-25</c:v>
                </c:pt>
                <c:pt idx="26">
                  <c:v>02-26</c:v>
                </c:pt>
                <c:pt idx="27">
                  <c:v>02-27</c:v>
                </c:pt>
                <c:pt idx="28">
                  <c:v>02-28</c:v>
                </c:pt>
                <c:pt idx="29">
                  <c:v>02-29</c:v>
                </c:pt>
                <c:pt idx="30">
                  <c:v>03-01</c:v>
                </c:pt>
                <c:pt idx="31">
                  <c:v>03-02</c:v>
                </c:pt>
                <c:pt idx="32">
                  <c:v>03-03</c:v>
                </c:pt>
                <c:pt idx="33">
                  <c:v>03-04</c:v>
                </c:pt>
                <c:pt idx="34">
                  <c:v>03-05</c:v>
                </c:pt>
                <c:pt idx="35">
                  <c:v>03-06</c:v>
                </c:pt>
                <c:pt idx="36">
                  <c:v>03-07</c:v>
                </c:pt>
                <c:pt idx="37">
                  <c:v>03-08</c:v>
                </c:pt>
                <c:pt idx="38">
                  <c:v>03-09</c:v>
                </c:pt>
                <c:pt idx="39">
                  <c:v>03-10</c:v>
                </c:pt>
                <c:pt idx="40">
                  <c:v>03-11</c:v>
                </c:pt>
                <c:pt idx="41">
                  <c:v>03-12</c:v>
                </c:pt>
                <c:pt idx="42">
                  <c:v>03-13</c:v>
                </c:pt>
                <c:pt idx="43">
                  <c:v>03-14</c:v>
                </c:pt>
                <c:pt idx="44">
                  <c:v>03-15</c:v>
                </c:pt>
                <c:pt idx="45">
                  <c:v>03-16</c:v>
                </c:pt>
                <c:pt idx="46">
                  <c:v>03-17</c:v>
                </c:pt>
                <c:pt idx="47">
                  <c:v>03-18</c:v>
                </c:pt>
                <c:pt idx="48">
                  <c:v>03-19</c:v>
                </c:pt>
                <c:pt idx="49">
                  <c:v>03-20</c:v>
                </c:pt>
                <c:pt idx="50">
                  <c:v>03-21</c:v>
                </c:pt>
                <c:pt idx="51">
                  <c:v>03-22</c:v>
                </c:pt>
                <c:pt idx="52">
                  <c:v>03-23</c:v>
                </c:pt>
                <c:pt idx="53">
                  <c:v>03-24</c:v>
                </c:pt>
                <c:pt idx="54">
                  <c:v>03-25</c:v>
                </c:pt>
                <c:pt idx="55">
                  <c:v>03-26</c:v>
                </c:pt>
                <c:pt idx="56">
                  <c:v>03-27</c:v>
                </c:pt>
                <c:pt idx="57">
                  <c:v>03-28</c:v>
                </c:pt>
                <c:pt idx="58">
                  <c:v>03-29</c:v>
                </c:pt>
                <c:pt idx="59">
                  <c:v>03-30</c:v>
                </c:pt>
                <c:pt idx="60">
                  <c:v>03-31</c:v>
                </c:pt>
                <c:pt idx="61">
                  <c:v>04-01</c:v>
                </c:pt>
                <c:pt idx="62">
                  <c:v>04-02</c:v>
                </c:pt>
                <c:pt idx="63">
                  <c:v>04-03</c:v>
                </c:pt>
                <c:pt idx="64">
                  <c:v>04-04</c:v>
                </c:pt>
                <c:pt idx="65">
                  <c:v>04-05</c:v>
                </c:pt>
                <c:pt idx="66">
                  <c:v>04-06</c:v>
                </c:pt>
                <c:pt idx="67">
                  <c:v>04-07</c:v>
                </c:pt>
                <c:pt idx="68">
                  <c:v>04-08</c:v>
                </c:pt>
                <c:pt idx="69">
                  <c:v>04-09</c:v>
                </c:pt>
                <c:pt idx="70">
                  <c:v>04-10</c:v>
                </c:pt>
                <c:pt idx="71">
                  <c:v>04-11</c:v>
                </c:pt>
                <c:pt idx="72">
                  <c:v>04-12</c:v>
                </c:pt>
                <c:pt idx="73">
                  <c:v>04-13</c:v>
                </c:pt>
                <c:pt idx="74">
                  <c:v>04-14</c:v>
                </c:pt>
                <c:pt idx="75">
                  <c:v>04-15</c:v>
                </c:pt>
                <c:pt idx="76">
                  <c:v>04-16</c:v>
                </c:pt>
                <c:pt idx="77">
                  <c:v>04-17</c:v>
                </c:pt>
                <c:pt idx="78">
                  <c:v>04-18</c:v>
                </c:pt>
                <c:pt idx="79">
                  <c:v>04-19</c:v>
                </c:pt>
                <c:pt idx="80">
                  <c:v>04-20</c:v>
                </c:pt>
                <c:pt idx="81">
                  <c:v>04-21</c:v>
                </c:pt>
                <c:pt idx="82">
                  <c:v>04-22</c:v>
                </c:pt>
                <c:pt idx="83">
                  <c:v>04-23</c:v>
                </c:pt>
                <c:pt idx="84">
                  <c:v>04-24</c:v>
                </c:pt>
                <c:pt idx="85">
                  <c:v>04-25</c:v>
                </c:pt>
                <c:pt idx="86">
                  <c:v>04-26</c:v>
                </c:pt>
                <c:pt idx="87">
                  <c:v>04-27</c:v>
                </c:pt>
                <c:pt idx="88">
                  <c:v>04-28</c:v>
                </c:pt>
                <c:pt idx="89">
                  <c:v>04-29</c:v>
                </c:pt>
                <c:pt idx="90">
                  <c:v>04-30</c:v>
                </c:pt>
                <c:pt idx="91">
                  <c:v>05-01</c:v>
                </c:pt>
                <c:pt idx="92">
                  <c:v>05-02</c:v>
                </c:pt>
                <c:pt idx="93">
                  <c:v>05-03</c:v>
                </c:pt>
                <c:pt idx="94">
                  <c:v>05-04</c:v>
                </c:pt>
                <c:pt idx="95">
                  <c:v>05-05</c:v>
                </c:pt>
                <c:pt idx="96">
                  <c:v>05-06</c:v>
                </c:pt>
                <c:pt idx="97">
                  <c:v>05-07</c:v>
                </c:pt>
                <c:pt idx="98">
                  <c:v>05-08</c:v>
                </c:pt>
                <c:pt idx="99">
                  <c:v>05-09</c:v>
                </c:pt>
                <c:pt idx="100">
                  <c:v>05-10</c:v>
                </c:pt>
                <c:pt idx="101">
                  <c:v>05-11</c:v>
                </c:pt>
                <c:pt idx="102">
                  <c:v>05-12</c:v>
                </c:pt>
                <c:pt idx="103">
                  <c:v>05-13</c:v>
                </c:pt>
                <c:pt idx="104">
                  <c:v>05-14</c:v>
                </c:pt>
                <c:pt idx="105">
                  <c:v>05-15</c:v>
                </c:pt>
                <c:pt idx="106">
                  <c:v>05-16</c:v>
                </c:pt>
                <c:pt idx="107">
                  <c:v>05-17</c:v>
                </c:pt>
                <c:pt idx="108">
                  <c:v>05-18</c:v>
                </c:pt>
                <c:pt idx="109">
                  <c:v>05-19</c:v>
                </c:pt>
                <c:pt idx="110">
                  <c:v>05-20</c:v>
                </c:pt>
                <c:pt idx="111">
                  <c:v>05-21</c:v>
                </c:pt>
                <c:pt idx="112">
                  <c:v>05-22</c:v>
                </c:pt>
                <c:pt idx="113">
                  <c:v>05-23</c:v>
                </c:pt>
                <c:pt idx="114">
                  <c:v>05-24</c:v>
                </c:pt>
                <c:pt idx="115">
                  <c:v>05-25</c:v>
                </c:pt>
                <c:pt idx="116">
                  <c:v>05-26</c:v>
                </c:pt>
                <c:pt idx="117">
                  <c:v>05-27</c:v>
                </c:pt>
                <c:pt idx="118">
                  <c:v>05-28</c:v>
                </c:pt>
                <c:pt idx="119">
                  <c:v>05-29</c:v>
                </c:pt>
                <c:pt idx="120">
                  <c:v>05-30</c:v>
                </c:pt>
                <c:pt idx="121">
                  <c:v>05-31</c:v>
                </c:pt>
                <c:pt idx="122">
                  <c:v>06-01</c:v>
                </c:pt>
                <c:pt idx="123">
                  <c:v>06-02</c:v>
                </c:pt>
                <c:pt idx="124">
                  <c:v>06-03</c:v>
                </c:pt>
                <c:pt idx="125">
                  <c:v>06-04</c:v>
                </c:pt>
                <c:pt idx="126">
                  <c:v>06-05</c:v>
                </c:pt>
                <c:pt idx="127">
                  <c:v>06-06</c:v>
                </c:pt>
                <c:pt idx="128">
                  <c:v>06-07</c:v>
                </c:pt>
                <c:pt idx="129">
                  <c:v>06-08</c:v>
                </c:pt>
                <c:pt idx="130">
                  <c:v>06-09</c:v>
                </c:pt>
                <c:pt idx="131">
                  <c:v>06-10</c:v>
                </c:pt>
                <c:pt idx="132">
                  <c:v>06-11</c:v>
                </c:pt>
                <c:pt idx="133">
                  <c:v>06-12</c:v>
                </c:pt>
                <c:pt idx="134">
                  <c:v>06-13</c:v>
                </c:pt>
                <c:pt idx="135">
                  <c:v>06-14</c:v>
                </c:pt>
                <c:pt idx="136">
                  <c:v>06-15</c:v>
                </c:pt>
                <c:pt idx="137">
                  <c:v>06-16</c:v>
                </c:pt>
                <c:pt idx="138">
                  <c:v>06-17</c:v>
                </c:pt>
                <c:pt idx="139">
                  <c:v>06-18</c:v>
                </c:pt>
                <c:pt idx="140">
                  <c:v>06-19</c:v>
                </c:pt>
                <c:pt idx="141">
                  <c:v>06-20</c:v>
                </c:pt>
                <c:pt idx="142">
                  <c:v>06-21</c:v>
                </c:pt>
                <c:pt idx="143">
                  <c:v>06-22</c:v>
                </c:pt>
                <c:pt idx="144">
                  <c:v>06-23</c:v>
                </c:pt>
                <c:pt idx="145">
                  <c:v>06-24</c:v>
                </c:pt>
                <c:pt idx="146">
                  <c:v>06-25</c:v>
                </c:pt>
                <c:pt idx="147">
                  <c:v>06-26</c:v>
                </c:pt>
                <c:pt idx="148">
                  <c:v>06-27</c:v>
                </c:pt>
                <c:pt idx="149">
                  <c:v>06-28</c:v>
                </c:pt>
                <c:pt idx="150">
                  <c:v>06-29</c:v>
                </c:pt>
                <c:pt idx="151">
                  <c:v>06-30</c:v>
                </c:pt>
                <c:pt idx="152">
                  <c:v>07-01</c:v>
                </c:pt>
                <c:pt idx="153">
                  <c:v>07-02</c:v>
                </c:pt>
                <c:pt idx="154">
                  <c:v>07-03</c:v>
                </c:pt>
                <c:pt idx="155">
                  <c:v>07-04</c:v>
                </c:pt>
                <c:pt idx="156">
                  <c:v>07-05</c:v>
                </c:pt>
                <c:pt idx="157">
                  <c:v>07-06</c:v>
                </c:pt>
                <c:pt idx="158">
                  <c:v>07-07</c:v>
                </c:pt>
                <c:pt idx="159">
                  <c:v>07-08</c:v>
                </c:pt>
                <c:pt idx="160">
                  <c:v>07-09</c:v>
                </c:pt>
                <c:pt idx="161">
                  <c:v>07-10</c:v>
                </c:pt>
                <c:pt idx="162">
                  <c:v>07-11</c:v>
                </c:pt>
                <c:pt idx="163">
                  <c:v>07-12</c:v>
                </c:pt>
                <c:pt idx="164">
                  <c:v>07-13</c:v>
                </c:pt>
                <c:pt idx="165">
                  <c:v>07-14</c:v>
                </c:pt>
                <c:pt idx="166">
                  <c:v>07-15</c:v>
                </c:pt>
                <c:pt idx="167">
                  <c:v>07-16</c:v>
                </c:pt>
                <c:pt idx="168">
                  <c:v>07-17</c:v>
                </c:pt>
                <c:pt idx="169">
                  <c:v>07-18</c:v>
                </c:pt>
                <c:pt idx="170">
                  <c:v>07-19</c:v>
                </c:pt>
                <c:pt idx="171">
                  <c:v>07-20</c:v>
                </c:pt>
                <c:pt idx="172">
                  <c:v>07-21</c:v>
                </c:pt>
                <c:pt idx="173">
                  <c:v>07-22</c:v>
                </c:pt>
                <c:pt idx="174">
                  <c:v>07-23</c:v>
                </c:pt>
                <c:pt idx="175">
                  <c:v>07-24</c:v>
                </c:pt>
                <c:pt idx="176">
                  <c:v>07-25</c:v>
                </c:pt>
                <c:pt idx="177">
                  <c:v>07-26</c:v>
                </c:pt>
                <c:pt idx="178">
                  <c:v>07-27</c:v>
                </c:pt>
                <c:pt idx="179">
                  <c:v>07-28</c:v>
                </c:pt>
                <c:pt idx="180">
                  <c:v>07-29</c:v>
                </c:pt>
                <c:pt idx="181">
                  <c:v>07-30</c:v>
                </c:pt>
                <c:pt idx="182">
                  <c:v>07-31</c:v>
                </c:pt>
                <c:pt idx="183">
                  <c:v>08-01</c:v>
                </c:pt>
                <c:pt idx="184">
                  <c:v>08-02</c:v>
                </c:pt>
                <c:pt idx="185">
                  <c:v>08-03</c:v>
                </c:pt>
                <c:pt idx="186">
                  <c:v>08-04</c:v>
                </c:pt>
                <c:pt idx="187">
                  <c:v>08-05</c:v>
                </c:pt>
                <c:pt idx="188">
                  <c:v>08-06</c:v>
                </c:pt>
                <c:pt idx="189">
                  <c:v>08-07</c:v>
                </c:pt>
                <c:pt idx="190">
                  <c:v>08-08</c:v>
                </c:pt>
                <c:pt idx="191">
                  <c:v>08-09</c:v>
                </c:pt>
                <c:pt idx="192">
                  <c:v>08-10</c:v>
                </c:pt>
                <c:pt idx="193">
                  <c:v>08-11</c:v>
                </c:pt>
                <c:pt idx="194">
                  <c:v>08-12</c:v>
                </c:pt>
                <c:pt idx="195">
                  <c:v>08-13</c:v>
                </c:pt>
                <c:pt idx="196">
                  <c:v>08-14</c:v>
                </c:pt>
                <c:pt idx="197">
                  <c:v>08-15</c:v>
                </c:pt>
                <c:pt idx="198">
                  <c:v>08-16</c:v>
                </c:pt>
                <c:pt idx="199">
                  <c:v>08-17</c:v>
                </c:pt>
                <c:pt idx="200">
                  <c:v>08-18</c:v>
                </c:pt>
                <c:pt idx="201">
                  <c:v>08-19</c:v>
                </c:pt>
                <c:pt idx="202">
                  <c:v>08-20</c:v>
                </c:pt>
                <c:pt idx="203">
                  <c:v>08-21</c:v>
                </c:pt>
                <c:pt idx="204">
                  <c:v>08-22</c:v>
                </c:pt>
                <c:pt idx="205">
                  <c:v>08-23</c:v>
                </c:pt>
                <c:pt idx="206">
                  <c:v>08-24</c:v>
                </c:pt>
                <c:pt idx="207">
                  <c:v>08-25</c:v>
                </c:pt>
                <c:pt idx="208">
                  <c:v>08-26</c:v>
                </c:pt>
                <c:pt idx="209">
                  <c:v>08-27</c:v>
                </c:pt>
                <c:pt idx="210">
                  <c:v>08-28</c:v>
                </c:pt>
                <c:pt idx="211">
                  <c:v>08-29</c:v>
                </c:pt>
                <c:pt idx="212">
                  <c:v>08-30</c:v>
                </c:pt>
                <c:pt idx="213">
                  <c:v>08-31</c:v>
                </c:pt>
                <c:pt idx="214">
                  <c:v>09-01</c:v>
                </c:pt>
                <c:pt idx="215">
                  <c:v>09-02</c:v>
                </c:pt>
                <c:pt idx="216">
                  <c:v>09-03</c:v>
                </c:pt>
                <c:pt idx="217">
                  <c:v>09-04</c:v>
                </c:pt>
                <c:pt idx="218">
                  <c:v>09-05</c:v>
                </c:pt>
                <c:pt idx="219">
                  <c:v>09-06</c:v>
                </c:pt>
                <c:pt idx="220">
                  <c:v>09-07</c:v>
                </c:pt>
                <c:pt idx="221">
                  <c:v>09-08</c:v>
                </c:pt>
                <c:pt idx="222">
                  <c:v>09-09</c:v>
                </c:pt>
                <c:pt idx="223">
                  <c:v>09-10</c:v>
                </c:pt>
                <c:pt idx="224">
                  <c:v>09-11</c:v>
                </c:pt>
                <c:pt idx="225">
                  <c:v>09-12</c:v>
                </c:pt>
                <c:pt idx="226">
                  <c:v>09-13</c:v>
                </c:pt>
                <c:pt idx="227">
                  <c:v>09-14</c:v>
                </c:pt>
                <c:pt idx="228">
                  <c:v>09-15</c:v>
                </c:pt>
                <c:pt idx="229">
                  <c:v>09-16</c:v>
                </c:pt>
                <c:pt idx="230">
                  <c:v>09-17</c:v>
                </c:pt>
                <c:pt idx="231">
                  <c:v>09-18</c:v>
                </c:pt>
                <c:pt idx="232">
                  <c:v>09-19</c:v>
                </c:pt>
                <c:pt idx="233">
                  <c:v>09-20</c:v>
                </c:pt>
                <c:pt idx="234">
                  <c:v>09-21</c:v>
                </c:pt>
                <c:pt idx="235">
                  <c:v>09-22</c:v>
                </c:pt>
                <c:pt idx="236">
                  <c:v>09-23</c:v>
                </c:pt>
                <c:pt idx="237">
                  <c:v>09-24</c:v>
                </c:pt>
                <c:pt idx="238">
                  <c:v>09-25</c:v>
                </c:pt>
                <c:pt idx="239">
                  <c:v>09-26</c:v>
                </c:pt>
                <c:pt idx="240">
                  <c:v>09-27</c:v>
                </c:pt>
                <c:pt idx="241">
                  <c:v>09-28</c:v>
                </c:pt>
                <c:pt idx="242">
                  <c:v>09-29</c:v>
                </c:pt>
                <c:pt idx="243">
                  <c:v>09-30</c:v>
                </c:pt>
                <c:pt idx="244">
                  <c:v>10-01</c:v>
                </c:pt>
                <c:pt idx="245">
                  <c:v>10-02</c:v>
                </c:pt>
                <c:pt idx="246">
                  <c:v>10-03</c:v>
                </c:pt>
                <c:pt idx="247">
                  <c:v>10-04</c:v>
                </c:pt>
                <c:pt idx="248">
                  <c:v>10-05</c:v>
                </c:pt>
                <c:pt idx="249">
                  <c:v>10-06</c:v>
                </c:pt>
                <c:pt idx="250">
                  <c:v>10-07</c:v>
                </c:pt>
                <c:pt idx="251">
                  <c:v>10-08</c:v>
                </c:pt>
                <c:pt idx="252">
                  <c:v>10-09</c:v>
                </c:pt>
                <c:pt idx="253">
                  <c:v>10-10</c:v>
                </c:pt>
                <c:pt idx="254">
                  <c:v>10-11</c:v>
                </c:pt>
                <c:pt idx="255">
                  <c:v>10-12</c:v>
                </c:pt>
                <c:pt idx="256">
                  <c:v>10-13</c:v>
                </c:pt>
                <c:pt idx="257">
                  <c:v>10-14</c:v>
                </c:pt>
                <c:pt idx="258">
                  <c:v>10-15</c:v>
                </c:pt>
                <c:pt idx="259">
                  <c:v>10-16</c:v>
                </c:pt>
                <c:pt idx="260">
                  <c:v>10-17</c:v>
                </c:pt>
                <c:pt idx="261">
                  <c:v>10-18</c:v>
                </c:pt>
                <c:pt idx="262">
                  <c:v>10-19</c:v>
                </c:pt>
                <c:pt idx="263">
                  <c:v>10-20</c:v>
                </c:pt>
                <c:pt idx="264">
                  <c:v>10-21</c:v>
                </c:pt>
                <c:pt idx="265">
                  <c:v>10-22</c:v>
                </c:pt>
                <c:pt idx="266">
                  <c:v>10-23</c:v>
                </c:pt>
                <c:pt idx="267">
                  <c:v>10-24</c:v>
                </c:pt>
                <c:pt idx="268">
                  <c:v>10-25</c:v>
                </c:pt>
                <c:pt idx="269">
                  <c:v>10-26</c:v>
                </c:pt>
                <c:pt idx="270">
                  <c:v>10-27</c:v>
                </c:pt>
                <c:pt idx="271">
                  <c:v>10-28</c:v>
                </c:pt>
                <c:pt idx="272">
                  <c:v>10-29</c:v>
                </c:pt>
                <c:pt idx="273">
                  <c:v>10-30</c:v>
                </c:pt>
                <c:pt idx="274">
                  <c:v>10-31</c:v>
                </c:pt>
                <c:pt idx="275">
                  <c:v>11-01</c:v>
                </c:pt>
                <c:pt idx="276">
                  <c:v>11-02</c:v>
                </c:pt>
                <c:pt idx="277">
                  <c:v>11-03</c:v>
                </c:pt>
                <c:pt idx="278">
                  <c:v>11-04</c:v>
                </c:pt>
                <c:pt idx="279">
                  <c:v>11-05</c:v>
                </c:pt>
                <c:pt idx="280">
                  <c:v>11-06</c:v>
                </c:pt>
                <c:pt idx="281">
                  <c:v>11-07</c:v>
                </c:pt>
                <c:pt idx="282">
                  <c:v>11-08</c:v>
                </c:pt>
                <c:pt idx="283">
                  <c:v>11-09</c:v>
                </c:pt>
                <c:pt idx="284">
                  <c:v>11-10</c:v>
                </c:pt>
                <c:pt idx="285">
                  <c:v>11-11</c:v>
                </c:pt>
                <c:pt idx="286">
                  <c:v>11-12</c:v>
                </c:pt>
                <c:pt idx="287">
                  <c:v>11-13</c:v>
                </c:pt>
                <c:pt idx="288">
                  <c:v>11-14</c:v>
                </c:pt>
                <c:pt idx="289">
                  <c:v>11-15</c:v>
                </c:pt>
                <c:pt idx="290">
                  <c:v>11-16</c:v>
                </c:pt>
                <c:pt idx="291">
                  <c:v>11-17</c:v>
                </c:pt>
                <c:pt idx="292">
                  <c:v>11-18</c:v>
                </c:pt>
                <c:pt idx="293">
                  <c:v>11-19</c:v>
                </c:pt>
                <c:pt idx="294">
                  <c:v>11-20</c:v>
                </c:pt>
                <c:pt idx="295">
                  <c:v>11-21</c:v>
                </c:pt>
                <c:pt idx="296">
                  <c:v>11-22</c:v>
                </c:pt>
                <c:pt idx="297">
                  <c:v>11-23</c:v>
                </c:pt>
                <c:pt idx="298">
                  <c:v>11-24</c:v>
                </c:pt>
                <c:pt idx="299">
                  <c:v>11-25</c:v>
                </c:pt>
                <c:pt idx="300">
                  <c:v>11-26</c:v>
                </c:pt>
                <c:pt idx="301">
                  <c:v>11-27</c:v>
                </c:pt>
                <c:pt idx="302">
                  <c:v>11-28</c:v>
                </c:pt>
                <c:pt idx="303">
                  <c:v>11-29</c:v>
                </c:pt>
                <c:pt idx="304">
                  <c:v>11-30</c:v>
                </c:pt>
                <c:pt idx="305">
                  <c:v>12-01</c:v>
                </c:pt>
                <c:pt idx="306">
                  <c:v>12-02</c:v>
                </c:pt>
                <c:pt idx="307">
                  <c:v>12-03</c:v>
                </c:pt>
                <c:pt idx="308">
                  <c:v>12-04</c:v>
                </c:pt>
                <c:pt idx="309">
                  <c:v>12-05</c:v>
                </c:pt>
                <c:pt idx="310">
                  <c:v>12-06</c:v>
                </c:pt>
                <c:pt idx="311">
                  <c:v>12-07</c:v>
                </c:pt>
                <c:pt idx="312">
                  <c:v>12-08</c:v>
                </c:pt>
                <c:pt idx="313">
                  <c:v>12-09</c:v>
                </c:pt>
                <c:pt idx="314">
                  <c:v>12-10</c:v>
                </c:pt>
                <c:pt idx="315">
                  <c:v>12-11</c:v>
                </c:pt>
                <c:pt idx="316">
                  <c:v>12-12</c:v>
                </c:pt>
                <c:pt idx="317">
                  <c:v>12-13</c:v>
                </c:pt>
                <c:pt idx="318">
                  <c:v>12-14</c:v>
                </c:pt>
                <c:pt idx="319">
                  <c:v>12-15</c:v>
                </c:pt>
                <c:pt idx="320">
                  <c:v>12-16</c:v>
                </c:pt>
                <c:pt idx="321">
                  <c:v>12-17</c:v>
                </c:pt>
                <c:pt idx="322">
                  <c:v>12-18</c:v>
                </c:pt>
                <c:pt idx="323">
                  <c:v>12-19</c:v>
                </c:pt>
                <c:pt idx="324">
                  <c:v>12-20</c:v>
                </c:pt>
                <c:pt idx="325">
                  <c:v>12-21</c:v>
                </c:pt>
                <c:pt idx="326">
                  <c:v>12-22</c:v>
                </c:pt>
                <c:pt idx="327">
                  <c:v>12-23</c:v>
                </c:pt>
                <c:pt idx="328">
                  <c:v>12-24</c:v>
                </c:pt>
                <c:pt idx="329">
                  <c:v>12-25</c:v>
                </c:pt>
                <c:pt idx="330">
                  <c:v>12-26</c:v>
                </c:pt>
                <c:pt idx="331">
                  <c:v>12-27</c:v>
                </c:pt>
                <c:pt idx="332">
                  <c:v>12-28</c:v>
                </c:pt>
                <c:pt idx="333">
                  <c:v>12-29</c:v>
                </c:pt>
                <c:pt idx="334">
                  <c:v>12-30</c:v>
                </c:pt>
                <c:pt idx="335">
                  <c:v>12-31</c:v>
                </c:pt>
              </c:strCache>
            </c:strRef>
          </c:cat>
          <c:val>
            <c:numRef>
              <c:f>铝合金开工!$P$34:$P$369</c:f>
              <c:numCache>
                <c:formatCode>General</c:formatCode>
                <c:ptCount val="336"/>
                <c:pt idx="0">
                  <c:v>42.83</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24.78</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30.1</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30.86</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27.87</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25.98</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28.31</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26.94</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30.17</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30.3</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28.84</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26.35</c:v>
                </c:pt>
              </c:numCache>
            </c:numRef>
          </c:val>
          <c:smooth val="0"/>
          <c:extLst>
            <c:ext xmlns:c16="http://schemas.microsoft.com/office/drawing/2014/chart" uri="{C3380CC4-5D6E-409C-BE32-E72D297353CC}">
              <c16:uniqueId val="{00000002-A540-4584-9AF7-0FA4823A0F36}"/>
            </c:ext>
          </c:extLst>
        </c:ser>
        <c:ser>
          <c:idx val="3"/>
          <c:order val="3"/>
          <c:tx>
            <c:strRef>
              <c:f>铝合金开工!$Q$3</c:f>
              <c:strCache>
                <c:ptCount val="1"/>
                <c:pt idx="0">
                  <c:v>2023</c:v>
                </c:pt>
              </c:strCache>
            </c:strRef>
          </c:tx>
          <c:spPr>
            <a:ln w="19050" cap="rnd">
              <a:solidFill>
                <a:schemeClr val="accent4">
                  <a:lumMod val="60000"/>
                  <a:lumOff val="40000"/>
                </a:schemeClr>
              </a:solidFill>
              <a:round/>
            </a:ln>
            <a:effectLst/>
          </c:spPr>
          <c:marker>
            <c:symbol val="none"/>
          </c:marker>
          <c:cat>
            <c:strRef>
              <c:f>铝合金开工!$K$34:$K$369</c:f>
              <c:strCache>
                <c:ptCount val="336"/>
                <c:pt idx="0">
                  <c:v>01-31</c:v>
                </c:pt>
                <c:pt idx="1">
                  <c:v>02-01</c:v>
                </c:pt>
                <c:pt idx="2">
                  <c:v>02-02</c:v>
                </c:pt>
                <c:pt idx="3">
                  <c:v>02-03</c:v>
                </c:pt>
                <c:pt idx="4">
                  <c:v>02-04</c:v>
                </c:pt>
                <c:pt idx="5">
                  <c:v>02-05</c:v>
                </c:pt>
                <c:pt idx="6">
                  <c:v>02-06</c:v>
                </c:pt>
                <c:pt idx="7">
                  <c:v>02-07</c:v>
                </c:pt>
                <c:pt idx="8">
                  <c:v>02-08</c:v>
                </c:pt>
                <c:pt idx="9">
                  <c:v>02-09</c:v>
                </c:pt>
                <c:pt idx="10">
                  <c:v>02-10</c:v>
                </c:pt>
                <c:pt idx="11">
                  <c:v>02-11</c:v>
                </c:pt>
                <c:pt idx="12">
                  <c:v>02-12</c:v>
                </c:pt>
                <c:pt idx="13">
                  <c:v>02-13</c:v>
                </c:pt>
                <c:pt idx="14">
                  <c:v>02-14</c:v>
                </c:pt>
                <c:pt idx="15">
                  <c:v>02-15</c:v>
                </c:pt>
                <c:pt idx="16">
                  <c:v>02-16</c:v>
                </c:pt>
                <c:pt idx="17">
                  <c:v>02-17</c:v>
                </c:pt>
                <c:pt idx="18">
                  <c:v>02-18</c:v>
                </c:pt>
                <c:pt idx="19">
                  <c:v>02-19</c:v>
                </c:pt>
                <c:pt idx="20">
                  <c:v>02-20</c:v>
                </c:pt>
                <c:pt idx="21">
                  <c:v>02-21</c:v>
                </c:pt>
                <c:pt idx="22">
                  <c:v>02-22</c:v>
                </c:pt>
                <c:pt idx="23">
                  <c:v>02-23</c:v>
                </c:pt>
                <c:pt idx="24">
                  <c:v>02-24</c:v>
                </c:pt>
                <c:pt idx="25">
                  <c:v>02-25</c:v>
                </c:pt>
                <c:pt idx="26">
                  <c:v>02-26</c:v>
                </c:pt>
                <c:pt idx="27">
                  <c:v>02-27</c:v>
                </c:pt>
                <c:pt idx="28">
                  <c:v>02-28</c:v>
                </c:pt>
                <c:pt idx="29">
                  <c:v>02-29</c:v>
                </c:pt>
                <c:pt idx="30">
                  <c:v>03-01</c:v>
                </c:pt>
                <c:pt idx="31">
                  <c:v>03-02</c:v>
                </c:pt>
                <c:pt idx="32">
                  <c:v>03-03</c:v>
                </c:pt>
                <c:pt idx="33">
                  <c:v>03-04</c:v>
                </c:pt>
                <c:pt idx="34">
                  <c:v>03-05</c:v>
                </c:pt>
                <c:pt idx="35">
                  <c:v>03-06</c:v>
                </c:pt>
                <c:pt idx="36">
                  <c:v>03-07</c:v>
                </c:pt>
                <c:pt idx="37">
                  <c:v>03-08</c:v>
                </c:pt>
                <c:pt idx="38">
                  <c:v>03-09</c:v>
                </c:pt>
                <c:pt idx="39">
                  <c:v>03-10</c:v>
                </c:pt>
                <c:pt idx="40">
                  <c:v>03-11</c:v>
                </c:pt>
                <c:pt idx="41">
                  <c:v>03-12</c:v>
                </c:pt>
                <c:pt idx="42">
                  <c:v>03-13</c:v>
                </c:pt>
                <c:pt idx="43">
                  <c:v>03-14</c:v>
                </c:pt>
                <c:pt idx="44">
                  <c:v>03-15</c:v>
                </c:pt>
                <c:pt idx="45">
                  <c:v>03-16</c:v>
                </c:pt>
                <c:pt idx="46">
                  <c:v>03-17</c:v>
                </c:pt>
                <c:pt idx="47">
                  <c:v>03-18</c:v>
                </c:pt>
                <c:pt idx="48">
                  <c:v>03-19</c:v>
                </c:pt>
                <c:pt idx="49">
                  <c:v>03-20</c:v>
                </c:pt>
                <c:pt idx="50">
                  <c:v>03-21</c:v>
                </c:pt>
                <c:pt idx="51">
                  <c:v>03-22</c:v>
                </c:pt>
                <c:pt idx="52">
                  <c:v>03-23</c:v>
                </c:pt>
                <c:pt idx="53">
                  <c:v>03-24</c:v>
                </c:pt>
                <c:pt idx="54">
                  <c:v>03-25</c:v>
                </c:pt>
                <c:pt idx="55">
                  <c:v>03-26</c:v>
                </c:pt>
                <c:pt idx="56">
                  <c:v>03-27</c:v>
                </c:pt>
                <c:pt idx="57">
                  <c:v>03-28</c:v>
                </c:pt>
                <c:pt idx="58">
                  <c:v>03-29</c:v>
                </c:pt>
                <c:pt idx="59">
                  <c:v>03-30</c:v>
                </c:pt>
                <c:pt idx="60">
                  <c:v>03-31</c:v>
                </c:pt>
                <c:pt idx="61">
                  <c:v>04-01</c:v>
                </c:pt>
                <c:pt idx="62">
                  <c:v>04-02</c:v>
                </c:pt>
                <c:pt idx="63">
                  <c:v>04-03</c:v>
                </c:pt>
                <c:pt idx="64">
                  <c:v>04-04</c:v>
                </c:pt>
                <c:pt idx="65">
                  <c:v>04-05</c:v>
                </c:pt>
                <c:pt idx="66">
                  <c:v>04-06</c:v>
                </c:pt>
                <c:pt idx="67">
                  <c:v>04-07</c:v>
                </c:pt>
                <c:pt idx="68">
                  <c:v>04-08</c:v>
                </c:pt>
                <c:pt idx="69">
                  <c:v>04-09</c:v>
                </c:pt>
                <c:pt idx="70">
                  <c:v>04-10</c:v>
                </c:pt>
                <c:pt idx="71">
                  <c:v>04-11</c:v>
                </c:pt>
                <c:pt idx="72">
                  <c:v>04-12</c:v>
                </c:pt>
                <c:pt idx="73">
                  <c:v>04-13</c:v>
                </c:pt>
                <c:pt idx="74">
                  <c:v>04-14</c:v>
                </c:pt>
                <c:pt idx="75">
                  <c:v>04-15</c:v>
                </c:pt>
                <c:pt idx="76">
                  <c:v>04-16</c:v>
                </c:pt>
                <c:pt idx="77">
                  <c:v>04-17</c:v>
                </c:pt>
                <c:pt idx="78">
                  <c:v>04-18</c:v>
                </c:pt>
                <c:pt idx="79">
                  <c:v>04-19</c:v>
                </c:pt>
                <c:pt idx="80">
                  <c:v>04-20</c:v>
                </c:pt>
                <c:pt idx="81">
                  <c:v>04-21</c:v>
                </c:pt>
                <c:pt idx="82">
                  <c:v>04-22</c:v>
                </c:pt>
                <c:pt idx="83">
                  <c:v>04-23</c:v>
                </c:pt>
                <c:pt idx="84">
                  <c:v>04-24</c:v>
                </c:pt>
                <c:pt idx="85">
                  <c:v>04-25</c:v>
                </c:pt>
                <c:pt idx="86">
                  <c:v>04-26</c:v>
                </c:pt>
                <c:pt idx="87">
                  <c:v>04-27</c:v>
                </c:pt>
                <c:pt idx="88">
                  <c:v>04-28</c:v>
                </c:pt>
                <c:pt idx="89">
                  <c:v>04-29</c:v>
                </c:pt>
                <c:pt idx="90">
                  <c:v>04-30</c:v>
                </c:pt>
                <c:pt idx="91">
                  <c:v>05-01</c:v>
                </c:pt>
                <c:pt idx="92">
                  <c:v>05-02</c:v>
                </c:pt>
                <c:pt idx="93">
                  <c:v>05-03</c:v>
                </c:pt>
                <c:pt idx="94">
                  <c:v>05-04</c:v>
                </c:pt>
                <c:pt idx="95">
                  <c:v>05-05</c:v>
                </c:pt>
                <c:pt idx="96">
                  <c:v>05-06</c:v>
                </c:pt>
                <c:pt idx="97">
                  <c:v>05-07</c:v>
                </c:pt>
                <c:pt idx="98">
                  <c:v>05-08</c:v>
                </c:pt>
                <c:pt idx="99">
                  <c:v>05-09</c:v>
                </c:pt>
                <c:pt idx="100">
                  <c:v>05-10</c:v>
                </c:pt>
                <c:pt idx="101">
                  <c:v>05-11</c:v>
                </c:pt>
                <c:pt idx="102">
                  <c:v>05-12</c:v>
                </c:pt>
                <c:pt idx="103">
                  <c:v>05-13</c:v>
                </c:pt>
                <c:pt idx="104">
                  <c:v>05-14</c:v>
                </c:pt>
                <c:pt idx="105">
                  <c:v>05-15</c:v>
                </c:pt>
                <c:pt idx="106">
                  <c:v>05-16</c:v>
                </c:pt>
                <c:pt idx="107">
                  <c:v>05-17</c:v>
                </c:pt>
                <c:pt idx="108">
                  <c:v>05-18</c:v>
                </c:pt>
                <c:pt idx="109">
                  <c:v>05-19</c:v>
                </c:pt>
                <c:pt idx="110">
                  <c:v>05-20</c:v>
                </c:pt>
                <c:pt idx="111">
                  <c:v>05-21</c:v>
                </c:pt>
                <c:pt idx="112">
                  <c:v>05-22</c:v>
                </c:pt>
                <c:pt idx="113">
                  <c:v>05-23</c:v>
                </c:pt>
                <c:pt idx="114">
                  <c:v>05-24</c:v>
                </c:pt>
                <c:pt idx="115">
                  <c:v>05-25</c:v>
                </c:pt>
                <c:pt idx="116">
                  <c:v>05-26</c:v>
                </c:pt>
                <c:pt idx="117">
                  <c:v>05-27</c:v>
                </c:pt>
                <c:pt idx="118">
                  <c:v>05-28</c:v>
                </c:pt>
                <c:pt idx="119">
                  <c:v>05-29</c:v>
                </c:pt>
                <c:pt idx="120">
                  <c:v>05-30</c:v>
                </c:pt>
                <c:pt idx="121">
                  <c:v>05-31</c:v>
                </c:pt>
                <c:pt idx="122">
                  <c:v>06-01</c:v>
                </c:pt>
                <c:pt idx="123">
                  <c:v>06-02</c:v>
                </c:pt>
                <c:pt idx="124">
                  <c:v>06-03</c:v>
                </c:pt>
                <c:pt idx="125">
                  <c:v>06-04</c:v>
                </c:pt>
                <c:pt idx="126">
                  <c:v>06-05</c:v>
                </c:pt>
                <c:pt idx="127">
                  <c:v>06-06</c:v>
                </c:pt>
                <c:pt idx="128">
                  <c:v>06-07</c:v>
                </c:pt>
                <c:pt idx="129">
                  <c:v>06-08</c:v>
                </c:pt>
                <c:pt idx="130">
                  <c:v>06-09</c:v>
                </c:pt>
                <c:pt idx="131">
                  <c:v>06-10</c:v>
                </c:pt>
                <c:pt idx="132">
                  <c:v>06-11</c:v>
                </c:pt>
                <c:pt idx="133">
                  <c:v>06-12</c:v>
                </c:pt>
                <c:pt idx="134">
                  <c:v>06-13</c:v>
                </c:pt>
                <c:pt idx="135">
                  <c:v>06-14</c:v>
                </c:pt>
                <c:pt idx="136">
                  <c:v>06-15</c:v>
                </c:pt>
                <c:pt idx="137">
                  <c:v>06-16</c:v>
                </c:pt>
                <c:pt idx="138">
                  <c:v>06-17</c:v>
                </c:pt>
                <c:pt idx="139">
                  <c:v>06-18</c:v>
                </c:pt>
                <c:pt idx="140">
                  <c:v>06-19</c:v>
                </c:pt>
                <c:pt idx="141">
                  <c:v>06-20</c:v>
                </c:pt>
                <c:pt idx="142">
                  <c:v>06-21</c:v>
                </c:pt>
                <c:pt idx="143">
                  <c:v>06-22</c:v>
                </c:pt>
                <c:pt idx="144">
                  <c:v>06-23</c:v>
                </c:pt>
                <c:pt idx="145">
                  <c:v>06-24</c:v>
                </c:pt>
                <c:pt idx="146">
                  <c:v>06-25</c:v>
                </c:pt>
                <c:pt idx="147">
                  <c:v>06-26</c:v>
                </c:pt>
                <c:pt idx="148">
                  <c:v>06-27</c:v>
                </c:pt>
                <c:pt idx="149">
                  <c:v>06-28</c:v>
                </c:pt>
                <c:pt idx="150">
                  <c:v>06-29</c:v>
                </c:pt>
                <c:pt idx="151">
                  <c:v>06-30</c:v>
                </c:pt>
                <c:pt idx="152">
                  <c:v>07-01</c:v>
                </c:pt>
                <c:pt idx="153">
                  <c:v>07-02</c:v>
                </c:pt>
                <c:pt idx="154">
                  <c:v>07-03</c:v>
                </c:pt>
                <c:pt idx="155">
                  <c:v>07-04</c:v>
                </c:pt>
                <c:pt idx="156">
                  <c:v>07-05</c:v>
                </c:pt>
                <c:pt idx="157">
                  <c:v>07-06</c:v>
                </c:pt>
                <c:pt idx="158">
                  <c:v>07-07</c:v>
                </c:pt>
                <c:pt idx="159">
                  <c:v>07-08</c:v>
                </c:pt>
                <c:pt idx="160">
                  <c:v>07-09</c:v>
                </c:pt>
                <c:pt idx="161">
                  <c:v>07-10</c:v>
                </c:pt>
                <c:pt idx="162">
                  <c:v>07-11</c:v>
                </c:pt>
                <c:pt idx="163">
                  <c:v>07-12</c:v>
                </c:pt>
                <c:pt idx="164">
                  <c:v>07-13</c:v>
                </c:pt>
                <c:pt idx="165">
                  <c:v>07-14</c:v>
                </c:pt>
                <c:pt idx="166">
                  <c:v>07-15</c:v>
                </c:pt>
                <c:pt idx="167">
                  <c:v>07-16</c:v>
                </c:pt>
                <c:pt idx="168">
                  <c:v>07-17</c:v>
                </c:pt>
                <c:pt idx="169">
                  <c:v>07-18</c:v>
                </c:pt>
                <c:pt idx="170">
                  <c:v>07-19</c:v>
                </c:pt>
                <c:pt idx="171">
                  <c:v>07-20</c:v>
                </c:pt>
                <c:pt idx="172">
                  <c:v>07-21</c:v>
                </c:pt>
                <c:pt idx="173">
                  <c:v>07-22</c:v>
                </c:pt>
                <c:pt idx="174">
                  <c:v>07-23</c:v>
                </c:pt>
                <c:pt idx="175">
                  <c:v>07-24</c:v>
                </c:pt>
                <c:pt idx="176">
                  <c:v>07-25</c:v>
                </c:pt>
                <c:pt idx="177">
                  <c:v>07-26</c:v>
                </c:pt>
                <c:pt idx="178">
                  <c:v>07-27</c:v>
                </c:pt>
                <c:pt idx="179">
                  <c:v>07-28</c:v>
                </c:pt>
                <c:pt idx="180">
                  <c:v>07-29</c:v>
                </c:pt>
                <c:pt idx="181">
                  <c:v>07-30</c:v>
                </c:pt>
                <c:pt idx="182">
                  <c:v>07-31</c:v>
                </c:pt>
                <c:pt idx="183">
                  <c:v>08-01</c:v>
                </c:pt>
                <c:pt idx="184">
                  <c:v>08-02</c:v>
                </c:pt>
                <c:pt idx="185">
                  <c:v>08-03</c:v>
                </c:pt>
                <c:pt idx="186">
                  <c:v>08-04</c:v>
                </c:pt>
                <c:pt idx="187">
                  <c:v>08-05</c:v>
                </c:pt>
                <c:pt idx="188">
                  <c:v>08-06</c:v>
                </c:pt>
                <c:pt idx="189">
                  <c:v>08-07</c:v>
                </c:pt>
                <c:pt idx="190">
                  <c:v>08-08</c:v>
                </c:pt>
                <c:pt idx="191">
                  <c:v>08-09</c:v>
                </c:pt>
                <c:pt idx="192">
                  <c:v>08-10</c:v>
                </c:pt>
                <c:pt idx="193">
                  <c:v>08-11</c:v>
                </c:pt>
                <c:pt idx="194">
                  <c:v>08-12</c:v>
                </c:pt>
                <c:pt idx="195">
                  <c:v>08-13</c:v>
                </c:pt>
                <c:pt idx="196">
                  <c:v>08-14</c:v>
                </c:pt>
                <c:pt idx="197">
                  <c:v>08-15</c:v>
                </c:pt>
                <c:pt idx="198">
                  <c:v>08-16</c:v>
                </c:pt>
                <c:pt idx="199">
                  <c:v>08-17</c:v>
                </c:pt>
                <c:pt idx="200">
                  <c:v>08-18</c:v>
                </c:pt>
                <c:pt idx="201">
                  <c:v>08-19</c:v>
                </c:pt>
                <c:pt idx="202">
                  <c:v>08-20</c:v>
                </c:pt>
                <c:pt idx="203">
                  <c:v>08-21</c:v>
                </c:pt>
                <c:pt idx="204">
                  <c:v>08-22</c:v>
                </c:pt>
                <c:pt idx="205">
                  <c:v>08-23</c:v>
                </c:pt>
                <c:pt idx="206">
                  <c:v>08-24</c:v>
                </c:pt>
                <c:pt idx="207">
                  <c:v>08-25</c:v>
                </c:pt>
                <c:pt idx="208">
                  <c:v>08-26</c:v>
                </c:pt>
                <c:pt idx="209">
                  <c:v>08-27</c:v>
                </c:pt>
                <c:pt idx="210">
                  <c:v>08-28</c:v>
                </c:pt>
                <c:pt idx="211">
                  <c:v>08-29</c:v>
                </c:pt>
                <c:pt idx="212">
                  <c:v>08-30</c:v>
                </c:pt>
                <c:pt idx="213">
                  <c:v>08-31</c:v>
                </c:pt>
                <c:pt idx="214">
                  <c:v>09-01</c:v>
                </c:pt>
                <c:pt idx="215">
                  <c:v>09-02</c:v>
                </c:pt>
                <c:pt idx="216">
                  <c:v>09-03</c:v>
                </c:pt>
                <c:pt idx="217">
                  <c:v>09-04</c:v>
                </c:pt>
                <c:pt idx="218">
                  <c:v>09-05</c:v>
                </c:pt>
                <c:pt idx="219">
                  <c:v>09-06</c:v>
                </c:pt>
                <c:pt idx="220">
                  <c:v>09-07</c:v>
                </c:pt>
                <c:pt idx="221">
                  <c:v>09-08</c:v>
                </c:pt>
                <c:pt idx="222">
                  <c:v>09-09</c:v>
                </c:pt>
                <c:pt idx="223">
                  <c:v>09-10</c:v>
                </c:pt>
                <c:pt idx="224">
                  <c:v>09-11</c:v>
                </c:pt>
                <c:pt idx="225">
                  <c:v>09-12</c:v>
                </c:pt>
                <c:pt idx="226">
                  <c:v>09-13</c:v>
                </c:pt>
                <c:pt idx="227">
                  <c:v>09-14</c:v>
                </c:pt>
                <c:pt idx="228">
                  <c:v>09-15</c:v>
                </c:pt>
                <c:pt idx="229">
                  <c:v>09-16</c:v>
                </c:pt>
                <c:pt idx="230">
                  <c:v>09-17</c:v>
                </c:pt>
                <c:pt idx="231">
                  <c:v>09-18</c:v>
                </c:pt>
                <c:pt idx="232">
                  <c:v>09-19</c:v>
                </c:pt>
                <c:pt idx="233">
                  <c:v>09-20</c:v>
                </c:pt>
                <c:pt idx="234">
                  <c:v>09-21</c:v>
                </c:pt>
                <c:pt idx="235">
                  <c:v>09-22</c:v>
                </c:pt>
                <c:pt idx="236">
                  <c:v>09-23</c:v>
                </c:pt>
                <c:pt idx="237">
                  <c:v>09-24</c:v>
                </c:pt>
                <c:pt idx="238">
                  <c:v>09-25</c:v>
                </c:pt>
                <c:pt idx="239">
                  <c:v>09-26</c:v>
                </c:pt>
                <c:pt idx="240">
                  <c:v>09-27</c:v>
                </c:pt>
                <c:pt idx="241">
                  <c:v>09-28</c:v>
                </c:pt>
                <c:pt idx="242">
                  <c:v>09-29</c:v>
                </c:pt>
                <c:pt idx="243">
                  <c:v>09-30</c:v>
                </c:pt>
                <c:pt idx="244">
                  <c:v>10-01</c:v>
                </c:pt>
                <c:pt idx="245">
                  <c:v>10-02</c:v>
                </c:pt>
                <c:pt idx="246">
                  <c:v>10-03</c:v>
                </c:pt>
                <c:pt idx="247">
                  <c:v>10-04</c:v>
                </c:pt>
                <c:pt idx="248">
                  <c:v>10-05</c:v>
                </c:pt>
                <c:pt idx="249">
                  <c:v>10-06</c:v>
                </c:pt>
                <c:pt idx="250">
                  <c:v>10-07</c:v>
                </c:pt>
                <c:pt idx="251">
                  <c:v>10-08</c:v>
                </c:pt>
                <c:pt idx="252">
                  <c:v>10-09</c:v>
                </c:pt>
                <c:pt idx="253">
                  <c:v>10-10</c:v>
                </c:pt>
                <c:pt idx="254">
                  <c:v>10-11</c:v>
                </c:pt>
                <c:pt idx="255">
                  <c:v>10-12</c:v>
                </c:pt>
                <c:pt idx="256">
                  <c:v>10-13</c:v>
                </c:pt>
                <c:pt idx="257">
                  <c:v>10-14</c:v>
                </c:pt>
                <c:pt idx="258">
                  <c:v>10-15</c:v>
                </c:pt>
                <c:pt idx="259">
                  <c:v>10-16</c:v>
                </c:pt>
                <c:pt idx="260">
                  <c:v>10-17</c:v>
                </c:pt>
                <c:pt idx="261">
                  <c:v>10-18</c:v>
                </c:pt>
                <c:pt idx="262">
                  <c:v>10-19</c:v>
                </c:pt>
                <c:pt idx="263">
                  <c:v>10-20</c:v>
                </c:pt>
                <c:pt idx="264">
                  <c:v>10-21</c:v>
                </c:pt>
                <c:pt idx="265">
                  <c:v>10-22</c:v>
                </c:pt>
                <c:pt idx="266">
                  <c:v>10-23</c:v>
                </c:pt>
                <c:pt idx="267">
                  <c:v>10-24</c:v>
                </c:pt>
                <c:pt idx="268">
                  <c:v>10-25</c:v>
                </c:pt>
                <c:pt idx="269">
                  <c:v>10-26</c:v>
                </c:pt>
                <c:pt idx="270">
                  <c:v>10-27</c:v>
                </c:pt>
                <c:pt idx="271">
                  <c:v>10-28</c:v>
                </c:pt>
                <c:pt idx="272">
                  <c:v>10-29</c:v>
                </c:pt>
                <c:pt idx="273">
                  <c:v>10-30</c:v>
                </c:pt>
                <c:pt idx="274">
                  <c:v>10-31</c:v>
                </c:pt>
                <c:pt idx="275">
                  <c:v>11-01</c:v>
                </c:pt>
                <c:pt idx="276">
                  <c:v>11-02</c:v>
                </c:pt>
                <c:pt idx="277">
                  <c:v>11-03</c:v>
                </c:pt>
                <c:pt idx="278">
                  <c:v>11-04</c:v>
                </c:pt>
                <c:pt idx="279">
                  <c:v>11-05</c:v>
                </c:pt>
                <c:pt idx="280">
                  <c:v>11-06</c:v>
                </c:pt>
                <c:pt idx="281">
                  <c:v>11-07</c:v>
                </c:pt>
                <c:pt idx="282">
                  <c:v>11-08</c:v>
                </c:pt>
                <c:pt idx="283">
                  <c:v>11-09</c:v>
                </c:pt>
                <c:pt idx="284">
                  <c:v>11-10</c:v>
                </c:pt>
                <c:pt idx="285">
                  <c:v>11-11</c:v>
                </c:pt>
                <c:pt idx="286">
                  <c:v>11-12</c:v>
                </c:pt>
                <c:pt idx="287">
                  <c:v>11-13</c:v>
                </c:pt>
                <c:pt idx="288">
                  <c:v>11-14</c:v>
                </c:pt>
                <c:pt idx="289">
                  <c:v>11-15</c:v>
                </c:pt>
                <c:pt idx="290">
                  <c:v>11-16</c:v>
                </c:pt>
                <c:pt idx="291">
                  <c:v>11-17</c:v>
                </c:pt>
                <c:pt idx="292">
                  <c:v>11-18</c:v>
                </c:pt>
                <c:pt idx="293">
                  <c:v>11-19</c:v>
                </c:pt>
                <c:pt idx="294">
                  <c:v>11-20</c:v>
                </c:pt>
                <c:pt idx="295">
                  <c:v>11-21</c:v>
                </c:pt>
                <c:pt idx="296">
                  <c:v>11-22</c:v>
                </c:pt>
                <c:pt idx="297">
                  <c:v>11-23</c:v>
                </c:pt>
                <c:pt idx="298">
                  <c:v>11-24</c:v>
                </c:pt>
                <c:pt idx="299">
                  <c:v>11-25</c:v>
                </c:pt>
                <c:pt idx="300">
                  <c:v>11-26</c:v>
                </c:pt>
                <c:pt idx="301">
                  <c:v>11-27</c:v>
                </c:pt>
                <c:pt idx="302">
                  <c:v>11-28</c:v>
                </c:pt>
                <c:pt idx="303">
                  <c:v>11-29</c:v>
                </c:pt>
                <c:pt idx="304">
                  <c:v>11-30</c:v>
                </c:pt>
                <c:pt idx="305">
                  <c:v>12-01</c:v>
                </c:pt>
                <c:pt idx="306">
                  <c:v>12-02</c:v>
                </c:pt>
                <c:pt idx="307">
                  <c:v>12-03</c:v>
                </c:pt>
                <c:pt idx="308">
                  <c:v>12-04</c:v>
                </c:pt>
                <c:pt idx="309">
                  <c:v>12-05</c:v>
                </c:pt>
                <c:pt idx="310">
                  <c:v>12-06</c:v>
                </c:pt>
                <c:pt idx="311">
                  <c:v>12-07</c:v>
                </c:pt>
                <c:pt idx="312">
                  <c:v>12-08</c:v>
                </c:pt>
                <c:pt idx="313">
                  <c:v>12-09</c:v>
                </c:pt>
                <c:pt idx="314">
                  <c:v>12-10</c:v>
                </c:pt>
                <c:pt idx="315">
                  <c:v>12-11</c:v>
                </c:pt>
                <c:pt idx="316">
                  <c:v>12-12</c:v>
                </c:pt>
                <c:pt idx="317">
                  <c:v>12-13</c:v>
                </c:pt>
                <c:pt idx="318">
                  <c:v>12-14</c:v>
                </c:pt>
                <c:pt idx="319">
                  <c:v>12-15</c:v>
                </c:pt>
                <c:pt idx="320">
                  <c:v>12-16</c:v>
                </c:pt>
                <c:pt idx="321">
                  <c:v>12-17</c:v>
                </c:pt>
                <c:pt idx="322">
                  <c:v>12-18</c:v>
                </c:pt>
                <c:pt idx="323">
                  <c:v>12-19</c:v>
                </c:pt>
                <c:pt idx="324">
                  <c:v>12-20</c:v>
                </c:pt>
                <c:pt idx="325">
                  <c:v>12-21</c:v>
                </c:pt>
                <c:pt idx="326">
                  <c:v>12-22</c:v>
                </c:pt>
                <c:pt idx="327">
                  <c:v>12-23</c:v>
                </c:pt>
                <c:pt idx="328">
                  <c:v>12-24</c:v>
                </c:pt>
                <c:pt idx="329">
                  <c:v>12-25</c:v>
                </c:pt>
                <c:pt idx="330">
                  <c:v>12-26</c:v>
                </c:pt>
                <c:pt idx="331">
                  <c:v>12-27</c:v>
                </c:pt>
                <c:pt idx="332">
                  <c:v>12-28</c:v>
                </c:pt>
                <c:pt idx="333">
                  <c:v>12-29</c:v>
                </c:pt>
                <c:pt idx="334">
                  <c:v>12-30</c:v>
                </c:pt>
                <c:pt idx="335">
                  <c:v>12-31</c:v>
                </c:pt>
              </c:strCache>
            </c:strRef>
          </c:cat>
          <c:val>
            <c:numRef>
              <c:f>铝合金开工!$Q$34:$Q$369</c:f>
              <c:numCache>
                <c:formatCode>General</c:formatCode>
                <c:ptCount val="336"/>
                <c:pt idx="0">
                  <c:v>25.81</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28.11</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31.26</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33.89</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30.3</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29.37</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34.68</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37.479999999999997</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40.76</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41.63</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38.799999999999997</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35.979999999999997</c:v>
                </c:pt>
              </c:numCache>
            </c:numRef>
          </c:val>
          <c:smooth val="0"/>
          <c:extLst>
            <c:ext xmlns:c16="http://schemas.microsoft.com/office/drawing/2014/chart" uri="{C3380CC4-5D6E-409C-BE32-E72D297353CC}">
              <c16:uniqueId val="{00000003-A540-4584-9AF7-0FA4823A0F36}"/>
            </c:ext>
          </c:extLst>
        </c:ser>
        <c:ser>
          <c:idx val="4"/>
          <c:order val="4"/>
          <c:tx>
            <c:strRef>
              <c:f>铝合金开工!$R$3</c:f>
              <c:strCache>
                <c:ptCount val="1"/>
                <c:pt idx="0">
                  <c:v>2024</c:v>
                </c:pt>
              </c:strCache>
            </c:strRef>
          </c:tx>
          <c:spPr>
            <a:ln w="28575" cap="rnd">
              <a:solidFill>
                <a:schemeClr val="tx1"/>
              </a:solidFill>
              <a:round/>
            </a:ln>
            <a:effectLst/>
          </c:spPr>
          <c:marker>
            <c:symbol val="none"/>
          </c:marker>
          <c:cat>
            <c:strRef>
              <c:f>铝合金开工!$K$34:$K$369</c:f>
              <c:strCache>
                <c:ptCount val="336"/>
                <c:pt idx="0">
                  <c:v>01-31</c:v>
                </c:pt>
                <c:pt idx="1">
                  <c:v>02-01</c:v>
                </c:pt>
                <c:pt idx="2">
                  <c:v>02-02</c:v>
                </c:pt>
                <c:pt idx="3">
                  <c:v>02-03</c:v>
                </c:pt>
                <c:pt idx="4">
                  <c:v>02-04</c:v>
                </c:pt>
                <c:pt idx="5">
                  <c:v>02-05</c:v>
                </c:pt>
                <c:pt idx="6">
                  <c:v>02-06</c:v>
                </c:pt>
                <c:pt idx="7">
                  <c:v>02-07</c:v>
                </c:pt>
                <c:pt idx="8">
                  <c:v>02-08</c:v>
                </c:pt>
                <c:pt idx="9">
                  <c:v>02-09</c:v>
                </c:pt>
                <c:pt idx="10">
                  <c:v>02-10</c:v>
                </c:pt>
                <c:pt idx="11">
                  <c:v>02-11</c:v>
                </c:pt>
                <c:pt idx="12">
                  <c:v>02-12</c:v>
                </c:pt>
                <c:pt idx="13">
                  <c:v>02-13</c:v>
                </c:pt>
                <c:pt idx="14">
                  <c:v>02-14</c:v>
                </c:pt>
                <c:pt idx="15">
                  <c:v>02-15</c:v>
                </c:pt>
                <c:pt idx="16">
                  <c:v>02-16</c:v>
                </c:pt>
                <c:pt idx="17">
                  <c:v>02-17</c:v>
                </c:pt>
                <c:pt idx="18">
                  <c:v>02-18</c:v>
                </c:pt>
                <c:pt idx="19">
                  <c:v>02-19</c:v>
                </c:pt>
                <c:pt idx="20">
                  <c:v>02-20</c:v>
                </c:pt>
                <c:pt idx="21">
                  <c:v>02-21</c:v>
                </c:pt>
                <c:pt idx="22">
                  <c:v>02-22</c:v>
                </c:pt>
                <c:pt idx="23">
                  <c:v>02-23</c:v>
                </c:pt>
                <c:pt idx="24">
                  <c:v>02-24</c:v>
                </c:pt>
                <c:pt idx="25">
                  <c:v>02-25</c:v>
                </c:pt>
                <c:pt idx="26">
                  <c:v>02-26</c:v>
                </c:pt>
                <c:pt idx="27">
                  <c:v>02-27</c:v>
                </c:pt>
                <c:pt idx="28">
                  <c:v>02-28</c:v>
                </c:pt>
                <c:pt idx="29">
                  <c:v>02-29</c:v>
                </c:pt>
                <c:pt idx="30">
                  <c:v>03-01</c:v>
                </c:pt>
                <c:pt idx="31">
                  <c:v>03-02</c:v>
                </c:pt>
                <c:pt idx="32">
                  <c:v>03-03</c:v>
                </c:pt>
                <c:pt idx="33">
                  <c:v>03-04</c:v>
                </c:pt>
                <c:pt idx="34">
                  <c:v>03-05</c:v>
                </c:pt>
                <c:pt idx="35">
                  <c:v>03-06</c:v>
                </c:pt>
                <c:pt idx="36">
                  <c:v>03-07</c:v>
                </c:pt>
                <c:pt idx="37">
                  <c:v>03-08</c:v>
                </c:pt>
                <c:pt idx="38">
                  <c:v>03-09</c:v>
                </c:pt>
                <c:pt idx="39">
                  <c:v>03-10</c:v>
                </c:pt>
                <c:pt idx="40">
                  <c:v>03-11</c:v>
                </c:pt>
                <c:pt idx="41">
                  <c:v>03-12</c:v>
                </c:pt>
                <c:pt idx="42">
                  <c:v>03-13</c:v>
                </c:pt>
                <c:pt idx="43">
                  <c:v>03-14</c:v>
                </c:pt>
                <c:pt idx="44">
                  <c:v>03-15</c:v>
                </c:pt>
                <c:pt idx="45">
                  <c:v>03-16</c:v>
                </c:pt>
                <c:pt idx="46">
                  <c:v>03-17</c:v>
                </c:pt>
                <c:pt idx="47">
                  <c:v>03-18</c:v>
                </c:pt>
                <c:pt idx="48">
                  <c:v>03-19</c:v>
                </c:pt>
                <c:pt idx="49">
                  <c:v>03-20</c:v>
                </c:pt>
                <c:pt idx="50">
                  <c:v>03-21</c:v>
                </c:pt>
                <c:pt idx="51">
                  <c:v>03-22</c:v>
                </c:pt>
                <c:pt idx="52">
                  <c:v>03-23</c:v>
                </c:pt>
                <c:pt idx="53">
                  <c:v>03-24</c:v>
                </c:pt>
                <c:pt idx="54">
                  <c:v>03-25</c:v>
                </c:pt>
                <c:pt idx="55">
                  <c:v>03-26</c:v>
                </c:pt>
                <c:pt idx="56">
                  <c:v>03-27</c:v>
                </c:pt>
                <c:pt idx="57">
                  <c:v>03-28</c:v>
                </c:pt>
                <c:pt idx="58">
                  <c:v>03-29</c:v>
                </c:pt>
                <c:pt idx="59">
                  <c:v>03-30</c:v>
                </c:pt>
                <c:pt idx="60">
                  <c:v>03-31</c:v>
                </c:pt>
                <c:pt idx="61">
                  <c:v>04-01</c:v>
                </c:pt>
                <c:pt idx="62">
                  <c:v>04-02</c:v>
                </c:pt>
                <c:pt idx="63">
                  <c:v>04-03</c:v>
                </c:pt>
                <c:pt idx="64">
                  <c:v>04-04</c:v>
                </c:pt>
                <c:pt idx="65">
                  <c:v>04-05</c:v>
                </c:pt>
                <c:pt idx="66">
                  <c:v>04-06</c:v>
                </c:pt>
                <c:pt idx="67">
                  <c:v>04-07</c:v>
                </c:pt>
                <c:pt idx="68">
                  <c:v>04-08</c:v>
                </c:pt>
                <c:pt idx="69">
                  <c:v>04-09</c:v>
                </c:pt>
                <c:pt idx="70">
                  <c:v>04-10</c:v>
                </c:pt>
                <c:pt idx="71">
                  <c:v>04-11</c:v>
                </c:pt>
                <c:pt idx="72">
                  <c:v>04-12</c:v>
                </c:pt>
                <c:pt idx="73">
                  <c:v>04-13</c:v>
                </c:pt>
                <c:pt idx="74">
                  <c:v>04-14</c:v>
                </c:pt>
                <c:pt idx="75">
                  <c:v>04-15</c:v>
                </c:pt>
                <c:pt idx="76">
                  <c:v>04-16</c:v>
                </c:pt>
                <c:pt idx="77">
                  <c:v>04-17</c:v>
                </c:pt>
                <c:pt idx="78">
                  <c:v>04-18</c:v>
                </c:pt>
                <c:pt idx="79">
                  <c:v>04-19</c:v>
                </c:pt>
                <c:pt idx="80">
                  <c:v>04-20</c:v>
                </c:pt>
                <c:pt idx="81">
                  <c:v>04-21</c:v>
                </c:pt>
                <c:pt idx="82">
                  <c:v>04-22</c:v>
                </c:pt>
                <c:pt idx="83">
                  <c:v>04-23</c:v>
                </c:pt>
                <c:pt idx="84">
                  <c:v>04-24</c:v>
                </c:pt>
                <c:pt idx="85">
                  <c:v>04-25</c:v>
                </c:pt>
                <c:pt idx="86">
                  <c:v>04-26</c:v>
                </c:pt>
                <c:pt idx="87">
                  <c:v>04-27</c:v>
                </c:pt>
                <c:pt idx="88">
                  <c:v>04-28</c:v>
                </c:pt>
                <c:pt idx="89">
                  <c:v>04-29</c:v>
                </c:pt>
                <c:pt idx="90">
                  <c:v>04-30</c:v>
                </c:pt>
                <c:pt idx="91">
                  <c:v>05-01</c:v>
                </c:pt>
                <c:pt idx="92">
                  <c:v>05-02</c:v>
                </c:pt>
                <c:pt idx="93">
                  <c:v>05-03</c:v>
                </c:pt>
                <c:pt idx="94">
                  <c:v>05-04</c:v>
                </c:pt>
                <c:pt idx="95">
                  <c:v>05-05</c:v>
                </c:pt>
                <c:pt idx="96">
                  <c:v>05-06</c:v>
                </c:pt>
                <c:pt idx="97">
                  <c:v>05-07</c:v>
                </c:pt>
                <c:pt idx="98">
                  <c:v>05-08</c:v>
                </c:pt>
                <c:pt idx="99">
                  <c:v>05-09</c:v>
                </c:pt>
                <c:pt idx="100">
                  <c:v>05-10</c:v>
                </c:pt>
                <c:pt idx="101">
                  <c:v>05-11</c:v>
                </c:pt>
                <c:pt idx="102">
                  <c:v>05-12</c:v>
                </c:pt>
                <c:pt idx="103">
                  <c:v>05-13</c:v>
                </c:pt>
                <c:pt idx="104">
                  <c:v>05-14</c:v>
                </c:pt>
                <c:pt idx="105">
                  <c:v>05-15</c:v>
                </c:pt>
                <c:pt idx="106">
                  <c:v>05-16</c:v>
                </c:pt>
                <c:pt idx="107">
                  <c:v>05-17</c:v>
                </c:pt>
                <c:pt idx="108">
                  <c:v>05-18</c:v>
                </c:pt>
                <c:pt idx="109">
                  <c:v>05-19</c:v>
                </c:pt>
                <c:pt idx="110">
                  <c:v>05-20</c:v>
                </c:pt>
                <c:pt idx="111">
                  <c:v>05-21</c:v>
                </c:pt>
                <c:pt idx="112">
                  <c:v>05-22</c:v>
                </c:pt>
                <c:pt idx="113">
                  <c:v>05-23</c:v>
                </c:pt>
                <c:pt idx="114">
                  <c:v>05-24</c:v>
                </c:pt>
                <c:pt idx="115">
                  <c:v>05-25</c:v>
                </c:pt>
                <c:pt idx="116">
                  <c:v>05-26</c:v>
                </c:pt>
                <c:pt idx="117">
                  <c:v>05-27</c:v>
                </c:pt>
                <c:pt idx="118">
                  <c:v>05-28</c:v>
                </c:pt>
                <c:pt idx="119">
                  <c:v>05-29</c:v>
                </c:pt>
                <c:pt idx="120">
                  <c:v>05-30</c:v>
                </c:pt>
                <c:pt idx="121">
                  <c:v>05-31</c:v>
                </c:pt>
                <c:pt idx="122">
                  <c:v>06-01</c:v>
                </c:pt>
                <c:pt idx="123">
                  <c:v>06-02</c:v>
                </c:pt>
                <c:pt idx="124">
                  <c:v>06-03</c:v>
                </c:pt>
                <c:pt idx="125">
                  <c:v>06-04</c:v>
                </c:pt>
                <c:pt idx="126">
                  <c:v>06-05</c:v>
                </c:pt>
                <c:pt idx="127">
                  <c:v>06-06</c:v>
                </c:pt>
                <c:pt idx="128">
                  <c:v>06-07</c:v>
                </c:pt>
                <c:pt idx="129">
                  <c:v>06-08</c:v>
                </c:pt>
                <c:pt idx="130">
                  <c:v>06-09</c:v>
                </c:pt>
                <c:pt idx="131">
                  <c:v>06-10</c:v>
                </c:pt>
                <c:pt idx="132">
                  <c:v>06-11</c:v>
                </c:pt>
                <c:pt idx="133">
                  <c:v>06-12</c:v>
                </c:pt>
                <c:pt idx="134">
                  <c:v>06-13</c:v>
                </c:pt>
                <c:pt idx="135">
                  <c:v>06-14</c:v>
                </c:pt>
                <c:pt idx="136">
                  <c:v>06-15</c:v>
                </c:pt>
                <c:pt idx="137">
                  <c:v>06-16</c:v>
                </c:pt>
                <c:pt idx="138">
                  <c:v>06-17</c:v>
                </c:pt>
                <c:pt idx="139">
                  <c:v>06-18</c:v>
                </c:pt>
                <c:pt idx="140">
                  <c:v>06-19</c:v>
                </c:pt>
                <c:pt idx="141">
                  <c:v>06-20</c:v>
                </c:pt>
                <c:pt idx="142">
                  <c:v>06-21</c:v>
                </c:pt>
                <c:pt idx="143">
                  <c:v>06-22</c:v>
                </c:pt>
                <c:pt idx="144">
                  <c:v>06-23</c:v>
                </c:pt>
                <c:pt idx="145">
                  <c:v>06-24</c:v>
                </c:pt>
                <c:pt idx="146">
                  <c:v>06-25</c:v>
                </c:pt>
                <c:pt idx="147">
                  <c:v>06-26</c:v>
                </c:pt>
                <c:pt idx="148">
                  <c:v>06-27</c:v>
                </c:pt>
                <c:pt idx="149">
                  <c:v>06-28</c:v>
                </c:pt>
                <c:pt idx="150">
                  <c:v>06-29</c:v>
                </c:pt>
                <c:pt idx="151">
                  <c:v>06-30</c:v>
                </c:pt>
                <c:pt idx="152">
                  <c:v>07-01</c:v>
                </c:pt>
                <c:pt idx="153">
                  <c:v>07-02</c:v>
                </c:pt>
                <c:pt idx="154">
                  <c:v>07-03</c:v>
                </c:pt>
                <c:pt idx="155">
                  <c:v>07-04</c:v>
                </c:pt>
                <c:pt idx="156">
                  <c:v>07-05</c:v>
                </c:pt>
                <c:pt idx="157">
                  <c:v>07-06</c:v>
                </c:pt>
                <c:pt idx="158">
                  <c:v>07-07</c:v>
                </c:pt>
                <c:pt idx="159">
                  <c:v>07-08</c:v>
                </c:pt>
                <c:pt idx="160">
                  <c:v>07-09</c:v>
                </c:pt>
                <c:pt idx="161">
                  <c:v>07-10</c:v>
                </c:pt>
                <c:pt idx="162">
                  <c:v>07-11</c:v>
                </c:pt>
                <c:pt idx="163">
                  <c:v>07-12</c:v>
                </c:pt>
                <c:pt idx="164">
                  <c:v>07-13</c:v>
                </c:pt>
                <c:pt idx="165">
                  <c:v>07-14</c:v>
                </c:pt>
                <c:pt idx="166">
                  <c:v>07-15</c:v>
                </c:pt>
                <c:pt idx="167">
                  <c:v>07-16</c:v>
                </c:pt>
                <c:pt idx="168">
                  <c:v>07-17</c:v>
                </c:pt>
                <c:pt idx="169">
                  <c:v>07-18</c:v>
                </c:pt>
                <c:pt idx="170">
                  <c:v>07-19</c:v>
                </c:pt>
                <c:pt idx="171">
                  <c:v>07-20</c:v>
                </c:pt>
                <c:pt idx="172">
                  <c:v>07-21</c:v>
                </c:pt>
                <c:pt idx="173">
                  <c:v>07-22</c:v>
                </c:pt>
                <c:pt idx="174">
                  <c:v>07-23</c:v>
                </c:pt>
                <c:pt idx="175">
                  <c:v>07-24</c:v>
                </c:pt>
                <c:pt idx="176">
                  <c:v>07-25</c:v>
                </c:pt>
                <c:pt idx="177">
                  <c:v>07-26</c:v>
                </c:pt>
                <c:pt idx="178">
                  <c:v>07-27</c:v>
                </c:pt>
                <c:pt idx="179">
                  <c:v>07-28</c:v>
                </c:pt>
                <c:pt idx="180">
                  <c:v>07-29</c:v>
                </c:pt>
                <c:pt idx="181">
                  <c:v>07-30</c:v>
                </c:pt>
                <c:pt idx="182">
                  <c:v>07-31</c:v>
                </c:pt>
                <c:pt idx="183">
                  <c:v>08-01</c:v>
                </c:pt>
                <c:pt idx="184">
                  <c:v>08-02</c:v>
                </c:pt>
                <c:pt idx="185">
                  <c:v>08-03</c:v>
                </c:pt>
                <c:pt idx="186">
                  <c:v>08-04</c:v>
                </c:pt>
                <c:pt idx="187">
                  <c:v>08-05</c:v>
                </c:pt>
                <c:pt idx="188">
                  <c:v>08-06</c:v>
                </c:pt>
                <c:pt idx="189">
                  <c:v>08-07</c:v>
                </c:pt>
                <c:pt idx="190">
                  <c:v>08-08</c:v>
                </c:pt>
                <c:pt idx="191">
                  <c:v>08-09</c:v>
                </c:pt>
                <c:pt idx="192">
                  <c:v>08-10</c:v>
                </c:pt>
                <c:pt idx="193">
                  <c:v>08-11</c:v>
                </c:pt>
                <c:pt idx="194">
                  <c:v>08-12</c:v>
                </c:pt>
                <c:pt idx="195">
                  <c:v>08-13</c:v>
                </c:pt>
                <c:pt idx="196">
                  <c:v>08-14</c:v>
                </c:pt>
                <c:pt idx="197">
                  <c:v>08-15</c:v>
                </c:pt>
                <c:pt idx="198">
                  <c:v>08-16</c:v>
                </c:pt>
                <c:pt idx="199">
                  <c:v>08-17</c:v>
                </c:pt>
                <c:pt idx="200">
                  <c:v>08-18</c:v>
                </c:pt>
                <c:pt idx="201">
                  <c:v>08-19</c:v>
                </c:pt>
                <c:pt idx="202">
                  <c:v>08-20</c:v>
                </c:pt>
                <c:pt idx="203">
                  <c:v>08-21</c:v>
                </c:pt>
                <c:pt idx="204">
                  <c:v>08-22</c:v>
                </c:pt>
                <c:pt idx="205">
                  <c:v>08-23</c:v>
                </c:pt>
                <c:pt idx="206">
                  <c:v>08-24</c:v>
                </c:pt>
                <c:pt idx="207">
                  <c:v>08-25</c:v>
                </c:pt>
                <c:pt idx="208">
                  <c:v>08-26</c:v>
                </c:pt>
                <c:pt idx="209">
                  <c:v>08-27</c:v>
                </c:pt>
                <c:pt idx="210">
                  <c:v>08-28</c:v>
                </c:pt>
                <c:pt idx="211">
                  <c:v>08-29</c:v>
                </c:pt>
                <c:pt idx="212">
                  <c:v>08-30</c:v>
                </c:pt>
                <c:pt idx="213">
                  <c:v>08-31</c:v>
                </c:pt>
                <c:pt idx="214">
                  <c:v>09-01</c:v>
                </c:pt>
                <c:pt idx="215">
                  <c:v>09-02</c:v>
                </c:pt>
                <c:pt idx="216">
                  <c:v>09-03</c:v>
                </c:pt>
                <c:pt idx="217">
                  <c:v>09-04</c:v>
                </c:pt>
                <c:pt idx="218">
                  <c:v>09-05</c:v>
                </c:pt>
                <c:pt idx="219">
                  <c:v>09-06</c:v>
                </c:pt>
                <c:pt idx="220">
                  <c:v>09-07</c:v>
                </c:pt>
                <c:pt idx="221">
                  <c:v>09-08</c:v>
                </c:pt>
                <c:pt idx="222">
                  <c:v>09-09</c:v>
                </c:pt>
                <c:pt idx="223">
                  <c:v>09-10</c:v>
                </c:pt>
                <c:pt idx="224">
                  <c:v>09-11</c:v>
                </c:pt>
                <c:pt idx="225">
                  <c:v>09-12</c:v>
                </c:pt>
                <c:pt idx="226">
                  <c:v>09-13</c:v>
                </c:pt>
                <c:pt idx="227">
                  <c:v>09-14</c:v>
                </c:pt>
                <c:pt idx="228">
                  <c:v>09-15</c:v>
                </c:pt>
                <c:pt idx="229">
                  <c:v>09-16</c:v>
                </c:pt>
                <c:pt idx="230">
                  <c:v>09-17</c:v>
                </c:pt>
                <c:pt idx="231">
                  <c:v>09-18</c:v>
                </c:pt>
                <c:pt idx="232">
                  <c:v>09-19</c:v>
                </c:pt>
                <c:pt idx="233">
                  <c:v>09-20</c:v>
                </c:pt>
                <c:pt idx="234">
                  <c:v>09-21</c:v>
                </c:pt>
                <c:pt idx="235">
                  <c:v>09-22</c:v>
                </c:pt>
                <c:pt idx="236">
                  <c:v>09-23</c:v>
                </c:pt>
                <c:pt idx="237">
                  <c:v>09-24</c:v>
                </c:pt>
                <c:pt idx="238">
                  <c:v>09-25</c:v>
                </c:pt>
                <c:pt idx="239">
                  <c:v>09-26</c:v>
                </c:pt>
                <c:pt idx="240">
                  <c:v>09-27</c:v>
                </c:pt>
                <c:pt idx="241">
                  <c:v>09-28</c:v>
                </c:pt>
                <c:pt idx="242">
                  <c:v>09-29</c:v>
                </c:pt>
                <c:pt idx="243">
                  <c:v>09-30</c:v>
                </c:pt>
                <c:pt idx="244">
                  <c:v>10-01</c:v>
                </c:pt>
                <c:pt idx="245">
                  <c:v>10-02</c:v>
                </c:pt>
                <c:pt idx="246">
                  <c:v>10-03</c:v>
                </c:pt>
                <c:pt idx="247">
                  <c:v>10-04</c:v>
                </c:pt>
                <c:pt idx="248">
                  <c:v>10-05</c:v>
                </c:pt>
                <c:pt idx="249">
                  <c:v>10-06</c:v>
                </c:pt>
                <c:pt idx="250">
                  <c:v>10-07</c:v>
                </c:pt>
                <c:pt idx="251">
                  <c:v>10-08</c:v>
                </c:pt>
                <c:pt idx="252">
                  <c:v>10-09</c:v>
                </c:pt>
                <c:pt idx="253">
                  <c:v>10-10</c:v>
                </c:pt>
                <c:pt idx="254">
                  <c:v>10-11</c:v>
                </c:pt>
                <c:pt idx="255">
                  <c:v>10-12</c:v>
                </c:pt>
                <c:pt idx="256">
                  <c:v>10-13</c:v>
                </c:pt>
                <c:pt idx="257">
                  <c:v>10-14</c:v>
                </c:pt>
                <c:pt idx="258">
                  <c:v>10-15</c:v>
                </c:pt>
                <c:pt idx="259">
                  <c:v>10-16</c:v>
                </c:pt>
                <c:pt idx="260">
                  <c:v>10-17</c:v>
                </c:pt>
                <c:pt idx="261">
                  <c:v>10-18</c:v>
                </c:pt>
                <c:pt idx="262">
                  <c:v>10-19</c:v>
                </c:pt>
                <c:pt idx="263">
                  <c:v>10-20</c:v>
                </c:pt>
                <c:pt idx="264">
                  <c:v>10-21</c:v>
                </c:pt>
                <c:pt idx="265">
                  <c:v>10-22</c:v>
                </c:pt>
                <c:pt idx="266">
                  <c:v>10-23</c:v>
                </c:pt>
                <c:pt idx="267">
                  <c:v>10-24</c:v>
                </c:pt>
                <c:pt idx="268">
                  <c:v>10-25</c:v>
                </c:pt>
                <c:pt idx="269">
                  <c:v>10-26</c:v>
                </c:pt>
                <c:pt idx="270">
                  <c:v>10-27</c:v>
                </c:pt>
                <c:pt idx="271">
                  <c:v>10-28</c:v>
                </c:pt>
                <c:pt idx="272">
                  <c:v>10-29</c:v>
                </c:pt>
                <c:pt idx="273">
                  <c:v>10-30</c:v>
                </c:pt>
                <c:pt idx="274">
                  <c:v>10-31</c:v>
                </c:pt>
                <c:pt idx="275">
                  <c:v>11-01</c:v>
                </c:pt>
                <c:pt idx="276">
                  <c:v>11-02</c:v>
                </c:pt>
                <c:pt idx="277">
                  <c:v>11-03</c:v>
                </c:pt>
                <c:pt idx="278">
                  <c:v>11-04</c:v>
                </c:pt>
                <c:pt idx="279">
                  <c:v>11-05</c:v>
                </c:pt>
                <c:pt idx="280">
                  <c:v>11-06</c:v>
                </c:pt>
                <c:pt idx="281">
                  <c:v>11-07</c:v>
                </c:pt>
                <c:pt idx="282">
                  <c:v>11-08</c:v>
                </c:pt>
                <c:pt idx="283">
                  <c:v>11-09</c:v>
                </c:pt>
                <c:pt idx="284">
                  <c:v>11-10</c:v>
                </c:pt>
                <c:pt idx="285">
                  <c:v>11-11</c:v>
                </c:pt>
                <c:pt idx="286">
                  <c:v>11-12</c:v>
                </c:pt>
                <c:pt idx="287">
                  <c:v>11-13</c:v>
                </c:pt>
                <c:pt idx="288">
                  <c:v>11-14</c:v>
                </c:pt>
                <c:pt idx="289">
                  <c:v>11-15</c:v>
                </c:pt>
                <c:pt idx="290">
                  <c:v>11-16</c:v>
                </c:pt>
                <c:pt idx="291">
                  <c:v>11-17</c:v>
                </c:pt>
                <c:pt idx="292">
                  <c:v>11-18</c:v>
                </c:pt>
                <c:pt idx="293">
                  <c:v>11-19</c:v>
                </c:pt>
                <c:pt idx="294">
                  <c:v>11-20</c:v>
                </c:pt>
                <c:pt idx="295">
                  <c:v>11-21</c:v>
                </c:pt>
                <c:pt idx="296">
                  <c:v>11-22</c:v>
                </c:pt>
                <c:pt idx="297">
                  <c:v>11-23</c:v>
                </c:pt>
                <c:pt idx="298">
                  <c:v>11-24</c:v>
                </c:pt>
                <c:pt idx="299">
                  <c:v>11-25</c:v>
                </c:pt>
                <c:pt idx="300">
                  <c:v>11-26</c:v>
                </c:pt>
                <c:pt idx="301">
                  <c:v>11-27</c:v>
                </c:pt>
                <c:pt idx="302">
                  <c:v>11-28</c:v>
                </c:pt>
                <c:pt idx="303">
                  <c:v>11-29</c:v>
                </c:pt>
                <c:pt idx="304">
                  <c:v>11-30</c:v>
                </c:pt>
                <c:pt idx="305">
                  <c:v>12-01</c:v>
                </c:pt>
                <c:pt idx="306">
                  <c:v>12-02</c:v>
                </c:pt>
                <c:pt idx="307">
                  <c:v>12-03</c:v>
                </c:pt>
                <c:pt idx="308">
                  <c:v>12-04</c:v>
                </c:pt>
                <c:pt idx="309">
                  <c:v>12-05</c:v>
                </c:pt>
                <c:pt idx="310">
                  <c:v>12-06</c:v>
                </c:pt>
                <c:pt idx="311">
                  <c:v>12-07</c:v>
                </c:pt>
                <c:pt idx="312">
                  <c:v>12-08</c:v>
                </c:pt>
                <c:pt idx="313">
                  <c:v>12-09</c:v>
                </c:pt>
                <c:pt idx="314">
                  <c:v>12-10</c:v>
                </c:pt>
                <c:pt idx="315">
                  <c:v>12-11</c:v>
                </c:pt>
                <c:pt idx="316">
                  <c:v>12-12</c:v>
                </c:pt>
                <c:pt idx="317">
                  <c:v>12-13</c:v>
                </c:pt>
                <c:pt idx="318">
                  <c:v>12-14</c:v>
                </c:pt>
                <c:pt idx="319">
                  <c:v>12-15</c:v>
                </c:pt>
                <c:pt idx="320">
                  <c:v>12-16</c:v>
                </c:pt>
                <c:pt idx="321">
                  <c:v>12-17</c:v>
                </c:pt>
                <c:pt idx="322">
                  <c:v>12-18</c:v>
                </c:pt>
                <c:pt idx="323">
                  <c:v>12-19</c:v>
                </c:pt>
                <c:pt idx="324">
                  <c:v>12-20</c:v>
                </c:pt>
                <c:pt idx="325">
                  <c:v>12-21</c:v>
                </c:pt>
                <c:pt idx="326">
                  <c:v>12-22</c:v>
                </c:pt>
                <c:pt idx="327">
                  <c:v>12-23</c:v>
                </c:pt>
                <c:pt idx="328">
                  <c:v>12-24</c:v>
                </c:pt>
                <c:pt idx="329">
                  <c:v>12-25</c:v>
                </c:pt>
                <c:pt idx="330">
                  <c:v>12-26</c:v>
                </c:pt>
                <c:pt idx="331">
                  <c:v>12-27</c:v>
                </c:pt>
                <c:pt idx="332">
                  <c:v>12-28</c:v>
                </c:pt>
                <c:pt idx="333">
                  <c:v>12-29</c:v>
                </c:pt>
                <c:pt idx="334">
                  <c:v>12-30</c:v>
                </c:pt>
                <c:pt idx="335">
                  <c:v>12-31</c:v>
                </c:pt>
              </c:strCache>
            </c:strRef>
          </c:cat>
          <c:val>
            <c:numRef>
              <c:f>铝合金开工!$R$34:$R$369</c:f>
              <c:numCache>
                <c:formatCode>General</c:formatCode>
                <c:ptCount val="336"/>
                <c:pt idx="0">
                  <c:v>38.869999999999997</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33.65</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39.369999999999997</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44.85</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46.21</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numCache>
            </c:numRef>
          </c:val>
          <c:smooth val="0"/>
          <c:extLst>
            <c:ext xmlns:c16="http://schemas.microsoft.com/office/drawing/2014/chart" uri="{C3380CC4-5D6E-409C-BE32-E72D297353CC}">
              <c16:uniqueId val="{00000004-A540-4584-9AF7-0FA4823A0F36}"/>
            </c:ext>
          </c:extLst>
        </c:ser>
        <c:dLbls>
          <c:showLegendKey val="0"/>
          <c:showVal val="0"/>
          <c:showCatName val="0"/>
          <c:showSerName val="0"/>
          <c:showPercent val="0"/>
          <c:showBubbleSize val="0"/>
        </c:dLbls>
        <c:smooth val="0"/>
        <c:axId val="1751065535"/>
        <c:axId val="1059045087"/>
      </c:lineChart>
      <c:catAx>
        <c:axId val="17510655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1059045087"/>
        <c:crosses val="autoZero"/>
        <c:auto val="1"/>
        <c:lblAlgn val="ctr"/>
        <c:lblOffset val="100"/>
        <c:noMultiLvlLbl val="0"/>
      </c:catAx>
      <c:valAx>
        <c:axId val="1059045087"/>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17510655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ea"/>
          <a:ea typeface="+mn-ea"/>
        </a:defRPr>
      </a:pPr>
      <a:endParaRPr lang="zh-CN"/>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ea"/>
                <a:ea typeface="+mn-ea"/>
                <a:cs typeface="+mn-cs"/>
              </a:defRPr>
            </a:pPr>
            <a:r>
              <a:rPr lang="zh-CN"/>
              <a:t>再生铝合金锭开工率</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ea"/>
              <a:ea typeface="+mn-ea"/>
              <a:cs typeface="+mn-cs"/>
            </a:defRPr>
          </a:pPr>
          <a:endParaRPr lang="zh-CN"/>
        </a:p>
      </c:txPr>
    </c:title>
    <c:autoTitleDeleted val="0"/>
    <c:plotArea>
      <c:layout>
        <c:manualLayout>
          <c:layoutTarget val="inner"/>
          <c:xMode val="edge"/>
          <c:yMode val="edge"/>
          <c:x val="5.3590504019352746E-2"/>
          <c:y val="0.17556297108219143"/>
          <c:w val="0.92221509841248728"/>
          <c:h val="0.56917668198431659"/>
        </c:manualLayout>
      </c:layout>
      <c:lineChart>
        <c:grouping val="standard"/>
        <c:varyColors val="0"/>
        <c:ser>
          <c:idx val="0"/>
          <c:order val="0"/>
          <c:tx>
            <c:strRef>
              <c:f>铝合金开工!$X$3</c:f>
              <c:strCache>
                <c:ptCount val="1"/>
                <c:pt idx="0">
                  <c:v>2020</c:v>
                </c:pt>
              </c:strCache>
            </c:strRef>
          </c:tx>
          <c:spPr>
            <a:ln w="19050" cap="rnd">
              <a:solidFill>
                <a:srgbClr val="7030A0"/>
              </a:solidFill>
              <a:round/>
            </a:ln>
            <a:effectLst/>
          </c:spPr>
          <c:marker>
            <c:symbol val="none"/>
          </c:marker>
          <c:cat>
            <c:strRef>
              <c:f>铝合金开工!$U$34:$U$369</c:f>
              <c:strCache>
                <c:ptCount val="336"/>
                <c:pt idx="0">
                  <c:v>01-31</c:v>
                </c:pt>
                <c:pt idx="1">
                  <c:v>02-01</c:v>
                </c:pt>
                <c:pt idx="2">
                  <c:v>02-02</c:v>
                </c:pt>
                <c:pt idx="3">
                  <c:v>02-03</c:v>
                </c:pt>
                <c:pt idx="4">
                  <c:v>02-04</c:v>
                </c:pt>
                <c:pt idx="5">
                  <c:v>02-05</c:v>
                </c:pt>
                <c:pt idx="6">
                  <c:v>02-06</c:v>
                </c:pt>
                <c:pt idx="7">
                  <c:v>02-07</c:v>
                </c:pt>
                <c:pt idx="8">
                  <c:v>02-08</c:v>
                </c:pt>
                <c:pt idx="9">
                  <c:v>02-09</c:v>
                </c:pt>
                <c:pt idx="10">
                  <c:v>02-10</c:v>
                </c:pt>
                <c:pt idx="11">
                  <c:v>02-11</c:v>
                </c:pt>
                <c:pt idx="12">
                  <c:v>02-12</c:v>
                </c:pt>
                <c:pt idx="13">
                  <c:v>02-13</c:v>
                </c:pt>
                <c:pt idx="14">
                  <c:v>02-14</c:v>
                </c:pt>
                <c:pt idx="15">
                  <c:v>02-15</c:v>
                </c:pt>
                <c:pt idx="16">
                  <c:v>02-16</c:v>
                </c:pt>
                <c:pt idx="17">
                  <c:v>02-17</c:v>
                </c:pt>
                <c:pt idx="18">
                  <c:v>02-18</c:v>
                </c:pt>
                <c:pt idx="19">
                  <c:v>02-19</c:v>
                </c:pt>
                <c:pt idx="20">
                  <c:v>02-20</c:v>
                </c:pt>
                <c:pt idx="21">
                  <c:v>02-21</c:v>
                </c:pt>
                <c:pt idx="22">
                  <c:v>02-22</c:v>
                </c:pt>
                <c:pt idx="23">
                  <c:v>02-23</c:v>
                </c:pt>
                <c:pt idx="24">
                  <c:v>02-24</c:v>
                </c:pt>
                <c:pt idx="25">
                  <c:v>02-25</c:v>
                </c:pt>
                <c:pt idx="26">
                  <c:v>02-26</c:v>
                </c:pt>
                <c:pt idx="27">
                  <c:v>02-27</c:v>
                </c:pt>
                <c:pt idx="28">
                  <c:v>02-28</c:v>
                </c:pt>
                <c:pt idx="29">
                  <c:v>02-29</c:v>
                </c:pt>
                <c:pt idx="30">
                  <c:v>03-01</c:v>
                </c:pt>
                <c:pt idx="31">
                  <c:v>03-02</c:v>
                </c:pt>
                <c:pt idx="32">
                  <c:v>03-03</c:v>
                </c:pt>
                <c:pt idx="33">
                  <c:v>03-04</c:v>
                </c:pt>
                <c:pt idx="34">
                  <c:v>03-05</c:v>
                </c:pt>
                <c:pt idx="35">
                  <c:v>03-06</c:v>
                </c:pt>
                <c:pt idx="36">
                  <c:v>03-07</c:v>
                </c:pt>
                <c:pt idx="37">
                  <c:v>03-08</c:v>
                </c:pt>
                <c:pt idx="38">
                  <c:v>03-09</c:v>
                </c:pt>
                <c:pt idx="39">
                  <c:v>03-10</c:v>
                </c:pt>
                <c:pt idx="40">
                  <c:v>03-11</c:v>
                </c:pt>
                <c:pt idx="41">
                  <c:v>03-12</c:v>
                </c:pt>
                <c:pt idx="42">
                  <c:v>03-13</c:v>
                </c:pt>
                <c:pt idx="43">
                  <c:v>03-14</c:v>
                </c:pt>
                <c:pt idx="44">
                  <c:v>03-15</c:v>
                </c:pt>
                <c:pt idx="45">
                  <c:v>03-16</c:v>
                </c:pt>
                <c:pt idx="46">
                  <c:v>03-17</c:v>
                </c:pt>
                <c:pt idx="47">
                  <c:v>03-18</c:v>
                </c:pt>
                <c:pt idx="48">
                  <c:v>03-19</c:v>
                </c:pt>
                <c:pt idx="49">
                  <c:v>03-20</c:v>
                </c:pt>
                <c:pt idx="50">
                  <c:v>03-21</c:v>
                </c:pt>
                <c:pt idx="51">
                  <c:v>03-22</c:v>
                </c:pt>
                <c:pt idx="52">
                  <c:v>03-23</c:v>
                </c:pt>
                <c:pt idx="53">
                  <c:v>03-24</c:v>
                </c:pt>
                <c:pt idx="54">
                  <c:v>03-25</c:v>
                </c:pt>
                <c:pt idx="55">
                  <c:v>03-26</c:v>
                </c:pt>
                <c:pt idx="56">
                  <c:v>03-27</c:v>
                </c:pt>
                <c:pt idx="57">
                  <c:v>03-28</c:v>
                </c:pt>
                <c:pt idx="58">
                  <c:v>03-29</c:v>
                </c:pt>
                <c:pt idx="59">
                  <c:v>03-30</c:v>
                </c:pt>
                <c:pt idx="60">
                  <c:v>03-31</c:v>
                </c:pt>
                <c:pt idx="61">
                  <c:v>04-01</c:v>
                </c:pt>
                <c:pt idx="62">
                  <c:v>04-02</c:v>
                </c:pt>
                <c:pt idx="63">
                  <c:v>04-03</c:v>
                </c:pt>
                <c:pt idx="64">
                  <c:v>04-04</c:v>
                </c:pt>
                <c:pt idx="65">
                  <c:v>04-05</c:v>
                </c:pt>
                <c:pt idx="66">
                  <c:v>04-06</c:v>
                </c:pt>
                <c:pt idx="67">
                  <c:v>04-07</c:v>
                </c:pt>
                <c:pt idx="68">
                  <c:v>04-08</c:v>
                </c:pt>
                <c:pt idx="69">
                  <c:v>04-09</c:v>
                </c:pt>
                <c:pt idx="70">
                  <c:v>04-10</c:v>
                </c:pt>
                <c:pt idx="71">
                  <c:v>04-11</c:v>
                </c:pt>
                <c:pt idx="72">
                  <c:v>04-12</c:v>
                </c:pt>
                <c:pt idx="73">
                  <c:v>04-13</c:v>
                </c:pt>
                <c:pt idx="74">
                  <c:v>04-14</c:v>
                </c:pt>
                <c:pt idx="75">
                  <c:v>04-15</c:v>
                </c:pt>
                <c:pt idx="76">
                  <c:v>04-16</c:v>
                </c:pt>
                <c:pt idx="77">
                  <c:v>04-17</c:v>
                </c:pt>
                <c:pt idx="78">
                  <c:v>04-18</c:v>
                </c:pt>
                <c:pt idx="79">
                  <c:v>04-19</c:v>
                </c:pt>
                <c:pt idx="80">
                  <c:v>04-20</c:v>
                </c:pt>
                <c:pt idx="81">
                  <c:v>04-21</c:v>
                </c:pt>
                <c:pt idx="82">
                  <c:v>04-22</c:v>
                </c:pt>
                <c:pt idx="83">
                  <c:v>04-23</c:v>
                </c:pt>
                <c:pt idx="84">
                  <c:v>04-24</c:v>
                </c:pt>
                <c:pt idx="85">
                  <c:v>04-25</c:v>
                </c:pt>
                <c:pt idx="86">
                  <c:v>04-26</c:v>
                </c:pt>
                <c:pt idx="87">
                  <c:v>04-27</c:v>
                </c:pt>
                <c:pt idx="88">
                  <c:v>04-28</c:v>
                </c:pt>
                <c:pt idx="89">
                  <c:v>04-29</c:v>
                </c:pt>
                <c:pt idx="90">
                  <c:v>04-30</c:v>
                </c:pt>
                <c:pt idx="91">
                  <c:v>05-01</c:v>
                </c:pt>
                <c:pt idx="92">
                  <c:v>05-02</c:v>
                </c:pt>
                <c:pt idx="93">
                  <c:v>05-03</c:v>
                </c:pt>
                <c:pt idx="94">
                  <c:v>05-04</c:v>
                </c:pt>
                <c:pt idx="95">
                  <c:v>05-05</c:v>
                </c:pt>
                <c:pt idx="96">
                  <c:v>05-06</c:v>
                </c:pt>
                <c:pt idx="97">
                  <c:v>05-07</c:v>
                </c:pt>
                <c:pt idx="98">
                  <c:v>05-08</c:v>
                </c:pt>
                <c:pt idx="99">
                  <c:v>05-09</c:v>
                </c:pt>
                <c:pt idx="100">
                  <c:v>05-10</c:v>
                </c:pt>
                <c:pt idx="101">
                  <c:v>05-11</c:v>
                </c:pt>
                <c:pt idx="102">
                  <c:v>05-12</c:v>
                </c:pt>
                <c:pt idx="103">
                  <c:v>05-13</c:v>
                </c:pt>
                <c:pt idx="104">
                  <c:v>05-14</c:v>
                </c:pt>
                <c:pt idx="105">
                  <c:v>05-15</c:v>
                </c:pt>
                <c:pt idx="106">
                  <c:v>05-16</c:v>
                </c:pt>
                <c:pt idx="107">
                  <c:v>05-17</c:v>
                </c:pt>
                <c:pt idx="108">
                  <c:v>05-18</c:v>
                </c:pt>
                <c:pt idx="109">
                  <c:v>05-19</c:v>
                </c:pt>
                <c:pt idx="110">
                  <c:v>05-20</c:v>
                </c:pt>
                <c:pt idx="111">
                  <c:v>05-21</c:v>
                </c:pt>
                <c:pt idx="112">
                  <c:v>05-22</c:v>
                </c:pt>
                <c:pt idx="113">
                  <c:v>05-23</c:v>
                </c:pt>
                <c:pt idx="114">
                  <c:v>05-24</c:v>
                </c:pt>
                <c:pt idx="115">
                  <c:v>05-25</c:v>
                </c:pt>
                <c:pt idx="116">
                  <c:v>05-26</c:v>
                </c:pt>
                <c:pt idx="117">
                  <c:v>05-27</c:v>
                </c:pt>
                <c:pt idx="118">
                  <c:v>05-28</c:v>
                </c:pt>
                <c:pt idx="119">
                  <c:v>05-29</c:v>
                </c:pt>
                <c:pt idx="120">
                  <c:v>05-30</c:v>
                </c:pt>
                <c:pt idx="121">
                  <c:v>05-31</c:v>
                </c:pt>
                <c:pt idx="122">
                  <c:v>06-01</c:v>
                </c:pt>
                <c:pt idx="123">
                  <c:v>06-02</c:v>
                </c:pt>
                <c:pt idx="124">
                  <c:v>06-03</c:v>
                </c:pt>
                <c:pt idx="125">
                  <c:v>06-04</c:v>
                </c:pt>
                <c:pt idx="126">
                  <c:v>06-05</c:v>
                </c:pt>
                <c:pt idx="127">
                  <c:v>06-06</c:v>
                </c:pt>
                <c:pt idx="128">
                  <c:v>06-07</c:v>
                </c:pt>
                <c:pt idx="129">
                  <c:v>06-08</c:v>
                </c:pt>
                <c:pt idx="130">
                  <c:v>06-09</c:v>
                </c:pt>
                <c:pt idx="131">
                  <c:v>06-10</c:v>
                </c:pt>
                <c:pt idx="132">
                  <c:v>06-11</c:v>
                </c:pt>
                <c:pt idx="133">
                  <c:v>06-12</c:v>
                </c:pt>
                <c:pt idx="134">
                  <c:v>06-13</c:v>
                </c:pt>
                <c:pt idx="135">
                  <c:v>06-14</c:v>
                </c:pt>
                <c:pt idx="136">
                  <c:v>06-15</c:v>
                </c:pt>
                <c:pt idx="137">
                  <c:v>06-16</c:v>
                </c:pt>
                <c:pt idx="138">
                  <c:v>06-17</c:v>
                </c:pt>
                <c:pt idx="139">
                  <c:v>06-18</c:v>
                </c:pt>
                <c:pt idx="140">
                  <c:v>06-19</c:v>
                </c:pt>
                <c:pt idx="141">
                  <c:v>06-20</c:v>
                </c:pt>
                <c:pt idx="142">
                  <c:v>06-21</c:v>
                </c:pt>
                <c:pt idx="143">
                  <c:v>06-22</c:v>
                </c:pt>
                <c:pt idx="144">
                  <c:v>06-23</c:v>
                </c:pt>
                <c:pt idx="145">
                  <c:v>06-24</c:v>
                </c:pt>
                <c:pt idx="146">
                  <c:v>06-25</c:v>
                </c:pt>
                <c:pt idx="147">
                  <c:v>06-26</c:v>
                </c:pt>
                <c:pt idx="148">
                  <c:v>06-27</c:v>
                </c:pt>
                <c:pt idx="149">
                  <c:v>06-28</c:v>
                </c:pt>
                <c:pt idx="150">
                  <c:v>06-29</c:v>
                </c:pt>
                <c:pt idx="151">
                  <c:v>06-30</c:v>
                </c:pt>
                <c:pt idx="152">
                  <c:v>07-01</c:v>
                </c:pt>
                <c:pt idx="153">
                  <c:v>07-02</c:v>
                </c:pt>
                <c:pt idx="154">
                  <c:v>07-03</c:v>
                </c:pt>
                <c:pt idx="155">
                  <c:v>07-04</c:v>
                </c:pt>
                <c:pt idx="156">
                  <c:v>07-05</c:v>
                </c:pt>
                <c:pt idx="157">
                  <c:v>07-06</c:v>
                </c:pt>
                <c:pt idx="158">
                  <c:v>07-07</c:v>
                </c:pt>
                <c:pt idx="159">
                  <c:v>07-08</c:v>
                </c:pt>
                <c:pt idx="160">
                  <c:v>07-09</c:v>
                </c:pt>
                <c:pt idx="161">
                  <c:v>07-10</c:v>
                </c:pt>
                <c:pt idx="162">
                  <c:v>07-11</c:v>
                </c:pt>
                <c:pt idx="163">
                  <c:v>07-12</c:v>
                </c:pt>
                <c:pt idx="164">
                  <c:v>07-13</c:v>
                </c:pt>
                <c:pt idx="165">
                  <c:v>07-14</c:v>
                </c:pt>
                <c:pt idx="166">
                  <c:v>07-15</c:v>
                </c:pt>
                <c:pt idx="167">
                  <c:v>07-16</c:v>
                </c:pt>
                <c:pt idx="168">
                  <c:v>07-17</c:v>
                </c:pt>
                <c:pt idx="169">
                  <c:v>07-18</c:v>
                </c:pt>
                <c:pt idx="170">
                  <c:v>07-19</c:v>
                </c:pt>
                <c:pt idx="171">
                  <c:v>07-20</c:v>
                </c:pt>
                <c:pt idx="172">
                  <c:v>07-21</c:v>
                </c:pt>
                <c:pt idx="173">
                  <c:v>07-22</c:v>
                </c:pt>
                <c:pt idx="174">
                  <c:v>07-23</c:v>
                </c:pt>
                <c:pt idx="175">
                  <c:v>07-24</c:v>
                </c:pt>
                <c:pt idx="176">
                  <c:v>07-25</c:v>
                </c:pt>
                <c:pt idx="177">
                  <c:v>07-26</c:v>
                </c:pt>
                <c:pt idx="178">
                  <c:v>07-27</c:v>
                </c:pt>
                <c:pt idx="179">
                  <c:v>07-28</c:v>
                </c:pt>
                <c:pt idx="180">
                  <c:v>07-29</c:v>
                </c:pt>
                <c:pt idx="181">
                  <c:v>07-30</c:v>
                </c:pt>
                <c:pt idx="182">
                  <c:v>07-31</c:v>
                </c:pt>
                <c:pt idx="183">
                  <c:v>08-01</c:v>
                </c:pt>
                <c:pt idx="184">
                  <c:v>08-02</c:v>
                </c:pt>
                <c:pt idx="185">
                  <c:v>08-03</c:v>
                </c:pt>
                <c:pt idx="186">
                  <c:v>08-04</c:v>
                </c:pt>
                <c:pt idx="187">
                  <c:v>08-05</c:v>
                </c:pt>
                <c:pt idx="188">
                  <c:v>08-06</c:v>
                </c:pt>
                <c:pt idx="189">
                  <c:v>08-07</c:v>
                </c:pt>
                <c:pt idx="190">
                  <c:v>08-08</c:v>
                </c:pt>
                <c:pt idx="191">
                  <c:v>08-09</c:v>
                </c:pt>
                <c:pt idx="192">
                  <c:v>08-10</c:v>
                </c:pt>
                <c:pt idx="193">
                  <c:v>08-11</c:v>
                </c:pt>
                <c:pt idx="194">
                  <c:v>08-12</c:v>
                </c:pt>
                <c:pt idx="195">
                  <c:v>08-13</c:v>
                </c:pt>
                <c:pt idx="196">
                  <c:v>08-14</c:v>
                </c:pt>
                <c:pt idx="197">
                  <c:v>08-15</c:v>
                </c:pt>
                <c:pt idx="198">
                  <c:v>08-16</c:v>
                </c:pt>
                <c:pt idx="199">
                  <c:v>08-17</c:v>
                </c:pt>
                <c:pt idx="200">
                  <c:v>08-18</c:v>
                </c:pt>
                <c:pt idx="201">
                  <c:v>08-19</c:v>
                </c:pt>
                <c:pt idx="202">
                  <c:v>08-20</c:v>
                </c:pt>
                <c:pt idx="203">
                  <c:v>08-21</c:v>
                </c:pt>
                <c:pt idx="204">
                  <c:v>08-22</c:v>
                </c:pt>
                <c:pt idx="205">
                  <c:v>08-23</c:v>
                </c:pt>
                <c:pt idx="206">
                  <c:v>08-24</c:v>
                </c:pt>
                <c:pt idx="207">
                  <c:v>08-25</c:v>
                </c:pt>
                <c:pt idx="208">
                  <c:v>08-26</c:v>
                </c:pt>
                <c:pt idx="209">
                  <c:v>08-27</c:v>
                </c:pt>
                <c:pt idx="210">
                  <c:v>08-28</c:v>
                </c:pt>
                <c:pt idx="211">
                  <c:v>08-29</c:v>
                </c:pt>
                <c:pt idx="212">
                  <c:v>08-30</c:v>
                </c:pt>
                <c:pt idx="213">
                  <c:v>08-31</c:v>
                </c:pt>
                <c:pt idx="214">
                  <c:v>09-01</c:v>
                </c:pt>
                <c:pt idx="215">
                  <c:v>09-02</c:v>
                </c:pt>
                <c:pt idx="216">
                  <c:v>09-03</c:v>
                </c:pt>
                <c:pt idx="217">
                  <c:v>09-04</c:v>
                </c:pt>
                <c:pt idx="218">
                  <c:v>09-05</c:v>
                </c:pt>
                <c:pt idx="219">
                  <c:v>09-06</c:v>
                </c:pt>
                <c:pt idx="220">
                  <c:v>09-07</c:v>
                </c:pt>
                <c:pt idx="221">
                  <c:v>09-08</c:v>
                </c:pt>
                <c:pt idx="222">
                  <c:v>09-09</c:v>
                </c:pt>
                <c:pt idx="223">
                  <c:v>09-10</c:v>
                </c:pt>
                <c:pt idx="224">
                  <c:v>09-11</c:v>
                </c:pt>
                <c:pt idx="225">
                  <c:v>09-12</c:v>
                </c:pt>
                <c:pt idx="226">
                  <c:v>09-13</c:v>
                </c:pt>
                <c:pt idx="227">
                  <c:v>09-14</c:v>
                </c:pt>
                <c:pt idx="228">
                  <c:v>09-15</c:v>
                </c:pt>
                <c:pt idx="229">
                  <c:v>09-16</c:v>
                </c:pt>
                <c:pt idx="230">
                  <c:v>09-17</c:v>
                </c:pt>
                <c:pt idx="231">
                  <c:v>09-18</c:v>
                </c:pt>
                <c:pt idx="232">
                  <c:v>09-19</c:v>
                </c:pt>
                <c:pt idx="233">
                  <c:v>09-20</c:v>
                </c:pt>
                <c:pt idx="234">
                  <c:v>09-21</c:v>
                </c:pt>
                <c:pt idx="235">
                  <c:v>09-22</c:v>
                </c:pt>
                <c:pt idx="236">
                  <c:v>09-23</c:v>
                </c:pt>
                <c:pt idx="237">
                  <c:v>09-24</c:v>
                </c:pt>
                <c:pt idx="238">
                  <c:v>09-25</c:v>
                </c:pt>
                <c:pt idx="239">
                  <c:v>09-26</c:v>
                </c:pt>
                <c:pt idx="240">
                  <c:v>09-27</c:v>
                </c:pt>
                <c:pt idx="241">
                  <c:v>09-28</c:v>
                </c:pt>
                <c:pt idx="242">
                  <c:v>09-29</c:v>
                </c:pt>
                <c:pt idx="243">
                  <c:v>09-30</c:v>
                </c:pt>
                <c:pt idx="244">
                  <c:v>10-01</c:v>
                </c:pt>
                <c:pt idx="245">
                  <c:v>10-02</c:v>
                </c:pt>
                <c:pt idx="246">
                  <c:v>10-03</c:v>
                </c:pt>
                <c:pt idx="247">
                  <c:v>10-04</c:v>
                </c:pt>
                <c:pt idx="248">
                  <c:v>10-05</c:v>
                </c:pt>
                <c:pt idx="249">
                  <c:v>10-06</c:v>
                </c:pt>
                <c:pt idx="250">
                  <c:v>10-07</c:v>
                </c:pt>
                <c:pt idx="251">
                  <c:v>10-08</c:v>
                </c:pt>
                <c:pt idx="252">
                  <c:v>10-09</c:v>
                </c:pt>
                <c:pt idx="253">
                  <c:v>10-10</c:v>
                </c:pt>
                <c:pt idx="254">
                  <c:v>10-11</c:v>
                </c:pt>
                <c:pt idx="255">
                  <c:v>10-12</c:v>
                </c:pt>
                <c:pt idx="256">
                  <c:v>10-13</c:v>
                </c:pt>
                <c:pt idx="257">
                  <c:v>10-14</c:v>
                </c:pt>
                <c:pt idx="258">
                  <c:v>10-15</c:v>
                </c:pt>
                <c:pt idx="259">
                  <c:v>10-16</c:v>
                </c:pt>
                <c:pt idx="260">
                  <c:v>10-17</c:v>
                </c:pt>
                <c:pt idx="261">
                  <c:v>10-18</c:v>
                </c:pt>
                <c:pt idx="262">
                  <c:v>10-19</c:v>
                </c:pt>
                <c:pt idx="263">
                  <c:v>10-20</c:v>
                </c:pt>
                <c:pt idx="264">
                  <c:v>10-21</c:v>
                </c:pt>
                <c:pt idx="265">
                  <c:v>10-22</c:v>
                </c:pt>
                <c:pt idx="266">
                  <c:v>10-23</c:v>
                </c:pt>
                <c:pt idx="267">
                  <c:v>10-24</c:v>
                </c:pt>
                <c:pt idx="268">
                  <c:v>10-25</c:v>
                </c:pt>
                <c:pt idx="269">
                  <c:v>10-26</c:v>
                </c:pt>
                <c:pt idx="270">
                  <c:v>10-27</c:v>
                </c:pt>
                <c:pt idx="271">
                  <c:v>10-28</c:v>
                </c:pt>
                <c:pt idx="272">
                  <c:v>10-29</c:v>
                </c:pt>
                <c:pt idx="273">
                  <c:v>10-30</c:v>
                </c:pt>
                <c:pt idx="274">
                  <c:v>10-31</c:v>
                </c:pt>
                <c:pt idx="275">
                  <c:v>11-01</c:v>
                </c:pt>
                <c:pt idx="276">
                  <c:v>11-02</c:v>
                </c:pt>
                <c:pt idx="277">
                  <c:v>11-03</c:v>
                </c:pt>
                <c:pt idx="278">
                  <c:v>11-04</c:v>
                </c:pt>
                <c:pt idx="279">
                  <c:v>11-05</c:v>
                </c:pt>
                <c:pt idx="280">
                  <c:v>11-06</c:v>
                </c:pt>
                <c:pt idx="281">
                  <c:v>11-07</c:v>
                </c:pt>
                <c:pt idx="282">
                  <c:v>11-08</c:v>
                </c:pt>
                <c:pt idx="283">
                  <c:v>11-09</c:v>
                </c:pt>
                <c:pt idx="284">
                  <c:v>11-10</c:v>
                </c:pt>
                <c:pt idx="285">
                  <c:v>11-11</c:v>
                </c:pt>
                <c:pt idx="286">
                  <c:v>11-12</c:v>
                </c:pt>
                <c:pt idx="287">
                  <c:v>11-13</c:v>
                </c:pt>
                <c:pt idx="288">
                  <c:v>11-14</c:v>
                </c:pt>
                <c:pt idx="289">
                  <c:v>11-15</c:v>
                </c:pt>
                <c:pt idx="290">
                  <c:v>11-16</c:v>
                </c:pt>
                <c:pt idx="291">
                  <c:v>11-17</c:v>
                </c:pt>
                <c:pt idx="292">
                  <c:v>11-18</c:v>
                </c:pt>
                <c:pt idx="293">
                  <c:v>11-19</c:v>
                </c:pt>
                <c:pt idx="294">
                  <c:v>11-20</c:v>
                </c:pt>
                <c:pt idx="295">
                  <c:v>11-21</c:v>
                </c:pt>
                <c:pt idx="296">
                  <c:v>11-22</c:v>
                </c:pt>
                <c:pt idx="297">
                  <c:v>11-23</c:v>
                </c:pt>
                <c:pt idx="298">
                  <c:v>11-24</c:v>
                </c:pt>
                <c:pt idx="299">
                  <c:v>11-25</c:v>
                </c:pt>
                <c:pt idx="300">
                  <c:v>11-26</c:v>
                </c:pt>
                <c:pt idx="301">
                  <c:v>11-27</c:v>
                </c:pt>
                <c:pt idx="302">
                  <c:v>11-28</c:v>
                </c:pt>
                <c:pt idx="303">
                  <c:v>11-29</c:v>
                </c:pt>
                <c:pt idx="304">
                  <c:v>11-30</c:v>
                </c:pt>
                <c:pt idx="305">
                  <c:v>12-01</c:v>
                </c:pt>
                <c:pt idx="306">
                  <c:v>12-02</c:v>
                </c:pt>
                <c:pt idx="307">
                  <c:v>12-03</c:v>
                </c:pt>
                <c:pt idx="308">
                  <c:v>12-04</c:v>
                </c:pt>
                <c:pt idx="309">
                  <c:v>12-05</c:v>
                </c:pt>
                <c:pt idx="310">
                  <c:v>12-06</c:v>
                </c:pt>
                <c:pt idx="311">
                  <c:v>12-07</c:v>
                </c:pt>
                <c:pt idx="312">
                  <c:v>12-08</c:v>
                </c:pt>
                <c:pt idx="313">
                  <c:v>12-09</c:v>
                </c:pt>
                <c:pt idx="314">
                  <c:v>12-10</c:v>
                </c:pt>
                <c:pt idx="315">
                  <c:v>12-11</c:v>
                </c:pt>
                <c:pt idx="316">
                  <c:v>12-12</c:v>
                </c:pt>
                <c:pt idx="317">
                  <c:v>12-13</c:v>
                </c:pt>
                <c:pt idx="318">
                  <c:v>12-14</c:v>
                </c:pt>
                <c:pt idx="319">
                  <c:v>12-15</c:v>
                </c:pt>
                <c:pt idx="320">
                  <c:v>12-16</c:v>
                </c:pt>
                <c:pt idx="321">
                  <c:v>12-17</c:v>
                </c:pt>
                <c:pt idx="322">
                  <c:v>12-18</c:v>
                </c:pt>
                <c:pt idx="323">
                  <c:v>12-19</c:v>
                </c:pt>
                <c:pt idx="324">
                  <c:v>12-20</c:v>
                </c:pt>
                <c:pt idx="325">
                  <c:v>12-21</c:v>
                </c:pt>
                <c:pt idx="326">
                  <c:v>12-22</c:v>
                </c:pt>
                <c:pt idx="327">
                  <c:v>12-23</c:v>
                </c:pt>
                <c:pt idx="328">
                  <c:v>12-24</c:v>
                </c:pt>
                <c:pt idx="329">
                  <c:v>12-25</c:v>
                </c:pt>
                <c:pt idx="330">
                  <c:v>12-26</c:v>
                </c:pt>
                <c:pt idx="331">
                  <c:v>12-27</c:v>
                </c:pt>
                <c:pt idx="332">
                  <c:v>12-28</c:v>
                </c:pt>
                <c:pt idx="333">
                  <c:v>12-29</c:v>
                </c:pt>
                <c:pt idx="334">
                  <c:v>12-30</c:v>
                </c:pt>
                <c:pt idx="335">
                  <c:v>12-31</c:v>
                </c:pt>
              </c:strCache>
            </c:strRef>
          </c:cat>
          <c:val>
            <c:numRef>
              <c:f>铝合金开工!$X$34:$X$369</c:f>
              <c:numCache>
                <c:formatCode>General</c:formatCode>
                <c:ptCount val="336"/>
                <c:pt idx="0">
                  <c:v>41</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12</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42</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49</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49</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47</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47</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52</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56</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57</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57</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54</c:v>
                </c:pt>
              </c:numCache>
            </c:numRef>
          </c:val>
          <c:smooth val="0"/>
          <c:extLst>
            <c:ext xmlns:c16="http://schemas.microsoft.com/office/drawing/2014/chart" uri="{C3380CC4-5D6E-409C-BE32-E72D297353CC}">
              <c16:uniqueId val="{00000000-EADD-4598-B814-0B69E3038AB7}"/>
            </c:ext>
          </c:extLst>
        </c:ser>
        <c:ser>
          <c:idx val="1"/>
          <c:order val="1"/>
          <c:tx>
            <c:strRef>
              <c:f>铝合金开工!$Y$3</c:f>
              <c:strCache>
                <c:ptCount val="1"/>
                <c:pt idx="0">
                  <c:v>2021</c:v>
                </c:pt>
              </c:strCache>
            </c:strRef>
          </c:tx>
          <c:spPr>
            <a:ln w="19050" cap="rnd">
              <a:solidFill>
                <a:schemeClr val="accent5">
                  <a:lumMod val="75000"/>
                </a:schemeClr>
              </a:solidFill>
              <a:round/>
            </a:ln>
            <a:effectLst/>
          </c:spPr>
          <c:marker>
            <c:symbol val="none"/>
          </c:marker>
          <c:cat>
            <c:strRef>
              <c:f>铝合金开工!$U$34:$U$369</c:f>
              <c:strCache>
                <c:ptCount val="336"/>
                <c:pt idx="0">
                  <c:v>01-31</c:v>
                </c:pt>
                <c:pt idx="1">
                  <c:v>02-01</c:v>
                </c:pt>
                <c:pt idx="2">
                  <c:v>02-02</c:v>
                </c:pt>
                <c:pt idx="3">
                  <c:v>02-03</c:v>
                </c:pt>
                <c:pt idx="4">
                  <c:v>02-04</c:v>
                </c:pt>
                <c:pt idx="5">
                  <c:v>02-05</c:v>
                </c:pt>
                <c:pt idx="6">
                  <c:v>02-06</c:v>
                </c:pt>
                <c:pt idx="7">
                  <c:v>02-07</c:v>
                </c:pt>
                <c:pt idx="8">
                  <c:v>02-08</c:v>
                </c:pt>
                <c:pt idx="9">
                  <c:v>02-09</c:v>
                </c:pt>
                <c:pt idx="10">
                  <c:v>02-10</c:v>
                </c:pt>
                <c:pt idx="11">
                  <c:v>02-11</c:v>
                </c:pt>
                <c:pt idx="12">
                  <c:v>02-12</c:v>
                </c:pt>
                <c:pt idx="13">
                  <c:v>02-13</c:v>
                </c:pt>
                <c:pt idx="14">
                  <c:v>02-14</c:v>
                </c:pt>
                <c:pt idx="15">
                  <c:v>02-15</c:v>
                </c:pt>
                <c:pt idx="16">
                  <c:v>02-16</c:v>
                </c:pt>
                <c:pt idx="17">
                  <c:v>02-17</c:v>
                </c:pt>
                <c:pt idx="18">
                  <c:v>02-18</c:v>
                </c:pt>
                <c:pt idx="19">
                  <c:v>02-19</c:v>
                </c:pt>
                <c:pt idx="20">
                  <c:v>02-20</c:v>
                </c:pt>
                <c:pt idx="21">
                  <c:v>02-21</c:v>
                </c:pt>
                <c:pt idx="22">
                  <c:v>02-22</c:v>
                </c:pt>
                <c:pt idx="23">
                  <c:v>02-23</c:v>
                </c:pt>
                <c:pt idx="24">
                  <c:v>02-24</c:v>
                </c:pt>
                <c:pt idx="25">
                  <c:v>02-25</c:v>
                </c:pt>
                <c:pt idx="26">
                  <c:v>02-26</c:v>
                </c:pt>
                <c:pt idx="27">
                  <c:v>02-27</c:v>
                </c:pt>
                <c:pt idx="28">
                  <c:v>02-28</c:v>
                </c:pt>
                <c:pt idx="29">
                  <c:v>02-29</c:v>
                </c:pt>
                <c:pt idx="30">
                  <c:v>03-01</c:v>
                </c:pt>
                <c:pt idx="31">
                  <c:v>03-02</c:v>
                </c:pt>
                <c:pt idx="32">
                  <c:v>03-03</c:v>
                </c:pt>
                <c:pt idx="33">
                  <c:v>03-04</c:v>
                </c:pt>
                <c:pt idx="34">
                  <c:v>03-05</c:v>
                </c:pt>
                <c:pt idx="35">
                  <c:v>03-06</c:v>
                </c:pt>
                <c:pt idx="36">
                  <c:v>03-07</c:v>
                </c:pt>
                <c:pt idx="37">
                  <c:v>03-08</c:v>
                </c:pt>
                <c:pt idx="38">
                  <c:v>03-09</c:v>
                </c:pt>
                <c:pt idx="39">
                  <c:v>03-10</c:v>
                </c:pt>
                <c:pt idx="40">
                  <c:v>03-11</c:v>
                </c:pt>
                <c:pt idx="41">
                  <c:v>03-12</c:v>
                </c:pt>
                <c:pt idx="42">
                  <c:v>03-13</c:v>
                </c:pt>
                <c:pt idx="43">
                  <c:v>03-14</c:v>
                </c:pt>
                <c:pt idx="44">
                  <c:v>03-15</c:v>
                </c:pt>
                <c:pt idx="45">
                  <c:v>03-16</c:v>
                </c:pt>
                <c:pt idx="46">
                  <c:v>03-17</c:v>
                </c:pt>
                <c:pt idx="47">
                  <c:v>03-18</c:v>
                </c:pt>
                <c:pt idx="48">
                  <c:v>03-19</c:v>
                </c:pt>
                <c:pt idx="49">
                  <c:v>03-20</c:v>
                </c:pt>
                <c:pt idx="50">
                  <c:v>03-21</c:v>
                </c:pt>
                <c:pt idx="51">
                  <c:v>03-22</c:v>
                </c:pt>
                <c:pt idx="52">
                  <c:v>03-23</c:v>
                </c:pt>
                <c:pt idx="53">
                  <c:v>03-24</c:v>
                </c:pt>
                <c:pt idx="54">
                  <c:v>03-25</c:v>
                </c:pt>
                <c:pt idx="55">
                  <c:v>03-26</c:v>
                </c:pt>
                <c:pt idx="56">
                  <c:v>03-27</c:v>
                </c:pt>
                <c:pt idx="57">
                  <c:v>03-28</c:v>
                </c:pt>
                <c:pt idx="58">
                  <c:v>03-29</c:v>
                </c:pt>
                <c:pt idx="59">
                  <c:v>03-30</c:v>
                </c:pt>
                <c:pt idx="60">
                  <c:v>03-31</c:v>
                </c:pt>
                <c:pt idx="61">
                  <c:v>04-01</c:v>
                </c:pt>
                <c:pt idx="62">
                  <c:v>04-02</c:v>
                </c:pt>
                <c:pt idx="63">
                  <c:v>04-03</c:v>
                </c:pt>
                <c:pt idx="64">
                  <c:v>04-04</c:v>
                </c:pt>
                <c:pt idx="65">
                  <c:v>04-05</c:v>
                </c:pt>
                <c:pt idx="66">
                  <c:v>04-06</c:v>
                </c:pt>
                <c:pt idx="67">
                  <c:v>04-07</c:v>
                </c:pt>
                <c:pt idx="68">
                  <c:v>04-08</c:v>
                </c:pt>
                <c:pt idx="69">
                  <c:v>04-09</c:v>
                </c:pt>
                <c:pt idx="70">
                  <c:v>04-10</c:v>
                </c:pt>
                <c:pt idx="71">
                  <c:v>04-11</c:v>
                </c:pt>
                <c:pt idx="72">
                  <c:v>04-12</c:v>
                </c:pt>
                <c:pt idx="73">
                  <c:v>04-13</c:v>
                </c:pt>
                <c:pt idx="74">
                  <c:v>04-14</c:v>
                </c:pt>
                <c:pt idx="75">
                  <c:v>04-15</c:v>
                </c:pt>
                <c:pt idx="76">
                  <c:v>04-16</c:v>
                </c:pt>
                <c:pt idx="77">
                  <c:v>04-17</c:v>
                </c:pt>
                <c:pt idx="78">
                  <c:v>04-18</c:v>
                </c:pt>
                <c:pt idx="79">
                  <c:v>04-19</c:v>
                </c:pt>
                <c:pt idx="80">
                  <c:v>04-20</c:v>
                </c:pt>
                <c:pt idx="81">
                  <c:v>04-21</c:v>
                </c:pt>
                <c:pt idx="82">
                  <c:v>04-22</c:v>
                </c:pt>
                <c:pt idx="83">
                  <c:v>04-23</c:v>
                </c:pt>
                <c:pt idx="84">
                  <c:v>04-24</c:v>
                </c:pt>
                <c:pt idx="85">
                  <c:v>04-25</c:v>
                </c:pt>
                <c:pt idx="86">
                  <c:v>04-26</c:v>
                </c:pt>
                <c:pt idx="87">
                  <c:v>04-27</c:v>
                </c:pt>
                <c:pt idx="88">
                  <c:v>04-28</c:v>
                </c:pt>
                <c:pt idx="89">
                  <c:v>04-29</c:v>
                </c:pt>
                <c:pt idx="90">
                  <c:v>04-30</c:v>
                </c:pt>
                <c:pt idx="91">
                  <c:v>05-01</c:v>
                </c:pt>
                <c:pt idx="92">
                  <c:v>05-02</c:v>
                </c:pt>
                <c:pt idx="93">
                  <c:v>05-03</c:v>
                </c:pt>
                <c:pt idx="94">
                  <c:v>05-04</c:v>
                </c:pt>
                <c:pt idx="95">
                  <c:v>05-05</c:v>
                </c:pt>
                <c:pt idx="96">
                  <c:v>05-06</c:v>
                </c:pt>
                <c:pt idx="97">
                  <c:v>05-07</c:v>
                </c:pt>
                <c:pt idx="98">
                  <c:v>05-08</c:v>
                </c:pt>
                <c:pt idx="99">
                  <c:v>05-09</c:v>
                </c:pt>
                <c:pt idx="100">
                  <c:v>05-10</c:v>
                </c:pt>
                <c:pt idx="101">
                  <c:v>05-11</c:v>
                </c:pt>
                <c:pt idx="102">
                  <c:v>05-12</c:v>
                </c:pt>
                <c:pt idx="103">
                  <c:v>05-13</c:v>
                </c:pt>
                <c:pt idx="104">
                  <c:v>05-14</c:v>
                </c:pt>
                <c:pt idx="105">
                  <c:v>05-15</c:v>
                </c:pt>
                <c:pt idx="106">
                  <c:v>05-16</c:v>
                </c:pt>
                <c:pt idx="107">
                  <c:v>05-17</c:v>
                </c:pt>
                <c:pt idx="108">
                  <c:v>05-18</c:v>
                </c:pt>
                <c:pt idx="109">
                  <c:v>05-19</c:v>
                </c:pt>
                <c:pt idx="110">
                  <c:v>05-20</c:v>
                </c:pt>
                <c:pt idx="111">
                  <c:v>05-21</c:v>
                </c:pt>
                <c:pt idx="112">
                  <c:v>05-22</c:v>
                </c:pt>
                <c:pt idx="113">
                  <c:v>05-23</c:v>
                </c:pt>
                <c:pt idx="114">
                  <c:v>05-24</c:v>
                </c:pt>
                <c:pt idx="115">
                  <c:v>05-25</c:v>
                </c:pt>
                <c:pt idx="116">
                  <c:v>05-26</c:v>
                </c:pt>
                <c:pt idx="117">
                  <c:v>05-27</c:v>
                </c:pt>
                <c:pt idx="118">
                  <c:v>05-28</c:v>
                </c:pt>
                <c:pt idx="119">
                  <c:v>05-29</c:v>
                </c:pt>
                <c:pt idx="120">
                  <c:v>05-30</c:v>
                </c:pt>
                <c:pt idx="121">
                  <c:v>05-31</c:v>
                </c:pt>
                <c:pt idx="122">
                  <c:v>06-01</c:v>
                </c:pt>
                <c:pt idx="123">
                  <c:v>06-02</c:v>
                </c:pt>
                <c:pt idx="124">
                  <c:v>06-03</c:v>
                </c:pt>
                <c:pt idx="125">
                  <c:v>06-04</c:v>
                </c:pt>
                <c:pt idx="126">
                  <c:v>06-05</c:v>
                </c:pt>
                <c:pt idx="127">
                  <c:v>06-06</c:v>
                </c:pt>
                <c:pt idx="128">
                  <c:v>06-07</c:v>
                </c:pt>
                <c:pt idx="129">
                  <c:v>06-08</c:v>
                </c:pt>
                <c:pt idx="130">
                  <c:v>06-09</c:v>
                </c:pt>
                <c:pt idx="131">
                  <c:v>06-10</c:v>
                </c:pt>
                <c:pt idx="132">
                  <c:v>06-11</c:v>
                </c:pt>
                <c:pt idx="133">
                  <c:v>06-12</c:v>
                </c:pt>
                <c:pt idx="134">
                  <c:v>06-13</c:v>
                </c:pt>
                <c:pt idx="135">
                  <c:v>06-14</c:v>
                </c:pt>
                <c:pt idx="136">
                  <c:v>06-15</c:v>
                </c:pt>
                <c:pt idx="137">
                  <c:v>06-16</c:v>
                </c:pt>
                <c:pt idx="138">
                  <c:v>06-17</c:v>
                </c:pt>
                <c:pt idx="139">
                  <c:v>06-18</c:v>
                </c:pt>
                <c:pt idx="140">
                  <c:v>06-19</c:v>
                </c:pt>
                <c:pt idx="141">
                  <c:v>06-20</c:v>
                </c:pt>
                <c:pt idx="142">
                  <c:v>06-21</c:v>
                </c:pt>
                <c:pt idx="143">
                  <c:v>06-22</c:v>
                </c:pt>
                <c:pt idx="144">
                  <c:v>06-23</c:v>
                </c:pt>
                <c:pt idx="145">
                  <c:v>06-24</c:v>
                </c:pt>
                <c:pt idx="146">
                  <c:v>06-25</c:v>
                </c:pt>
                <c:pt idx="147">
                  <c:v>06-26</c:v>
                </c:pt>
                <c:pt idx="148">
                  <c:v>06-27</c:v>
                </c:pt>
                <c:pt idx="149">
                  <c:v>06-28</c:v>
                </c:pt>
                <c:pt idx="150">
                  <c:v>06-29</c:v>
                </c:pt>
                <c:pt idx="151">
                  <c:v>06-30</c:v>
                </c:pt>
                <c:pt idx="152">
                  <c:v>07-01</c:v>
                </c:pt>
                <c:pt idx="153">
                  <c:v>07-02</c:v>
                </c:pt>
                <c:pt idx="154">
                  <c:v>07-03</c:v>
                </c:pt>
                <c:pt idx="155">
                  <c:v>07-04</c:v>
                </c:pt>
                <c:pt idx="156">
                  <c:v>07-05</c:v>
                </c:pt>
                <c:pt idx="157">
                  <c:v>07-06</c:v>
                </c:pt>
                <c:pt idx="158">
                  <c:v>07-07</c:v>
                </c:pt>
                <c:pt idx="159">
                  <c:v>07-08</c:v>
                </c:pt>
                <c:pt idx="160">
                  <c:v>07-09</c:v>
                </c:pt>
                <c:pt idx="161">
                  <c:v>07-10</c:v>
                </c:pt>
                <c:pt idx="162">
                  <c:v>07-11</c:v>
                </c:pt>
                <c:pt idx="163">
                  <c:v>07-12</c:v>
                </c:pt>
                <c:pt idx="164">
                  <c:v>07-13</c:v>
                </c:pt>
                <c:pt idx="165">
                  <c:v>07-14</c:v>
                </c:pt>
                <c:pt idx="166">
                  <c:v>07-15</c:v>
                </c:pt>
                <c:pt idx="167">
                  <c:v>07-16</c:v>
                </c:pt>
                <c:pt idx="168">
                  <c:v>07-17</c:v>
                </c:pt>
                <c:pt idx="169">
                  <c:v>07-18</c:v>
                </c:pt>
                <c:pt idx="170">
                  <c:v>07-19</c:v>
                </c:pt>
                <c:pt idx="171">
                  <c:v>07-20</c:v>
                </c:pt>
                <c:pt idx="172">
                  <c:v>07-21</c:v>
                </c:pt>
                <c:pt idx="173">
                  <c:v>07-22</c:v>
                </c:pt>
                <c:pt idx="174">
                  <c:v>07-23</c:v>
                </c:pt>
                <c:pt idx="175">
                  <c:v>07-24</c:v>
                </c:pt>
                <c:pt idx="176">
                  <c:v>07-25</c:v>
                </c:pt>
                <c:pt idx="177">
                  <c:v>07-26</c:v>
                </c:pt>
                <c:pt idx="178">
                  <c:v>07-27</c:v>
                </c:pt>
                <c:pt idx="179">
                  <c:v>07-28</c:v>
                </c:pt>
                <c:pt idx="180">
                  <c:v>07-29</c:v>
                </c:pt>
                <c:pt idx="181">
                  <c:v>07-30</c:v>
                </c:pt>
                <c:pt idx="182">
                  <c:v>07-31</c:v>
                </c:pt>
                <c:pt idx="183">
                  <c:v>08-01</c:v>
                </c:pt>
                <c:pt idx="184">
                  <c:v>08-02</c:v>
                </c:pt>
                <c:pt idx="185">
                  <c:v>08-03</c:v>
                </c:pt>
                <c:pt idx="186">
                  <c:v>08-04</c:v>
                </c:pt>
                <c:pt idx="187">
                  <c:v>08-05</c:v>
                </c:pt>
                <c:pt idx="188">
                  <c:v>08-06</c:v>
                </c:pt>
                <c:pt idx="189">
                  <c:v>08-07</c:v>
                </c:pt>
                <c:pt idx="190">
                  <c:v>08-08</c:v>
                </c:pt>
                <c:pt idx="191">
                  <c:v>08-09</c:v>
                </c:pt>
                <c:pt idx="192">
                  <c:v>08-10</c:v>
                </c:pt>
                <c:pt idx="193">
                  <c:v>08-11</c:v>
                </c:pt>
                <c:pt idx="194">
                  <c:v>08-12</c:v>
                </c:pt>
                <c:pt idx="195">
                  <c:v>08-13</c:v>
                </c:pt>
                <c:pt idx="196">
                  <c:v>08-14</c:v>
                </c:pt>
                <c:pt idx="197">
                  <c:v>08-15</c:v>
                </c:pt>
                <c:pt idx="198">
                  <c:v>08-16</c:v>
                </c:pt>
                <c:pt idx="199">
                  <c:v>08-17</c:v>
                </c:pt>
                <c:pt idx="200">
                  <c:v>08-18</c:v>
                </c:pt>
                <c:pt idx="201">
                  <c:v>08-19</c:v>
                </c:pt>
                <c:pt idx="202">
                  <c:v>08-20</c:v>
                </c:pt>
                <c:pt idx="203">
                  <c:v>08-21</c:v>
                </c:pt>
                <c:pt idx="204">
                  <c:v>08-22</c:v>
                </c:pt>
                <c:pt idx="205">
                  <c:v>08-23</c:v>
                </c:pt>
                <c:pt idx="206">
                  <c:v>08-24</c:v>
                </c:pt>
                <c:pt idx="207">
                  <c:v>08-25</c:v>
                </c:pt>
                <c:pt idx="208">
                  <c:v>08-26</c:v>
                </c:pt>
                <c:pt idx="209">
                  <c:v>08-27</c:v>
                </c:pt>
                <c:pt idx="210">
                  <c:v>08-28</c:v>
                </c:pt>
                <c:pt idx="211">
                  <c:v>08-29</c:v>
                </c:pt>
                <c:pt idx="212">
                  <c:v>08-30</c:v>
                </c:pt>
                <c:pt idx="213">
                  <c:v>08-31</c:v>
                </c:pt>
                <c:pt idx="214">
                  <c:v>09-01</c:v>
                </c:pt>
                <c:pt idx="215">
                  <c:v>09-02</c:v>
                </c:pt>
                <c:pt idx="216">
                  <c:v>09-03</c:v>
                </c:pt>
                <c:pt idx="217">
                  <c:v>09-04</c:v>
                </c:pt>
                <c:pt idx="218">
                  <c:v>09-05</c:v>
                </c:pt>
                <c:pt idx="219">
                  <c:v>09-06</c:v>
                </c:pt>
                <c:pt idx="220">
                  <c:v>09-07</c:v>
                </c:pt>
                <c:pt idx="221">
                  <c:v>09-08</c:v>
                </c:pt>
                <c:pt idx="222">
                  <c:v>09-09</c:v>
                </c:pt>
                <c:pt idx="223">
                  <c:v>09-10</c:v>
                </c:pt>
                <c:pt idx="224">
                  <c:v>09-11</c:v>
                </c:pt>
                <c:pt idx="225">
                  <c:v>09-12</c:v>
                </c:pt>
                <c:pt idx="226">
                  <c:v>09-13</c:v>
                </c:pt>
                <c:pt idx="227">
                  <c:v>09-14</c:v>
                </c:pt>
                <c:pt idx="228">
                  <c:v>09-15</c:v>
                </c:pt>
                <c:pt idx="229">
                  <c:v>09-16</c:v>
                </c:pt>
                <c:pt idx="230">
                  <c:v>09-17</c:v>
                </c:pt>
                <c:pt idx="231">
                  <c:v>09-18</c:v>
                </c:pt>
                <c:pt idx="232">
                  <c:v>09-19</c:v>
                </c:pt>
                <c:pt idx="233">
                  <c:v>09-20</c:v>
                </c:pt>
                <c:pt idx="234">
                  <c:v>09-21</c:v>
                </c:pt>
                <c:pt idx="235">
                  <c:v>09-22</c:v>
                </c:pt>
                <c:pt idx="236">
                  <c:v>09-23</c:v>
                </c:pt>
                <c:pt idx="237">
                  <c:v>09-24</c:v>
                </c:pt>
                <c:pt idx="238">
                  <c:v>09-25</c:v>
                </c:pt>
                <c:pt idx="239">
                  <c:v>09-26</c:v>
                </c:pt>
                <c:pt idx="240">
                  <c:v>09-27</c:v>
                </c:pt>
                <c:pt idx="241">
                  <c:v>09-28</c:v>
                </c:pt>
                <c:pt idx="242">
                  <c:v>09-29</c:v>
                </c:pt>
                <c:pt idx="243">
                  <c:v>09-30</c:v>
                </c:pt>
                <c:pt idx="244">
                  <c:v>10-01</c:v>
                </c:pt>
                <c:pt idx="245">
                  <c:v>10-02</c:v>
                </c:pt>
                <c:pt idx="246">
                  <c:v>10-03</c:v>
                </c:pt>
                <c:pt idx="247">
                  <c:v>10-04</c:v>
                </c:pt>
                <c:pt idx="248">
                  <c:v>10-05</c:v>
                </c:pt>
                <c:pt idx="249">
                  <c:v>10-06</c:v>
                </c:pt>
                <c:pt idx="250">
                  <c:v>10-07</c:v>
                </c:pt>
                <c:pt idx="251">
                  <c:v>10-08</c:v>
                </c:pt>
                <c:pt idx="252">
                  <c:v>10-09</c:v>
                </c:pt>
                <c:pt idx="253">
                  <c:v>10-10</c:v>
                </c:pt>
                <c:pt idx="254">
                  <c:v>10-11</c:v>
                </c:pt>
                <c:pt idx="255">
                  <c:v>10-12</c:v>
                </c:pt>
                <c:pt idx="256">
                  <c:v>10-13</c:v>
                </c:pt>
                <c:pt idx="257">
                  <c:v>10-14</c:v>
                </c:pt>
                <c:pt idx="258">
                  <c:v>10-15</c:v>
                </c:pt>
                <c:pt idx="259">
                  <c:v>10-16</c:v>
                </c:pt>
                <c:pt idx="260">
                  <c:v>10-17</c:v>
                </c:pt>
                <c:pt idx="261">
                  <c:v>10-18</c:v>
                </c:pt>
                <c:pt idx="262">
                  <c:v>10-19</c:v>
                </c:pt>
                <c:pt idx="263">
                  <c:v>10-20</c:v>
                </c:pt>
                <c:pt idx="264">
                  <c:v>10-21</c:v>
                </c:pt>
                <c:pt idx="265">
                  <c:v>10-22</c:v>
                </c:pt>
                <c:pt idx="266">
                  <c:v>10-23</c:v>
                </c:pt>
                <c:pt idx="267">
                  <c:v>10-24</c:v>
                </c:pt>
                <c:pt idx="268">
                  <c:v>10-25</c:v>
                </c:pt>
                <c:pt idx="269">
                  <c:v>10-26</c:v>
                </c:pt>
                <c:pt idx="270">
                  <c:v>10-27</c:v>
                </c:pt>
                <c:pt idx="271">
                  <c:v>10-28</c:v>
                </c:pt>
                <c:pt idx="272">
                  <c:v>10-29</c:v>
                </c:pt>
                <c:pt idx="273">
                  <c:v>10-30</c:v>
                </c:pt>
                <c:pt idx="274">
                  <c:v>10-31</c:v>
                </c:pt>
                <c:pt idx="275">
                  <c:v>11-01</c:v>
                </c:pt>
                <c:pt idx="276">
                  <c:v>11-02</c:v>
                </c:pt>
                <c:pt idx="277">
                  <c:v>11-03</c:v>
                </c:pt>
                <c:pt idx="278">
                  <c:v>11-04</c:v>
                </c:pt>
                <c:pt idx="279">
                  <c:v>11-05</c:v>
                </c:pt>
                <c:pt idx="280">
                  <c:v>11-06</c:v>
                </c:pt>
                <c:pt idx="281">
                  <c:v>11-07</c:v>
                </c:pt>
                <c:pt idx="282">
                  <c:v>11-08</c:v>
                </c:pt>
                <c:pt idx="283">
                  <c:v>11-09</c:v>
                </c:pt>
                <c:pt idx="284">
                  <c:v>11-10</c:v>
                </c:pt>
                <c:pt idx="285">
                  <c:v>11-11</c:v>
                </c:pt>
                <c:pt idx="286">
                  <c:v>11-12</c:v>
                </c:pt>
                <c:pt idx="287">
                  <c:v>11-13</c:v>
                </c:pt>
                <c:pt idx="288">
                  <c:v>11-14</c:v>
                </c:pt>
                <c:pt idx="289">
                  <c:v>11-15</c:v>
                </c:pt>
                <c:pt idx="290">
                  <c:v>11-16</c:v>
                </c:pt>
                <c:pt idx="291">
                  <c:v>11-17</c:v>
                </c:pt>
                <c:pt idx="292">
                  <c:v>11-18</c:v>
                </c:pt>
                <c:pt idx="293">
                  <c:v>11-19</c:v>
                </c:pt>
                <c:pt idx="294">
                  <c:v>11-20</c:v>
                </c:pt>
                <c:pt idx="295">
                  <c:v>11-21</c:v>
                </c:pt>
                <c:pt idx="296">
                  <c:v>11-22</c:v>
                </c:pt>
                <c:pt idx="297">
                  <c:v>11-23</c:v>
                </c:pt>
                <c:pt idx="298">
                  <c:v>11-24</c:v>
                </c:pt>
                <c:pt idx="299">
                  <c:v>11-25</c:v>
                </c:pt>
                <c:pt idx="300">
                  <c:v>11-26</c:v>
                </c:pt>
                <c:pt idx="301">
                  <c:v>11-27</c:v>
                </c:pt>
                <c:pt idx="302">
                  <c:v>11-28</c:v>
                </c:pt>
                <c:pt idx="303">
                  <c:v>11-29</c:v>
                </c:pt>
                <c:pt idx="304">
                  <c:v>11-30</c:v>
                </c:pt>
                <c:pt idx="305">
                  <c:v>12-01</c:v>
                </c:pt>
                <c:pt idx="306">
                  <c:v>12-02</c:v>
                </c:pt>
                <c:pt idx="307">
                  <c:v>12-03</c:v>
                </c:pt>
                <c:pt idx="308">
                  <c:v>12-04</c:v>
                </c:pt>
                <c:pt idx="309">
                  <c:v>12-05</c:v>
                </c:pt>
                <c:pt idx="310">
                  <c:v>12-06</c:v>
                </c:pt>
                <c:pt idx="311">
                  <c:v>12-07</c:v>
                </c:pt>
                <c:pt idx="312">
                  <c:v>12-08</c:v>
                </c:pt>
                <c:pt idx="313">
                  <c:v>12-09</c:v>
                </c:pt>
                <c:pt idx="314">
                  <c:v>12-10</c:v>
                </c:pt>
                <c:pt idx="315">
                  <c:v>12-11</c:v>
                </c:pt>
                <c:pt idx="316">
                  <c:v>12-12</c:v>
                </c:pt>
                <c:pt idx="317">
                  <c:v>12-13</c:v>
                </c:pt>
                <c:pt idx="318">
                  <c:v>12-14</c:v>
                </c:pt>
                <c:pt idx="319">
                  <c:v>12-15</c:v>
                </c:pt>
                <c:pt idx="320">
                  <c:v>12-16</c:v>
                </c:pt>
                <c:pt idx="321">
                  <c:v>12-17</c:v>
                </c:pt>
                <c:pt idx="322">
                  <c:v>12-18</c:v>
                </c:pt>
                <c:pt idx="323">
                  <c:v>12-19</c:v>
                </c:pt>
                <c:pt idx="324">
                  <c:v>12-20</c:v>
                </c:pt>
                <c:pt idx="325">
                  <c:v>12-21</c:v>
                </c:pt>
                <c:pt idx="326">
                  <c:v>12-22</c:v>
                </c:pt>
                <c:pt idx="327">
                  <c:v>12-23</c:v>
                </c:pt>
                <c:pt idx="328">
                  <c:v>12-24</c:v>
                </c:pt>
                <c:pt idx="329">
                  <c:v>12-25</c:v>
                </c:pt>
                <c:pt idx="330">
                  <c:v>12-26</c:v>
                </c:pt>
                <c:pt idx="331">
                  <c:v>12-27</c:v>
                </c:pt>
                <c:pt idx="332">
                  <c:v>12-28</c:v>
                </c:pt>
                <c:pt idx="333">
                  <c:v>12-29</c:v>
                </c:pt>
                <c:pt idx="334">
                  <c:v>12-30</c:v>
                </c:pt>
                <c:pt idx="335">
                  <c:v>12-31</c:v>
                </c:pt>
              </c:strCache>
            </c:strRef>
          </c:cat>
          <c:val>
            <c:numRef>
              <c:f>铝合金开工!$Y$34:$Y$369</c:f>
              <c:numCache>
                <c:formatCode>General</c:formatCode>
                <c:ptCount val="336"/>
                <c:pt idx="0">
                  <c:v>56</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31</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53</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56</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52</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51</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51</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46</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44</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43</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49</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50</c:v>
                </c:pt>
              </c:numCache>
            </c:numRef>
          </c:val>
          <c:smooth val="0"/>
          <c:extLst>
            <c:ext xmlns:c16="http://schemas.microsoft.com/office/drawing/2014/chart" uri="{C3380CC4-5D6E-409C-BE32-E72D297353CC}">
              <c16:uniqueId val="{00000001-EADD-4598-B814-0B69E3038AB7}"/>
            </c:ext>
          </c:extLst>
        </c:ser>
        <c:ser>
          <c:idx val="2"/>
          <c:order val="2"/>
          <c:tx>
            <c:strRef>
              <c:f>铝合金开工!$Z$3</c:f>
              <c:strCache>
                <c:ptCount val="1"/>
                <c:pt idx="0">
                  <c:v>2022</c:v>
                </c:pt>
              </c:strCache>
            </c:strRef>
          </c:tx>
          <c:spPr>
            <a:ln w="19050" cap="rnd">
              <a:solidFill>
                <a:schemeClr val="bg1">
                  <a:lumMod val="50000"/>
                </a:schemeClr>
              </a:solidFill>
              <a:round/>
            </a:ln>
            <a:effectLst/>
          </c:spPr>
          <c:marker>
            <c:symbol val="none"/>
          </c:marker>
          <c:cat>
            <c:strRef>
              <c:f>铝合金开工!$U$34:$U$369</c:f>
              <c:strCache>
                <c:ptCount val="336"/>
                <c:pt idx="0">
                  <c:v>01-31</c:v>
                </c:pt>
                <c:pt idx="1">
                  <c:v>02-01</c:v>
                </c:pt>
                <c:pt idx="2">
                  <c:v>02-02</c:v>
                </c:pt>
                <c:pt idx="3">
                  <c:v>02-03</c:v>
                </c:pt>
                <c:pt idx="4">
                  <c:v>02-04</c:v>
                </c:pt>
                <c:pt idx="5">
                  <c:v>02-05</c:v>
                </c:pt>
                <c:pt idx="6">
                  <c:v>02-06</c:v>
                </c:pt>
                <c:pt idx="7">
                  <c:v>02-07</c:v>
                </c:pt>
                <c:pt idx="8">
                  <c:v>02-08</c:v>
                </c:pt>
                <c:pt idx="9">
                  <c:v>02-09</c:v>
                </c:pt>
                <c:pt idx="10">
                  <c:v>02-10</c:v>
                </c:pt>
                <c:pt idx="11">
                  <c:v>02-11</c:v>
                </c:pt>
                <c:pt idx="12">
                  <c:v>02-12</c:v>
                </c:pt>
                <c:pt idx="13">
                  <c:v>02-13</c:v>
                </c:pt>
                <c:pt idx="14">
                  <c:v>02-14</c:v>
                </c:pt>
                <c:pt idx="15">
                  <c:v>02-15</c:v>
                </c:pt>
                <c:pt idx="16">
                  <c:v>02-16</c:v>
                </c:pt>
                <c:pt idx="17">
                  <c:v>02-17</c:v>
                </c:pt>
                <c:pt idx="18">
                  <c:v>02-18</c:v>
                </c:pt>
                <c:pt idx="19">
                  <c:v>02-19</c:v>
                </c:pt>
                <c:pt idx="20">
                  <c:v>02-20</c:v>
                </c:pt>
                <c:pt idx="21">
                  <c:v>02-21</c:v>
                </c:pt>
                <c:pt idx="22">
                  <c:v>02-22</c:v>
                </c:pt>
                <c:pt idx="23">
                  <c:v>02-23</c:v>
                </c:pt>
                <c:pt idx="24">
                  <c:v>02-24</c:v>
                </c:pt>
                <c:pt idx="25">
                  <c:v>02-25</c:v>
                </c:pt>
                <c:pt idx="26">
                  <c:v>02-26</c:v>
                </c:pt>
                <c:pt idx="27">
                  <c:v>02-27</c:v>
                </c:pt>
                <c:pt idx="28">
                  <c:v>02-28</c:v>
                </c:pt>
                <c:pt idx="29">
                  <c:v>02-29</c:v>
                </c:pt>
                <c:pt idx="30">
                  <c:v>03-01</c:v>
                </c:pt>
                <c:pt idx="31">
                  <c:v>03-02</c:v>
                </c:pt>
                <c:pt idx="32">
                  <c:v>03-03</c:v>
                </c:pt>
                <c:pt idx="33">
                  <c:v>03-04</c:v>
                </c:pt>
                <c:pt idx="34">
                  <c:v>03-05</c:v>
                </c:pt>
                <c:pt idx="35">
                  <c:v>03-06</c:v>
                </c:pt>
                <c:pt idx="36">
                  <c:v>03-07</c:v>
                </c:pt>
                <c:pt idx="37">
                  <c:v>03-08</c:v>
                </c:pt>
                <c:pt idx="38">
                  <c:v>03-09</c:v>
                </c:pt>
                <c:pt idx="39">
                  <c:v>03-10</c:v>
                </c:pt>
                <c:pt idx="40">
                  <c:v>03-11</c:v>
                </c:pt>
                <c:pt idx="41">
                  <c:v>03-12</c:v>
                </c:pt>
                <c:pt idx="42">
                  <c:v>03-13</c:v>
                </c:pt>
                <c:pt idx="43">
                  <c:v>03-14</c:v>
                </c:pt>
                <c:pt idx="44">
                  <c:v>03-15</c:v>
                </c:pt>
                <c:pt idx="45">
                  <c:v>03-16</c:v>
                </c:pt>
                <c:pt idx="46">
                  <c:v>03-17</c:v>
                </c:pt>
                <c:pt idx="47">
                  <c:v>03-18</c:v>
                </c:pt>
                <c:pt idx="48">
                  <c:v>03-19</c:v>
                </c:pt>
                <c:pt idx="49">
                  <c:v>03-20</c:v>
                </c:pt>
                <c:pt idx="50">
                  <c:v>03-21</c:v>
                </c:pt>
                <c:pt idx="51">
                  <c:v>03-22</c:v>
                </c:pt>
                <c:pt idx="52">
                  <c:v>03-23</c:v>
                </c:pt>
                <c:pt idx="53">
                  <c:v>03-24</c:v>
                </c:pt>
                <c:pt idx="54">
                  <c:v>03-25</c:v>
                </c:pt>
                <c:pt idx="55">
                  <c:v>03-26</c:v>
                </c:pt>
                <c:pt idx="56">
                  <c:v>03-27</c:v>
                </c:pt>
                <c:pt idx="57">
                  <c:v>03-28</c:v>
                </c:pt>
                <c:pt idx="58">
                  <c:v>03-29</c:v>
                </c:pt>
                <c:pt idx="59">
                  <c:v>03-30</c:v>
                </c:pt>
                <c:pt idx="60">
                  <c:v>03-31</c:v>
                </c:pt>
                <c:pt idx="61">
                  <c:v>04-01</c:v>
                </c:pt>
                <c:pt idx="62">
                  <c:v>04-02</c:v>
                </c:pt>
                <c:pt idx="63">
                  <c:v>04-03</c:v>
                </c:pt>
                <c:pt idx="64">
                  <c:v>04-04</c:v>
                </c:pt>
                <c:pt idx="65">
                  <c:v>04-05</c:v>
                </c:pt>
                <c:pt idx="66">
                  <c:v>04-06</c:v>
                </c:pt>
                <c:pt idx="67">
                  <c:v>04-07</c:v>
                </c:pt>
                <c:pt idx="68">
                  <c:v>04-08</c:v>
                </c:pt>
                <c:pt idx="69">
                  <c:v>04-09</c:v>
                </c:pt>
                <c:pt idx="70">
                  <c:v>04-10</c:v>
                </c:pt>
                <c:pt idx="71">
                  <c:v>04-11</c:v>
                </c:pt>
                <c:pt idx="72">
                  <c:v>04-12</c:v>
                </c:pt>
                <c:pt idx="73">
                  <c:v>04-13</c:v>
                </c:pt>
                <c:pt idx="74">
                  <c:v>04-14</c:v>
                </c:pt>
                <c:pt idx="75">
                  <c:v>04-15</c:v>
                </c:pt>
                <c:pt idx="76">
                  <c:v>04-16</c:v>
                </c:pt>
                <c:pt idx="77">
                  <c:v>04-17</c:v>
                </c:pt>
                <c:pt idx="78">
                  <c:v>04-18</c:v>
                </c:pt>
                <c:pt idx="79">
                  <c:v>04-19</c:v>
                </c:pt>
                <c:pt idx="80">
                  <c:v>04-20</c:v>
                </c:pt>
                <c:pt idx="81">
                  <c:v>04-21</c:v>
                </c:pt>
                <c:pt idx="82">
                  <c:v>04-22</c:v>
                </c:pt>
                <c:pt idx="83">
                  <c:v>04-23</c:v>
                </c:pt>
                <c:pt idx="84">
                  <c:v>04-24</c:v>
                </c:pt>
                <c:pt idx="85">
                  <c:v>04-25</c:v>
                </c:pt>
                <c:pt idx="86">
                  <c:v>04-26</c:v>
                </c:pt>
                <c:pt idx="87">
                  <c:v>04-27</c:v>
                </c:pt>
                <c:pt idx="88">
                  <c:v>04-28</c:v>
                </c:pt>
                <c:pt idx="89">
                  <c:v>04-29</c:v>
                </c:pt>
                <c:pt idx="90">
                  <c:v>04-30</c:v>
                </c:pt>
                <c:pt idx="91">
                  <c:v>05-01</c:v>
                </c:pt>
                <c:pt idx="92">
                  <c:v>05-02</c:v>
                </c:pt>
                <c:pt idx="93">
                  <c:v>05-03</c:v>
                </c:pt>
                <c:pt idx="94">
                  <c:v>05-04</c:v>
                </c:pt>
                <c:pt idx="95">
                  <c:v>05-05</c:v>
                </c:pt>
                <c:pt idx="96">
                  <c:v>05-06</c:v>
                </c:pt>
                <c:pt idx="97">
                  <c:v>05-07</c:v>
                </c:pt>
                <c:pt idx="98">
                  <c:v>05-08</c:v>
                </c:pt>
                <c:pt idx="99">
                  <c:v>05-09</c:v>
                </c:pt>
                <c:pt idx="100">
                  <c:v>05-10</c:v>
                </c:pt>
                <c:pt idx="101">
                  <c:v>05-11</c:v>
                </c:pt>
                <c:pt idx="102">
                  <c:v>05-12</c:v>
                </c:pt>
                <c:pt idx="103">
                  <c:v>05-13</c:v>
                </c:pt>
                <c:pt idx="104">
                  <c:v>05-14</c:v>
                </c:pt>
                <c:pt idx="105">
                  <c:v>05-15</c:v>
                </c:pt>
                <c:pt idx="106">
                  <c:v>05-16</c:v>
                </c:pt>
                <c:pt idx="107">
                  <c:v>05-17</c:v>
                </c:pt>
                <c:pt idx="108">
                  <c:v>05-18</c:v>
                </c:pt>
                <c:pt idx="109">
                  <c:v>05-19</c:v>
                </c:pt>
                <c:pt idx="110">
                  <c:v>05-20</c:v>
                </c:pt>
                <c:pt idx="111">
                  <c:v>05-21</c:v>
                </c:pt>
                <c:pt idx="112">
                  <c:v>05-22</c:v>
                </c:pt>
                <c:pt idx="113">
                  <c:v>05-23</c:v>
                </c:pt>
                <c:pt idx="114">
                  <c:v>05-24</c:v>
                </c:pt>
                <c:pt idx="115">
                  <c:v>05-25</c:v>
                </c:pt>
                <c:pt idx="116">
                  <c:v>05-26</c:v>
                </c:pt>
                <c:pt idx="117">
                  <c:v>05-27</c:v>
                </c:pt>
                <c:pt idx="118">
                  <c:v>05-28</c:v>
                </c:pt>
                <c:pt idx="119">
                  <c:v>05-29</c:v>
                </c:pt>
                <c:pt idx="120">
                  <c:v>05-30</c:v>
                </c:pt>
                <c:pt idx="121">
                  <c:v>05-31</c:v>
                </c:pt>
                <c:pt idx="122">
                  <c:v>06-01</c:v>
                </c:pt>
                <c:pt idx="123">
                  <c:v>06-02</c:v>
                </c:pt>
                <c:pt idx="124">
                  <c:v>06-03</c:v>
                </c:pt>
                <c:pt idx="125">
                  <c:v>06-04</c:v>
                </c:pt>
                <c:pt idx="126">
                  <c:v>06-05</c:v>
                </c:pt>
                <c:pt idx="127">
                  <c:v>06-06</c:v>
                </c:pt>
                <c:pt idx="128">
                  <c:v>06-07</c:v>
                </c:pt>
                <c:pt idx="129">
                  <c:v>06-08</c:v>
                </c:pt>
                <c:pt idx="130">
                  <c:v>06-09</c:v>
                </c:pt>
                <c:pt idx="131">
                  <c:v>06-10</c:v>
                </c:pt>
                <c:pt idx="132">
                  <c:v>06-11</c:v>
                </c:pt>
                <c:pt idx="133">
                  <c:v>06-12</c:v>
                </c:pt>
                <c:pt idx="134">
                  <c:v>06-13</c:v>
                </c:pt>
                <c:pt idx="135">
                  <c:v>06-14</c:v>
                </c:pt>
                <c:pt idx="136">
                  <c:v>06-15</c:v>
                </c:pt>
                <c:pt idx="137">
                  <c:v>06-16</c:v>
                </c:pt>
                <c:pt idx="138">
                  <c:v>06-17</c:v>
                </c:pt>
                <c:pt idx="139">
                  <c:v>06-18</c:v>
                </c:pt>
                <c:pt idx="140">
                  <c:v>06-19</c:v>
                </c:pt>
                <c:pt idx="141">
                  <c:v>06-20</c:v>
                </c:pt>
                <c:pt idx="142">
                  <c:v>06-21</c:v>
                </c:pt>
                <c:pt idx="143">
                  <c:v>06-22</c:v>
                </c:pt>
                <c:pt idx="144">
                  <c:v>06-23</c:v>
                </c:pt>
                <c:pt idx="145">
                  <c:v>06-24</c:v>
                </c:pt>
                <c:pt idx="146">
                  <c:v>06-25</c:v>
                </c:pt>
                <c:pt idx="147">
                  <c:v>06-26</c:v>
                </c:pt>
                <c:pt idx="148">
                  <c:v>06-27</c:v>
                </c:pt>
                <c:pt idx="149">
                  <c:v>06-28</c:v>
                </c:pt>
                <c:pt idx="150">
                  <c:v>06-29</c:v>
                </c:pt>
                <c:pt idx="151">
                  <c:v>06-30</c:v>
                </c:pt>
                <c:pt idx="152">
                  <c:v>07-01</c:v>
                </c:pt>
                <c:pt idx="153">
                  <c:v>07-02</c:v>
                </c:pt>
                <c:pt idx="154">
                  <c:v>07-03</c:v>
                </c:pt>
                <c:pt idx="155">
                  <c:v>07-04</c:v>
                </c:pt>
                <c:pt idx="156">
                  <c:v>07-05</c:v>
                </c:pt>
                <c:pt idx="157">
                  <c:v>07-06</c:v>
                </c:pt>
                <c:pt idx="158">
                  <c:v>07-07</c:v>
                </c:pt>
                <c:pt idx="159">
                  <c:v>07-08</c:v>
                </c:pt>
                <c:pt idx="160">
                  <c:v>07-09</c:v>
                </c:pt>
                <c:pt idx="161">
                  <c:v>07-10</c:v>
                </c:pt>
                <c:pt idx="162">
                  <c:v>07-11</c:v>
                </c:pt>
                <c:pt idx="163">
                  <c:v>07-12</c:v>
                </c:pt>
                <c:pt idx="164">
                  <c:v>07-13</c:v>
                </c:pt>
                <c:pt idx="165">
                  <c:v>07-14</c:v>
                </c:pt>
                <c:pt idx="166">
                  <c:v>07-15</c:v>
                </c:pt>
                <c:pt idx="167">
                  <c:v>07-16</c:v>
                </c:pt>
                <c:pt idx="168">
                  <c:v>07-17</c:v>
                </c:pt>
                <c:pt idx="169">
                  <c:v>07-18</c:v>
                </c:pt>
                <c:pt idx="170">
                  <c:v>07-19</c:v>
                </c:pt>
                <c:pt idx="171">
                  <c:v>07-20</c:v>
                </c:pt>
                <c:pt idx="172">
                  <c:v>07-21</c:v>
                </c:pt>
                <c:pt idx="173">
                  <c:v>07-22</c:v>
                </c:pt>
                <c:pt idx="174">
                  <c:v>07-23</c:v>
                </c:pt>
                <c:pt idx="175">
                  <c:v>07-24</c:v>
                </c:pt>
                <c:pt idx="176">
                  <c:v>07-25</c:v>
                </c:pt>
                <c:pt idx="177">
                  <c:v>07-26</c:v>
                </c:pt>
                <c:pt idx="178">
                  <c:v>07-27</c:v>
                </c:pt>
                <c:pt idx="179">
                  <c:v>07-28</c:v>
                </c:pt>
                <c:pt idx="180">
                  <c:v>07-29</c:v>
                </c:pt>
                <c:pt idx="181">
                  <c:v>07-30</c:v>
                </c:pt>
                <c:pt idx="182">
                  <c:v>07-31</c:v>
                </c:pt>
                <c:pt idx="183">
                  <c:v>08-01</c:v>
                </c:pt>
                <c:pt idx="184">
                  <c:v>08-02</c:v>
                </c:pt>
                <c:pt idx="185">
                  <c:v>08-03</c:v>
                </c:pt>
                <c:pt idx="186">
                  <c:v>08-04</c:v>
                </c:pt>
                <c:pt idx="187">
                  <c:v>08-05</c:v>
                </c:pt>
                <c:pt idx="188">
                  <c:v>08-06</c:v>
                </c:pt>
                <c:pt idx="189">
                  <c:v>08-07</c:v>
                </c:pt>
                <c:pt idx="190">
                  <c:v>08-08</c:v>
                </c:pt>
                <c:pt idx="191">
                  <c:v>08-09</c:v>
                </c:pt>
                <c:pt idx="192">
                  <c:v>08-10</c:v>
                </c:pt>
                <c:pt idx="193">
                  <c:v>08-11</c:v>
                </c:pt>
                <c:pt idx="194">
                  <c:v>08-12</c:v>
                </c:pt>
                <c:pt idx="195">
                  <c:v>08-13</c:v>
                </c:pt>
                <c:pt idx="196">
                  <c:v>08-14</c:v>
                </c:pt>
                <c:pt idx="197">
                  <c:v>08-15</c:v>
                </c:pt>
                <c:pt idx="198">
                  <c:v>08-16</c:v>
                </c:pt>
                <c:pt idx="199">
                  <c:v>08-17</c:v>
                </c:pt>
                <c:pt idx="200">
                  <c:v>08-18</c:v>
                </c:pt>
                <c:pt idx="201">
                  <c:v>08-19</c:v>
                </c:pt>
                <c:pt idx="202">
                  <c:v>08-20</c:v>
                </c:pt>
                <c:pt idx="203">
                  <c:v>08-21</c:v>
                </c:pt>
                <c:pt idx="204">
                  <c:v>08-22</c:v>
                </c:pt>
                <c:pt idx="205">
                  <c:v>08-23</c:v>
                </c:pt>
                <c:pt idx="206">
                  <c:v>08-24</c:v>
                </c:pt>
                <c:pt idx="207">
                  <c:v>08-25</c:v>
                </c:pt>
                <c:pt idx="208">
                  <c:v>08-26</c:v>
                </c:pt>
                <c:pt idx="209">
                  <c:v>08-27</c:v>
                </c:pt>
                <c:pt idx="210">
                  <c:v>08-28</c:v>
                </c:pt>
                <c:pt idx="211">
                  <c:v>08-29</c:v>
                </c:pt>
                <c:pt idx="212">
                  <c:v>08-30</c:v>
                </c:pt>
                <c:pt idx="213">
                  <c:v>08-31</c:v>
                </c:pt>
                <c:pt idx="214">
                  <c:v>09-01</c:v>
                </c:pt>
                <c:pt idx="215">
                  <c:v>09-02</c:v>
                </c:pt>
                <c:pt idx="216">
                  <c:v>09-03</c:v>
                </c:pt>
                <c:pt idx="217">
                  <c:v>09-04</c:v>
                </c:pt>
                <c:pt idx="218">
                  <c:v>09-05</c:v>
                </c:pt>
                <c:pt idx="219">
                  <c:v>09-06</c:v>
                </c:pt>
                <c:pt idx="220">
                  <c:v>09-07</c:v>
                </c:pt>
                <c:pt idx="221">
                  <c:v>09-08</c:v>
                </c:pt>
                <c:pt idx="222">
                  <c:v>09-09</c:v>
                </c:pt>
                <c:pt idx="223">
                  <c:v>09-10</c:v>
                </c:pt>
                <c:pt idx="224">
                  <c:v>09-11</c:v>
                </c:pt>
                <c:pt idx="225">
                  <c:v>09-12</c:v>
                </c:pt>
                <c:pt idx="226">
                  <c:v>09-13</c:v>
                </c:pt>
                <c:pt idx="227">
                  <c:v>09-14</c:v>
                </c:pt>
                <c:pt idx="228">
                  <c:v>09-15</c:v>
                </c:pt>
                <c:pt idx="229">
                  <c:v>09-16</c:v>
                </c:pt>
                <c:pt idx="230">
                  <c:v>09-17</c:v>
                </c:pt>
                <c:pt idx="231">
                  <c:v>09-18</c:v>
                </c:pt>
                <c:pt idx="232">
                  <c:v>09-19</c:v>
                </c:pt>
                <c:pt idx="233">
                  <c:v>09-20</c:v>
                </c:pt>
                <c:pt idx="234">
                  <c:v>09-21</c:v>
                </c:pt>
                <c:pt idx="235">
                  <c:v>09-22</c:v>
                </c:pt>
                <c:pt idx="236">
                  <c:v>09-23</c:v>
                </c:pt>
                <c:pt idx="237">
                  <c:v>09-24</c:v>
                </c:pt>
                <c:pt idx="238">
                  <c:v>09-25</c:v>
                </c:pt>
                <c:pt idx="239">
                  <c:v>09-26</c:v>
                </c:pt>
                <c:pt idx="240">
                  <c:v>09-27</c:v>
                </c:pt>
                <c:pt idx="241">
                  <c:v>09-28</c:v>
                </c:pt>
                <c:pt idx="242">
                  <c:v>09-29</c:v>
                </c:pt>
                <c:pt idx="243">
                  <c:v>09-30</c:v>
                </c:pt>
                <c:pt idx="244">
                  <c:v>10-01</c:v>
                </c:pt>
                <c:pt idx="245">
                  <c:v>10-02</c:v>
                </c:pt>
                <c:pt idx="246">
                  <c:v>10-03</c:v>
                </c:pt>
                <c:pt idx="247">
                  <c:v>10-04</c:v>
                </c:pt>
                <c:pt idx="248">
                  <c:v>10-05</c:v>
                </c:pt>
                <c:pt idx="249">
                  <c:v>10-06</c:v>
                </c:pt>
                <c:pt idx="250">
                  <c:v>10-07</c:v>
                </c:pt>
                <c:pt idx="251">
                  <c:v>10-08</c:v>
                </c:pt>
                <c:pt idx="252">
                  <c:v>10-09</c:v>
                </c:pt>
                <c:pt idx="253">
                  <c:v>10-10</c:v>
                </c:pt>
                <c:pt idx="254">
                  <c:v>10-11</c:v>
                </c:pt>
                <c:pt idx="255">
                  <c:v>10-12</c:v>
                </c:pt>
                <c:pt idx="256">
                  <c:v>10-13</c:v>
                </c:pt>
                <c:pt idx="257">
                  <c:v>10-14</c:v>
                </c:pt>
                <c:pt idx="258">
                  <c:v>10-15</c:v>
                </c:pt>
                <c:pt idx="259">
                  <c:v>10-16</c:v>
                </c:pt>
                <c:pt idx="260">
                  <c:v>10-17</c:v>
                </c:pt>
                <c:pt idx="261">
                  <c:v>10-18</c:v>
                </c:pt>
                <c:pt idx="262">
                  <c:v>10-19</c:v>
                </c:pt>
                <c:pt idx="263">
                  <c:v>10-20</c:v>
                </c:pt>
                <c:pt idx="264">
                  <c:v>10-21</c:v>
                </c:pt>
                <c:pt idx="265">
                  <c:v>10-22</c:v>
                </c:pt>
                <c:pt idx="266">
                  <c:v>10-23</c:v>
                </c:pt>
                <c:pt idx="267">
                  <c:v>10-24</c:v>
                </c:pt>
                <c:pt idx="268">
                  <c:v>10-25</c:v>
                </c:pt>
                <c:pt idx="269">
                  <c:v>10-26</c:v>
                </c:pt>
                <c:pt idx="270">
                  <c:v>10-27</c:v>
                </c:pt>
                <c:pt idx="271">
                  <c:v>10-28</c:v>
                </c:pt>
                <c:pt idx="272">
                  <c:v>10-29</c:v>
                </c:pt>
                <c:pt idx="273">
                  <c:v>10-30</c:v>
                </c:pt>
                <c:pt idx="274">
                  <c:v>10-31</c:v>
                </c:pt>
                <c:pt idx="275">
                  <c:v>11-01</c:v>
                </c:pt>
                <c:pt idx="276">
                  <c:v>11-02</c:v>
                </c:pt>
                <c:pt idx="277">
                  <c:v>11-03</c:v>
                </c:pt>
                <c:pt idx="278">
                  <c:v>11-04</c:v>
                </c:pt>
                <c:pt idx="279">
                  <c:v>11-05</c:v>
                </c:pt>
                <c:pt idx="280">
                  <c:v>11-06</c:v>
                </c:pt>
                <c:pt idx="281">
                  <c:v>11-07</c:v>
                </c:pt>
                <c:pt idx="282">
                  <c:v>11-08</c:v>
                </c:pt>
                <c:pt idx="283">
                  <c:v>11-09</c:v>
                </c:pt>
                <c:pt idx="284">
                  <c:v>11-10</c:v>
                </c:pt>
                <c:pt idx="285">
                  <c:v>11-11</c:v>
                </c:pt>
                <c:pt idx="286">
                  <c:v>11-12</c:v>
                </c:pt>
                <c:pt idx="287">
                  <c:v>11-13</c:v>
                </c:pt>
                <c:pt idx="288">
                  <c:v>11-14</c:v>
                </c:pt>
                <c:pt idx="289">
                  <c:v>11-15</c:v>
                </c:pt>
                <c:pt idx="290">
                  <c:v>11-16</c:v>
                </c:pt>
                <c:pt idx="291">
                  <c:v>11-17</c:v>
                </c:pt>
                <c:pt idx="292">
                  <c:v>11-18</c:v>
                </c:pt>
                <c:pt idx="293">
                  <c:v>11-19</c:v>
                </c:pt>
                <c:pt idx="294">
                  <c:v>11-20</c:v>
                </c:pt>
                <c:pt idx="295">
                  <c:v>11-21</c:v>
                </c:pt>
                <c:pt idx="296">
                  <c:v>11-22</c:v>
                </c:pt>
                <c:pt idx="297">
                  <c:v>11-23</c:v>
                </c:pt>
                <c:pt idx="298">
                  <c:v>11-24</c:v>
                </c:pt>
                <c:pt idx="299">
                  <c:v>11-25</c:v>
                </c:pt>
                <c:pt idx="300">
                  <c:v>11-26</c:v>
                </c:pt>
                <c:pt idx="301">
                  <c:v>11-27</c:v>
                </c:pt>
                <c:pt idx="302">
                  <c:v>11-28</c:v>
                </c:pt>
                <c:pt idx="303">
                  <c:v>11-29</c:v>
                </c:pt>
                <c:pt idx="304">
                  <c:v>11-30</c:v>
                </c:pt>
                <c:pt idx="305">
                  <c:v>12-01</c:v>
                </c:pt>
                <c:pt idx="306">
                  <c:v>12-02</c:v>
                </c:pt>
                <c:pt idx="307">
                  <c:v>12-03</c:v>
                </c:pt>
                <c:pt idx="308">
                  <c:v>12-04</c:v>
                </c:pt>
                <c:pt idx="309">
                  <c:v>12-05</c:v>
                </c:pt>
                <c:pt idx="310">
                  <c:v>12-06</c:v>
                </c:pt>
                <c:pt idx="311">
                  <c:v>12-07</c:v>
                </c:pt>
                <c:pt idx="312">
                  <c:v>12-08</c:v>
                </c:pt>
                <c:pt idx="313">
                  <c:v>12-09</c:v>
                </c:pt>
                <c:pt idx="314">
                  <c:v>12-10</c:v>
                </c:pt>
                <c:pt idx="315">
                  <c:v>12-11</c:v>
                </c:pt>
                <c:pt idx="316">
                  <c:v>12-12</c:v>
                </c:pt>
                <c:pt idx="317">
                  <c:v>12-13</c:v>
                </c:pt>
                <c:pt idx="318">
                  <c:v>12-14</c:v>
                </c:pt>
                <c:pt idx="319">
                  <c:v>12-15</c:v>
                </c:pt>
                <c:pt idx="320">
                  <c:v>12-16</c:v>
                </c:pt>
                <c:pt idx="321">
                  <c:v>12-17</c:v>
                </c:pt>
                <c:pt idx="322">
                  <c:v>12-18</c:v>
                </c:pt>
                <c:pt idx="323">
                  <c:v>12-19</c:v>
                </c:pt>
                <c:pt idx="324">
                  <c:v>12-20</c:v>
                </c:pt>
                <c:pt idx="325">
                  <c:v>12-21</c:v>
                </c:pt>
                <c:pt idx="326">
                  <c:v>12-22</c:v>
                </c:pt>
                <c:pt idx="327">
                  <c:v>12-23</c:v>
                </c:pt>
                <c:pt idx="328">
                  <c:v>12-24</c:v>
                </c:pt>
                <c:pt idx="329">
                  <c:v>12-25</c:v>
                </c:pt>
                <c:pt idx="330">
                  <c:v>12-26</c:v>
                </c:pt>
                <c:pt idx="331">
                  <c:v>12-27</c:v>
                </c:pt>
                <c:pt idx="332">
                  <c:v>12-28</c:v>
                </c:pt>
                <c:pt idx="333">
                  <c:v>12-29</c:v>
                </c:pt>
                <c:pt idx="334">
                  <c:v>12-30</c:v>
                </c:pt>
                <c:pt idx="335">
                  <c:v>12-31</c:v>
                </c:pt>
              </c:strCache>
            </c:strRef>
          </c:cat>
          <c:val>
            <c:numRef>
              <c:f>铝合金开工!$Z$34:$Z$369</c:f>
              <c:numCache>
                <c:formatCode>General</c:formatCode>
                <c:ptCount val="336"/>
                <c:pt idx="0">
                  <c:v>48</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42.54</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46</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37</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40.33</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40.92</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39</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30</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47.4</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44.25</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45.46</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57</c:v>
                </c:pt>
              </c:numCache>
            </c:numRef>
          </c:val>
          <c:smooth val="0"/>
          <c:extLst>
            <c:ext xmlns:c16="http://schemas.microsoft.com/office/drawing/2014/chart" uri="{C3380CC4-5D6E-409C-BE32-E72D297353CC}">
              <c16:uniqueId val="{00000002-EADD-4598-B814-0B69E3038AB7}"/>
            </c:ext>
          </c:extLst>
        </c:ser>
        <c:ser>
          <c:idx val="3"/>
          <c:order val="3"/>
          <c:tx>
            <c:strRef>
              <c:f>铝合金开工!$AA$3</c:f>
              <c:strCache>
                <c:ptCount val="1"/>
                <c:pt idx="0">
                  <c:v>2023</c:v>
                </c:pt>
              </c:strCache>
            </c:strRef>
          </c:tx>
          <c:spPr>
            <a:ln w="19050" cap="rnd">
              <a:solidFill>
                <a:schemeClr val="accent4"/>
              </a:solidFill>
              <a:round/>
            </a:ln>
            <a:effectLst/>
          </c:spPr>
          <c:marker>
            <c:symbol val="none"/>
          </c:marker>
          <c:cat>
            <c:strRef>
              <c:f>铝合金开工!$U$34:$U$369</c:f>
              <c:strCache>
                <c:ptCount val="336"/>
                <c:pt idx="0">
                  <c:v>01-31</c:v>
                </c:pt>
                <c:pt idx="1">
                  <c:v>02-01</c:v>
                </c:pt>
                <c:pt idx="2">
                  <c:v>02-02</c:v>
                </c:pt>
                <c:pt idx="3">
                  <c:v>02-03</c:v>
                </c:pt>
                <c:pt idx="4">
                  <c:v>02-04</c:v>
                </c:pt>
                <c:pt idx="5">
                  <c:v>02-05</c:v>
                </c:pt>
                <c:pt idx="6">
                  <c:v>02-06</c:v>
                </c:pt>
                <c:pt idx="7">
                  <c:v>02-07</c:v>
                </c:pt>
                <c:pt idx="8">
                  <c:v>02-08</c:v>
                </c:pt>
                <c:pt idx="9">
                  <c:v>02-09</c:v>
                </c:pt>
                <c:pt idx="10">
                  <c:v>02-10</c:v>
                </c:pt>
                <c:pt idx="11">
                  <c:v>02-11</c:v>
                </c:pt>
                <c:pt idx="12">
                  <c:v>02-12</c:v>
                </c:pt>
                <c:pt idx="13">
                  <c:v>02-13</c:v>
                </c:pt>
                <c:pt idx="14">
                  <c:v>02-14</c:v>
                </c:pt>
                <c:pt idx="15">
                  <c:v>02-15</c:v>
                </c:pt>
                <c:pt idx="16">
                  <c:v>02-16</c:v>
                </c:pt>
                <c:pt idx="17">
                  <c:v>02-17</c:v>
                </c:pt>
                <c:pt idx="18">
                  <c:v>02-18</c:v>
                </c:pt>
                <c:pt idx="19">
                  <c:v>02-19</c:v>
                </c:pt>
                <c:pt idx="20">
                  <c:v>02-20</c:v>
                </c:pt>
                <c:pt idx="21">
                  <c:v>02-21</c:v>
                </c:pt>
                <c:pt idx="22">
                  <c:v>02-22</c:v>
                </c:pt>
                <c:pt idx="23">
                  <c:v>02-23</c:v>
                </c:pt>
                <c:pt idx="24">
                  <c:v>02-24</c:v>
                </c:pt>
                <c:pt idx="25">
                  <c:v>02-25</c:v>
                </c:pt>
                <c:pt idx="26">
                  <c:v>02-26</c:v>
                </c:pt>
                <c:pt idx="27">
                  <c:v>02-27</c:v>
                </c:pt>
                <c:pt idx="28">
                  <c:v>02-28</c:v>
                </c:pt>
                <c:pt idx="29">
                  <c:v>02-29</c:v>
                </c:pt>
                <c:pt idx="30">
                  <c:v>03-01</c:v>
                </c:pt>
                <c:pt idx="31">
                  <c:v>03-02</c:v>
                </c:pt>
                <c:pt idx="32">
                  <c:v>03-03</c:v>
                </c:pt>
                <c:pt idx="33">
                  <c:v>03-04</c:v>
                </c:pt>
                <c:pt idx="34">
                  <c:v>03-05</c:v>
                </c:pt>
                <c:pt idx="35">
                  <c:v>03-06</c:v>
                </c:pt>
                <c:pt idx="36">
                  <c:v>03-07</c:v>
                </c:pt>
                <c:pt idx="37">
                  <c:v>03-08</c:v>
                </c:pt>
                <c:pt idx="38">
                  <c:v>03-09</c:v>
                </c:pt>
                <c:pt idx="39">
                  <c:v>03-10</c:v>
                </c:pt>
                <c:pt idx="40">
                  <c:v>03-11</c:v>
                </c:pt>
                <c:pt idx="41">
                  <c:v>03-12</c:v>
                </c:pt>
                <c:pt idx="42">
                  <c:v>03-13</c:v>
                </c:pt>
                <c:pt idx="43">
                  <c:v>03-14</c:v>
                </c:pt>
                <c:pt idx="44">
                  <c:v>03-15</c:v>
                </c:pt>
                <c:pt idx="45">
                  <c:v>03-16</c:v>
                </c:pt>
                <c:pt idx="46">
                  <c:v>03-17</c:v>
                </c:pt>
                <c:pt idx="47">
                  <c:v>03-18</c:v>
                </c:pt>
                <c:pt idx="48">
                  <c:v>03-19</c:v>
                </c:pt>
                <c:pt idx="49">
                  <c:v>03-20</c:v>
                </c:pt>
                <c:pt idx="50">
                  <c:v>03-21</c:v>
                </c:pt>
                <c:pt idx="51">
                  <c:v>03-22</c:v>
                </c:pt>
                <c:pt idx="52">
                  <c:v>03-23</c:v>
                </c:pt>
                <c:pt idx="53">
                  <c:v>03-24</c:v>
                </c:pt>
                <c:pt idx="54">
                  <c:v>03-25</c:v>
                </c:pt>
                <c:pt idx="55">
                  <c:v>03-26</c:v>
                </c:pt>
                <c:pt idx="56">
                  <c:v>03-27</c:v>
                </c:pt>
                <c:pt idx="57">
                  <c:v>03-28</c:v>
                </c:pt>
                <c:pt idx="58">
                  <c:v>03-29</c:v>
                </c:pt>
                <c:pt idx="59">
                  <c:v>03-30</c:v>
                </c:pt>
                <c:pt idx="60">
                  <c:v>03-31</c:v>
                </c:pt>
                <c:pt idx="61">
                  <c:v>04-01</c:v>
                </c:pt>
                <c:pt idx="62">
                  <c:v>04-02</c:v>
                </c:pt>
                <c:pt idx="63">
                  <c:v>04-03</c:v>
                </c:pt>
                <c:pt idx="64">
                  <c:v>04-04</c:v>
                </c:pt>
                <c:pt idx="65">
                  <c:v>04-05</c:v>
                </c:pt>
                <c:pt idx="66">
                  <c:v>04-06</c:v>
                </c:pt>
                <c:pt idx="67">
                  <c:v>04-07</c:v>
                </c:pt>
                <c:pt idx="68">
                  <c:v>04-08</c:v>
                </c:pt>
                <c:pt idx="69">
                  <c:v>04-09</c:v>
                </c:pt>
                <c:pt idx="70">
                  <c:v>04-10</c:v>
                </c:pt>
                <c:pt idx="71">
                  <c:v>04-11</c:v>
                </c:pt>
                <c:pt idx="72">
                  <c:v>04-12</c:v>
                </c:pt>
                <c:pt idx="73">
                  <c:v>04-13</c:v>
                </c:pt>
                <c:pt idx="74">
                  <c:v>04-14</c:v>
                </c:pt>
                <c:pt idx="75">
                  <c:v>04-15</c:v>
                </c:pt>
                <c:pt idx="76">
                  <c:v>04-16</c:v>
                </c:pt>
                <c:pt idx="77">
                  <c:v>04-17</c:v>
                </c:pt>
                <c:pt idx="78">
                  <c:v>04-18</c:v>
                </c:pt>
                <c:pt idx="79">
                  <c:v>04-19</c:v>
                </c:pt>
                <c:pt idx="80">
                  <c:v>04-20</c:v>
                </c:pt>
                <c:pt idx="81">
                  <c:v>04-21</c:v>
                </c:pt>
                <c:pt idx="82">
                  <c:v>04-22</c:v>
                </c:pt>
                <c:pt idx="83">
                  <c:v>04-23</c:v>
                </c:pt>
                <c:pt idx="84">
                  <c:v>04-24</c:v>
                </c:pt>
                <c:pt idx="85">
                  <c:v>04-25</c:v>
                </c:pt>
                <c:pt idx="86">
                  <c:v>04-26</c:v>
                </c:pt>
                <c:pt idx="87">
                  <c:v>04-27</c:v>
                </c:pt>
                <c:pt idx="88">
                  <c:v>04-28</c:v>
                </c:pt>
                <c:pt idx="89">
                  <c:v>04-29</c:v>
                </c:pt>
                <c:pt idx="90">
                  <c:v>04-30</c:v>
                </c:pt>
                <c:pt idx="91">
                  <c:v>05-01</c:v>
                </c:pt>
                <c:pt idx="92">
                  <c:v>05-02</c:v>
                </c:pt>
                <c:pt idx="93">
                  <c:v>05-03</c:v>
                </c:pt>
                <c:pt idx="94">
                  <c:v>05-04</c:v>
                </c:pt>
                <c:pt idx="95">
                  <c:v>05-05</c:v>
                </c:pt>
                <c:pt idx="96">
                  <c:v>05-06</c:v>
                </c:pt>
                <c:pt idx="97">
                  <c:v>05-07</c:v>
                </c:pt>
                <c:pt idx="98">
                  <c:v>05-08</c:v>
                </c:pt>
                <c:pt idx="99">
                  <c:v>05-09</c:v>
                </c:pt>
                <c:pt idx="100">
                  <c:v>05-10</c:v>
                </c:pt>
                <c:pt idx="101">
                  <c:v>05-11</c:v>
                </c:pt>
                <c:pt idx="102">
                  <c:v>05-12</c:v>
                </c:pt>
                <c:pt idx="103">
                  <c:v>05-13</c:v>
                </c:pt>
                <c:pt idx="104">
                  <c:v>05-14</c:v>
                </c:pt>
                <c:pt idx="105">
                  <c:v>05-15</c:v>
                </c:pt>
                <c:pt idx="106">
                  <c:v>05-16</c:v>
                </c:pt>
                <c:pt idx="107">
                  <c:v>05-17</c:v>
                </c:pt>
                <c:pt idx="108">
                  <c:v>05-18</c:v>
                </c:pt>
                <c:pt idx="109">
                  <c:v>05-19</c:v>
                </c:pt>
                <c:pt idx="110">
                  <c:v>05-20</c:v>
                </c:pt>
                <c:pt idx="111">
                  <c:v>05-21</c:v>
                </c:pt>
                <c:pt idx="112">
                  <c:v>05-22</c:v>
                </c:pt>
                <c:pt idx="113">
                  <c:v>05-23</c:v>
                </c:pt>
                <c:pt idx="114">
                  <c:v>05-24</c:v>
                </c:pt>
                <c:pt idx="115">
                  <c:v>05-25</c:v>
                </c:pt>
                <c:pt idx="116">
                  <c:v>05-26</c:v>
                </c:pt>
                <c:pt idx="117">
                  <c:v>05-27</c:v>
                </c:pt>
                <c:pt idx="118">
                  <c:v>05-28</c:v>
                </c:pt>
                <c:pt idx="119">
                  <c:v>05-29</c:v>
                </c:pt>
                <c:pt idx="120">
                  <c:v>05-30</c:v>
                </c:pt>
                <c:pt idx="121">
                  <c:v>05-31</c:v>
                </c:pt>
                <c:pt idx="122">
                  <c:v>06-01</c:v>
                </c:pt>
                <c:pt idx="123">
                  <c:v>06-02</c:v>
                </c:pt>
                <c:pt idx="124">
                  <c:v>06-03</c:v>
                </c:pt>
                <c:pt idx="125">
                  <c:v>06-04</c:v>
                </c:pt>
                <c:pt idx="126">
                  <c:v>06-05</c:v>
                </c:pt>
                <c:pt idx="127">
                  <c:v>06-06</c:v>
                </c:pt>
                <c:pt idx="128">
                  <c:v>06-07</c:v>
                </c:pt>
                <c:pt idx="129">
                  <c:v>06-08</c:v>
                </c:pt>
                <c:pt idx="130">
                  <c:v>06-09</c:v>
                </c:pt>
                <c:pt idx="131">
                  <c:v>06-10</c:v>
                </c:pt>
                <c:pt idx="132">
                  <c:v>06-11</c:v>
                </c:pt>
                <c:pt idx="133">
                  <c:v>06-12</c:v>
                </c:pt>
                <c:pt idx="134">
                  <c:v>06-13</c:v>
                </c:pt>
                <c:pt idx="135">
                  <c:v>06-14</c:v>
                </c:pt>
                <c:pt idx="136">
                  <c:v>06-15</c:v>
                </c:pt>
                <c:pt idx="137">
                  <c:v>06-16</c:v>
                </c:pt>
                <c:pt idx="138">
                  <c:v>06-17</c:v>
                </c:pt>
                <c:pt idx="139">
                  <c:v>06-18</c:v>
                </c:pt>
                <c:pt idx="140">
                  <c:v>06-19</c:v>
                </c:pt>
                <c:pt idx="141">
                  <c:v>06-20</c:v>
                </c:pt>
                <c:pt idx="142">
                  <c:v>06-21</c:v>
                </c:pt>
                <c:pt idx="143">
                  <c:v>06-22</c:v>
                </c:pt>
                <c:pt idx="144">
                  <c:v>06-23</c:v>
                </c:pt>
                <c:pt idx="145">
                  <c:v>06-24</c:v>
                </c:pt>
                <c:pt idx="146">
                  <c:v>06-25</c:v>
                </c:pt>
                <c:pt idx="147">
                  <c:v>06-26</c:v>
                </c:pt>
                <c:pt idx="148">
                  <c:v>06-27</c:v>
                </c:pt>
                <c:pt idx="149">
                  <c:v>06-28</c:v>
                </c:pt>
                <c:pt idx="150">
                  <c:v>06-29</c:v>
                </c:pt>
                <c:pt idx="151">
                  <c:v>06-30</c:v>
                </c:pt>
                <c:pt idx="152">
                  <c:v>07-01</c:v>
                </c:pt>
                <c:pt idx="153">
                  <c:v>07-02</c:v>
                </c:pt>
                <c:pt idx="154">
                  <c:v>07-03</c:v>
                </c:pt>
                <c:pt idx="155">
                  <c:v>07-04</c:v>
                </c:pt>
                <c:pt idx="156">
                  <c:v>07-05</c:v>
                </c:pt>
                <c:pt idx="157">
                  <c:v>07-06</c:v>
                </c:pt>
                <c:pt idx="158">
                  <c:v>07-07</c:v>
                </c:pt>
                <c:pt idx="159">
                  <c:v>07-08</c:v>
                </c:pt>
                <c:pt idx="160">
                  <c:v>07-09</c:v>
                </c:pt>
                <c:pt idx="161">
                  <c:v>07-10</c:v>
                </c:pt>
                <c:pt idx="162">
                  <c:v>07-11</c:v>
                </c:pt>
                <c:pt idx="163">
                  <c:v>07-12</c:v>
                </c:pt>
                <c:pt idx="164">
                  <c:v>07-13</c:v>
                </c:pt>
                <c:pt idx="165">
                  <c:v>07-14</c:v>
                </c:pt>
                <c:pt idx="166">
                  <c:v>07-15</c:v>
                </c:pt>
                <c:pt idx="167">
                  <c:v>07-16</c:v>
                </c:pt>
                <c:pt idx="168">
                  <c:v>07-17</c:v>
                </c:pt>
                <c:pt idx="169">
                  <c:v>07-18</c:v>
                </c:pt>
                <c:pt idx="170">
                  <c:v>07-19</c:v>
                </c:pt>
                <c:pt idx="171">
                  <c:v>07-20</c:v>
                </c:pt>
                <c:pt idx="172">
                  <c:v>07-21</c:v>
                </c:pt>
                <c:pt idx="173">
                  <c:v>07-22</c:v>
                </c:pt>
                <c:pt idx="174">
                  <c:v>07-23</c:v>
                </c:pt>
                <c:pt idx="175">
                  <c:v>07-24</c:v>
                </c:pt>
                <c:pt idx="176">
                  <c:v>07-25</c:v>
                </c:pt>
                <c:pt idx="177">
                  <c:v>07-26</c:v>
                </c:pt>
                <c:pt idx="178">
                  <c:v>07-27</c:v>
                </c:pt>
                <c:pt idx="179">
                  <c:v>07-28</c:v>
                </c:pt>
                <c:pt idx="180">
                  <c:v>07-29</c:v>
                </c:pt>
                <c:pt idx="181">
                  <c:v>07-30</c:v>
                </c:pt>
                <c:pt idx="182">
                  <c:v>07-31</c:v>
                </c:pt>
                <c:pt idx="183">
                  <c:v>08-01</c:v>
                </c:pt>
                <c:pt idx="184">
                  <c:v>08-02</c:v>
                </c:pt>
                <c:pt idx="185">
                  <c:v>08-03</c:v>
                </c:pt>
                <c:pt idx="186">
                  <c:v>08-04</c:v>
                </c:pt>
                <c:pt idx="187">
                  <c:v>08-05</c:v>
                </c:pt>
                <c:pt idx="188">
                  <c:v>08-06</c:v>
                </c:pt>
                <c:pt idx="189">
                  <c:v>08-07</c:v>
                </c:pt>
                <c:pt idx="190">
                  <c:v>08-08</c:v>
                </c:pt>
                <c:pt idx="191">
                  <c:v>08-09</c:v>
                </c:pt>
                <c:pt idx="192">
                  <c:v>08-10</c:v>
                </c:pt>
                <c:pt idx="193">
                  <c:v>08-11</c:v>
                </c:pt>
                <c:pt idx="194">
                  <c:v>08-12</c:v>
                </c:pt>
                <c:pt idx="195">
                  <c:v>08-13</c:v>
                </c:pt>
                <c:pt idx="196">
                  <c:v>08-14</c:v>
                </c:pt>
                <c:pt idx="197">
                  <c:v>08-15</c:v>
                </c:pt>
                <c:pt idx="198">
                  <c:v>08-16</c:v>
                </c:pt>
                <c:pt idx="199">
                  <c:v>08-17</c:v>
                </c:pt>
                <c:pt idx="200">
                  <c:v>08-18</c:v>
                </c:pt>
                <c:pt idx="201">
                  <c:v>08-19</c:v>
                </c:pt>
                <c:pt idx="202">
                  <c:v>08-20</c:v>
                </c:pt>
                <c:pt idx="203">
                  <c:v>08-21</c:v>
                </c:pt>
                <c:pt idx="204">
                  <c:v>08-22</c:v>
                </c:pt>
                <c:pt idx="205">
                  <c:v>08-23</c:v>
                </c:pt>
                <c:pt idx="206">
                  <c:v>08-24</c:v>
                </c:pt>
                <c:pt idx="207">
                  <c:v>08-25</c:v>
                </c:pt>
                <c:pt idx="208">
                  <c:v>08-26</c:v>
                </c:pt>
                <c:pt idx="209">
                  <c:v>08-27</c:v>
                </c:pt>
                <c:pt idx="210">
                  <c:v>08-28</c:v>
                </c:pt>
                <c:pt idx="211">
                  <c:v>08-29</c:v>
                </c:pt>
                <c:pt idx="212">
                  <c:v>08-30</c:v>
                </c:pt>
                <c:pt idx="213">
                  <c:v>08-31</c:v>
                </c:pt>
                <c:pt idx="214">
                  <c:v>09-01</c:v>
                </c:pt>
                <c:pt idx="215">
                  <c:v>09-02</c:v>
                </c:pt>
                <c:pt idx="216">
                  <c:v>09-03</c:v>
                </c:pt>
                <c:pt idx="217">
                  <c:v>09-04</c:v>
                </c:pt>
                <c:pt idx="218">
                  <c:v>09-05</c:v>
                </c:pt>
                <c:pt idx="219">
                  <c:v>09-06</c:v>
                </c:pt>
                <c:pt idx="220">
                  <c:v>09-07</c:v>
                </c:pt>
                <c:pt idx="221">
                  <c:v>09-08</c:v>
                </c:pt>
                <c:pt idx="222">
                  <c:v>09-09</c:v>
                </c:pt>
                <c:pt idx="223">
                  <c:v>09-10</c:v>
                </c:pt>
                <c:pt idx="224">
                  <c:v>09-11</c:v>
                </c:pt>
                <c:pt idx="225">
                  <c:v>09-12</c:v>
                </c:pt>
                <c:pt idx="226">
                  <c:v>09-13</c:v>
                </c:pt>
                <c:pt idx="227">
                  <c:v>09-14</c:v>
                </c:pt>
                <c:pt idx="228">
                  <c:v>09-15</c:v>
                </c:pt>
                <c:pt idx="229">
                  <c:v>09-16</c:v>
                </c:pt>
                <c:pt idx="230">
                  <c:v>09-17</c:v>
                </c:pt>
                <c:pt idx="231">
                  <c:v>09-18</c:v>
                </c:pt>
                <c:pt idx="232">
                  <c:v>09-19</c:v>
                </c:pt>
                <c:pt idx="233">
                  <c:v>09-20</c:v>
                </c:pt>
                <c:pt idx="234">
                  <c:v>09-21</c:v>
                </c:pt>
                <c:pt idx="235">
                  <c:v>09-22</c:v>
                </c:pt>
                <c:pt idx="236">
                  <c:v>09-23</c:v>
                </c:pt>
                <c:pt idx="237">
                  <c:v>09-24</c:v>
                </c:pt>
                <c:pt idx="238">
                  <c:v>09-25</c:v>
                </c:pt>
                <c:pt idx="239">
                  <c:v>09-26</c:v>
                </c:pt>
                <c:pt idx="240">
                  <c:v>09-27</c:v>
                </c:pt>
                <c:pt idx="241">
                  <c:v>09-28</c:v>
                </c:pt>
                <c:pt idx="242">
                  <c:v>09-29</c:v>
                </c:pt>
                <c:pt idx="243">
                  <c:v>09-30</c:v>
                </c:pt>
                <c:pt idx="244">
                  <c:v>10-01</c:v>
                </c:pt>
                <c:pt idx="245">
                  <c:v>10-02</c:v>
                </c:pt>
                <c:pt idx="246">
                  <c:v>10-03</c:v>
                </c:pt>
                <c:pt idx="247">
                  <c:v>10-04</c:v>
                </c:pt>
                <c:pt idx="248">
                  <c:v>10-05</c:v>
                </c:pt>
                <c:pt idx="249">
                  <c:v>10-06</c:v>
                </c:pt>
                <c:pt idx="250">
                  <c:v>10-07</c:v>
                </c:pt>
                <c:pt idx="251">
                  <c:v>10-08</c:v>
                </c:pt>
                <c:pt idx="252">
                  <c:v>10-09</c:v>
                </c:pt>
                <c:pt idx="253">
                  <c:v>10-10</c:v>
                </c:pt>
                <c:pt idx="254">
                  <c:v>10-11</c:v>
                </c:pt>
                <c:pt idx="255">
                  <c:v>10-12</c:v>
                </c:pt>
                <c:pt idx="256">
                  <c:v>10-13</c:v>
                </c:pt>
                <c:pt idx="257">
                  <c:v>10-14</c:v>
                </c:pt>
                <c:pt idx="258">
                  <c:v>10-15</c:v>
                </c:pt>
                <c:pt idx="259">
                  <c:v>10-16</c:v>
                </c:pt>
                <c:pt idx="260">
                  <c:v>10-17</c:v>
                </c:pt>
                <c:pt idx="261">
                  <c:v>10-18</c:v>
                </c:pt>
                <c:pt idx="262">
                  <c:v>10-19</c:v>
                </c:pt>
                <c:pt idx="263">
                  <c:v>10-20</c:v>
                </c:pt>
                <c:pt idx="264">
                  <c:v>10-21</c:v>
                </c:pt>
                <c:pt idx="265">
                  <c:v>10-22</c:v>
                </c:pt>
                <c:pt idx="266">
                  <c:v>10-23</c:v>
                </c:pt>
                <c:pt idx="267">
                  <c:v>10-24</c:v>
                </c:pt>
                <c:pt idx="268">
                  <c:v>10-25</c:v>
                </c:pt>
                <c:pt idx="269">
                  <c:v>10-26</c:v>
                </c:pt>
                <c:pt idx="270">
                  <c:v>10-27</c:v>
                </c:pt>
                <c:pt idx="271">
                  <c:v>10-28</c:v>
                </c:pt>
                <c:pt idx="272">
                  <c:v>10-29</c:v>
                </c:pt>
                <c:pt idx="273">
                  <c:v>10-30</c:v>
                </c:pt>
                <c:pt idx="274">
                  <c:v>10-31</c:v>
                </c:pt>
                <c:pt idx="275">
                  <c:v>11-01</c:v>
                </c:pt>
                <c:pt idx="276">
                  <c:v>11-02</c:v>
                </c:pt>
                <c:pt idx="277">
                  <c:v>11-03</c:v>
                </c:pt>
                <c:pt idx="278">
                  <c:v>11-04</c:v>
                </c:pt>
                <c:pt idx="279">
                  <c:v>11-05</c:v>
                </c:pt>
                <c:pt idx="280">
                  <c:v>11-06</c:v>
                </c:pt>
                <c:pt idx="281">
                  <c:v>11-07</c:v>
                </c:pt>
                <c:pt idx="282">
                  <c:v>11-08</c:v>
                </c:pt>
                <c:pt idx="283">
                  <c:v>11-09</c:v>
                </c:pt>
                <c:pt idx="284">
                  <c:v>11-10</c:v>
                </c:pt>
                <c:pt idx="285">
                  <c:v>11-11</c:v>
                </c:pt>
                <c:pt idx="286">
                  <c:v>11-12</c:v>
                </c:pt>
                <c:pt idx="287">
                  <c:v>11-13</c:v>
                </c:pt>
                <c:pt idx="288">
                  <c:v>11-14</c:v>
                </c:pt>
                <c:pt idx="289">
                  <c:v>11-15</c:v>
                </c:pt>
                <c:pt idx="290">
                  <c:v>11-16</c:v>
                </c:pt>
                <c:pt idx="291">
                  <c:v>11-17</c:v>
                </c:pt>
                <c:pt idx="292">
                  <c:v>11-18</c:v>
                </c:pt>
                <c:pt idx="293">
                  <c:v>11-19</c:v>
                </c:pt>
                <c:pt idx="294">
                  <c:v>11-20</c:v>
                </c:pt>
                <c:pt idx="295">
                  <c:v>11-21</c:v>
                </c:pt>
                <c:pt idx="296">
                  <c:v>11-22</c:v>
                </c:pt>
                <c:pt idx="297">
                  <c:v>11-23</c:v>
                </c:pt>
                <c:pt idx="298">
                  <c:v>11-24</c:v>
                </c:pt>
                <c:pt idx="299">
                  <c:v>11-25</c:v>
                </c:pt>
                <c:pt idx="300">
                  <c:v>11-26</c:v>
                </c:pt>
                <c:pt idx="301">
                  <c:v>11-27</c:v>
                </c:pt>
                <c:pt idx="302">
                  <c:v>11-28</c:v>
                </c:pt>
                <c:pt idx="303">
                  <c:v>11-29</c:v>
                </c:pt>
                <c:pt idx="304">
                  <c:v>11-30</c:v>
                </c:pt>
                <c:pt idx="305">
                  <c:v>12-01</c:v>
                </c:pt>
                <c:pt idx="306">
                  <c:v>12-02</c:v>
                </c:pt>
                <c:pt idx="307">
                  <c:v>12-03</c:v>
                </c:pt>
                <c:pt idx="308">
                  <c:v>12-04</c:v>
                </c:pt>
                <c:pt idx="309">
                  <c:v>12-05</c:v>
                </c:pt>
                <c:pt idx="310">
                  <c:v>12-06</c:v>
                </c:pt>
                <c:pt idx="311">
                  <c:v>12-07</c:v>
                </c:pt>
                <c:pt idx="312">
                  <c:v>12-08</c:v>
                </c:pt>
                <c:pt idx="313">
                  <c:v>12-09</c:v>
                </c:pt>
                <c:pt idx="314">
                  <c:v>12-10</c:v>
                </c:pt>
                <c:pt idx="315">
                  <c:v>12-11</c:v>
                </c:pt>
                <c:pt idx="316">
                  <c:v>12-12</c:v>
                </c:pt>
                <c:pt idx="317">
                  <c:v>12-13</c:v>
                </c:pt>
                <c:pt idx="318">
                  <c:v>12-14</c:v>
                </c:pt>
                <c:pt idx="319">
                  <c:v>12-15</c:v>
                </c:pt>
                <c:pt idx="320">
                  <c:v>12-16</c:v>
                </c:pt>
                <c:pt idx="321">
                  <c:v>12-17</c:v>
                </c:pt>
                <c:pt idx="322">
                  <c:v>12-18</c:v>
                </c:pt>
                <c:pt idx="323">
                  <c:v>12-19</c:v>
                </c:pt>
                <c:pt idx="324">
                  <c:v>12-20</c:v>
                </c:pt>
                <c:pt idx="325">
                  <c:v>12-21</c:v>
                </c:pt>
                <c:pt idx="326">
                  <c:v>12-22</c:v>
                </c:pt>
                <c:pt idx="327">
                  <c:v>12-23</c:v>
                </c:pt>
                <c:pt idx="328">
                  <c:v>12-24</c:v>
                </c:pt>
                <c:pt idx="329">
                  <c:v>12-25</c:v>
                </c:pt>
                <c:pt idx="330">
                  <c:v>12-26</c:v>
                </c:pt>
                <c:pt idx="331">
                  <c:v>12-27</c:v>
                </c:pt>
                <c:pt idx="332">
                  <c:v>12-28</c:v>
                </c:pt>
                <c:pt idx="333">
                  <c:v>12-29</c:v>
                </c:pt>
                <c:pt idx="334">
                  <c:v>12-30</c:v>
                </c:pt>
                <c:pt idx="335">
                  <c:v>12-31</c:v>
                </c:pt>
              </c:strCache>
            </c:strRef>
          </c:cat>
          <c:val>
            <c:numRef>
              <c:f>铝合金开工!$AA$34:$AA$369</c:f>
              <c:numCache>
                <c:formatCode>General</c:formatCode>
                <c:ptCount val="336"/>
                <c:pt idx="0">
                  <c:v>30.03</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47.2</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62</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61</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59</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57</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57.5</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57</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60</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60</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63</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62</c:v>
                </c:pt>
              </c:numCache>
            </c:numRef>
          </c:val>
          <c:smooth val="0"/>
          <c:extLst>
            <c:ext xmlns:c16="http://schemas.microsoft.com/office/drawing/2014/chart" uri="{C3380CC4-5D6E-409C-BE32-E72D297353CC}">
              <c16:uniqueId val="{00000003-EADD-4598-B814-0B69E3038AB7}"/>
            </c:ext>
          </c:extLst>
        </c:ser>
        <c:ser>
          <c:idx val="4"/>
          <c:order val="4"/>
          <c:tx>
            <c:strRef>
              <c:f>铝合金开工!$AB$3</c:f>
              <c:strCache>
                <c:ptCount val="1"/>
                <c:pt idx="0">
                  <c:v>2024</c:v>
                </c:pt>
              </c:strCache>
            </c:strRef>
          </c:tx>
          <c:spPr>
            <a:ln w="28575" cap="rnd">
              <a:solidFill>
                <a:schemeClr val="tx1"/>
              </a:solidFill>
              <a:round/>
            </a:ln>
            <a:effectLst/>
          </c:spPr>
          <c:marker>
            <c:symbol val="none"/>
          </c:marker>
          <c:cat>
            <c:strRef>
              <c:f>铝合金开工!$U$34:$U$369</c:f>
              <c:strCache>
                <c:ptCount val="336"/>
                <c:pt idx="0">
                  <c:v>01-31</c:v>
                </c:pt>
                <c:pt idx="1">
                  <c:v>02-01</c:v>
                </c:pt>
                <c:pt idx="2">
                  <c:v>02-02</c:v>
                </c:pt>
                <c:pt idx="3">
                  <c:v>02-03</c:v>
                </c:pt>
                <c:pt idx="4">
                  <c:v>02-04</c:v>
                </c:pt>
                <c:pt idx="5">
                  <c:v>02-05</c:v>
                </c:pt>
                <c:pt idx="6">
                  <c:v>02-06</c:v>
                </c:pt>
                <c:pt idx="7">
                  <c:v>02-07</c:v>
                </c:pt>
                <c:pt idx="8">
                  <c:v>02-08</c:v>
                </c:pt>
                <c:pt idx="9">
                  <c:v>02-09</c:v>
                </c:pt>
                <c:pt idx="10">
                  <c:v>02-10</c:v>
                </c:pt>
                <c:pt idx="11">
                  <c:v>02-11</c:v>
                </c:pt>
                <c:pt idx="12">
                  <c:v>02-12</c:v>
                </c:pt>
                <c:pt idx="13">
                  <c:v>02-13</c:v>
                </c:pt>
                <c:pt idx="14">
                  <c:v>02-14</c:v>
                </c:pt>
                <c:pt idx="15">
                  <c:v>02-15</c:v>
                </c:pt>
                <c:pt idx="16">
                  <c:v>02-16</c:v>
                </c:pt>
                <c:pt idx="17">
                  <c:v>02-17</c:v>
                </c:pt>
                <c:pt idx="18">
                  <c:v>02-18</c:v>
                </c:pt>
                <c:pt idx="19">
                  <c:v>02-19</c:v>
                </c:pt>
                <c:pt idx="20">
                  <c:v>02-20</c:v>
                </c:pt>
                <c:pt idx="21">
                  <c:v>02-21</c:v>
                </c:pt>
                <c:pt idx="22">
                  <c:v>02-22</c:v>
                </c:pt>
                <c:pt idx="23">
                  <c:v>02-23</c:v>
                </c:pt>
                <c:pt idx="24">
                  <c:v>02-24</c:v>
                </c:pt>
                <c:pt idx="25">
                  <c:v>02-25</c:v>
                </c:pt>
                <c:pt idx="26">
                  <c:v>02-26</c:v>
                </c:pt>
                <c:pt idx="27">
                  <c:v>02-27</c:v>
                </c:pt>
                <c:pt idx="28">
                  <c:v>02-28</c:v>
                </c:pt>
                <c:pt idx="29">
                  <c:v>02-29</c:v>
                </c:pt>
                <c:pt idx="30">
                  <c:v>03-01</c:v>
                </c:pt>
                <c:pt idx="31">
                  <c:v>03-02</c:v>
                </c:pt>
                <c:pt idx="32">
                  <c:v>03-03</c:v>
                </c:pt>
                <c:pt idx="33">
                  <c:v>03-04</c:v>
                </c:pt>
                <c:pt idx="34">
                  <c:v>03-05</c:v>
                </c:pt>
                <c:pt idx="35">
                  <c:v>03-06</c:v>
                </c:pt>
                <c:pt idx="36">
                  <c:v>03-07</c:v>
                </c:pt>
                <c:pt idx="37">
                  <c:v>03-08</c:v>
                </c:pt>
                <c:pt idx="38">
                  <c:v>03-09</c:v>
                </c:pt>
                <c:pt idx="39">
                  <c:v>03-10</c:v>
                </c:pt>
                <c:pt idx="40">
                  <c:v>03-11</c:v>
                </c:pt>
                <c:pt idx="41">
                  <c:v>03-12</c:v>
                </c:pt>
                <c:pt idx="42">
                  <c:v>03-13</c:v>
                </c:pt>
                <c:pt idx="43">
                  <c:v>03-14</c:v>
                </c:pt>
                <c:pt idx="44">
                  <c:v>03-15</c:v>
                </c:pt>
                <c:pt idx="45">
                  <c:v>03-16</c:v>
                </c:pt>
                <c:pt idx="46">
                  <c:v>03-17</c:v>
                </c:pt>
                <c:pt idx="47">
                  <c:v>03-18</c:v>
                </c:pt>
                <c:pt idx="48">
                  <c:v>03-19</c:v>
                </c:pt>
                <c:pt idx="49">
                  <c:v>03-20</c:v>
                </c:pt>
                <c:pt idx="50">
                  <c:v>03-21</c:v>
                </c:pt>
                <c:pt idx="51">
                  <c:v>03-22</c:v>
                </c:pt>
                <c:pt idx="52">
                  <c:v>03-23</c:v>
                </c:pt>
                <c:pt idx="53">
                  <c:v>03-24</c:v>
                </c:pt>
                <c:pt idx="54">
                  <c:v>03-25</c:v>
                </c:pt>
                <c:pt idx="55">
                  <c:v>03-26</c:v>
                </c:pt>
                <c:pt idx="56">
                  <c:v>03-27</c:v>
                </c:pt>
                <c:pt idx="57">
                  <c:v>03-28</c:v>
                </c:pt>
                <c:pt idx="58">
                  <c:v>03-29</c:v>
                </c:pt>
                <c:pt idx="59">
                  <c:v>03-30</c:v>
                </c:pt>
                <c:pt idx="60">
                  <c:v>03-31</c:v>
                </c:pt>
                <c:pt idx="61">
                  <c:v>04-01</c:v>
                </c:pt>
                <c:pt idx="62">
                  <c:v>04-02</c:v>
                </c:pt>
                <c:pt idx="63">
                  <c:v>04-03</c:v>
                </c:pt>
                <c:pt idx="64">
                  <c:v>04-04</c:v>
                </c:pt>
                <c:pt idx="65">
                  <c:v>04-05</c:v>
                </c:pt>
                <c:pt idx="66">
                  <c:v>04-06</c:v>
                </c:pt>
                <c:pt idx="67">
                  <c:v>04-07</c:v>
                </c:pt>
                <c:pt idx="68">
                  <c:v>04-08</c:v>
                </c:pt>
                <c:pt idx="69">
                  <c:v>04-09</c:v>
                </c:pt>
                <c:pt idx="70">
                  <c:v>04-10</c:v>
                </c:pt>
                <c:pt idx="71">
                  <c:v>04-11</c:v>
                </c:pt>
                <c:pt idx="72">
                  <c:v>04-12</c:v>
                </c:pt>
                <c:pt idx="73">
                  <c:v>04-13</c:v>
                </c:pt>
                <c:pt idx="74">
                  <c:v>04-14</c:v>
                </c:pt>
                <c:pt idx="75">
                  <c:v>04-15</c:v>
                </c:pt>
                <c:pt idx="76">
                  <c:v>04-16</c:v>
                </c:pt>
                <c:pt idx="77">
                  <c:v>04-17</c:v>
                </c:pt>
                <c:pt idx="78">
                  <c:v>04-18</c:v>
                </c:pt>
                <c:pt idx="79">
                  <c:v>04-19</c:v>
                </c:pt>
                <c:pt idx="80">
                  <c:v>04-20</c:v>
                </c:pt>
                <c:pt idx="81">
                  <c:v>04-21</c:v>
                </c:pt>
                <c:pt idx="82">
                  <c:v>04-22</c:v>
                </c:pt>
                <c:pt idx="83">
                  <c:v>04-23</c:v>
                </c:pt>
                <c:pt idx="84">
                  <c:v>04-24</c:v>
                </c:pt>
                <c:pt idx="85">
                  <c:v>04-25</c:v>
                </c:pt>
                <c:pt idx="86">
                  <c:v>04-26</c:v>
                </c:pt>
                <c:pt idx="87">
                  <c:v>04-27</c:v>
                </c:pt>
                <c:pt idx="88">
                  <c:v>04-28</c:v>
                </c:pt>
                <c:pt idx="89">
                  <c:v>04-29</c:v>
                </c:pt>
                <c:pt idx="90">
                  <c:v>04-30</c:v>
                </c:pt>
                <c:pt idx="91">
                  <c:v>05-01</c:v>
                </c:pt>
                <c:pt idx="92">
                  <c:v>05-02</c:v>
                </c:pt>
                <c:pt idx="93">
                  <c:v>05-03</c:v>
                </c:pt>
                <c:pt idx="94">
                  <c:v>05-04</c:v>
                </c:pt>
                <c:pt idx="95">
                  <c:v>05-05</c:v>
                </c:pt>
                <c:pt idx="96">
                  <c:v>05-06</c:v>
                </c:pt>
                <c:pt idx="97">
                  <c:v>05-07</c:v>
                </c:pt>
                <c:pt idx="98">
                  <c:v>05-08</c:v>
                </c:pt>
                <c:pt idx="99">
                  <c:v>05-09</c:v>
                </c:pt>
                <c:pt idx="100">
                  <c:v>05-10</c:v>
                </c:pt>
                <c:pt idx="101">
                  <c:v>05-11</c:v>
                </c:pt>
                <c:pt idx="102">
                  <c:v>05-12</c:v>
                </c:pt>
                <c:pt idx="103">
                  <c:v>05-13</c:v>
                </c:pt>
                <c:pt idx="104">
                  <c:v>05-14</c:v>
                </c:pt>
                <c:pt idx="105">
                  <c:v>05-15</c:v>
                </c:pt>
                <c:pt idx="106">
                  <c:v>05-16</c:v>
                </c:pt>
                <c:pt idx="107">
                  <c:v>05-17</c:v>
                </c:pt>
                <c:pt idx="108">
                  <c:v>05-18</c:v>
                </c:pt>
                <c:pt idx="109">
                  <c:v>05-19</c:v>
                </c:pt>
                <c:pt idx="110">
                  <c:v>05-20</c:v>
                </c:pt>
                <c:pt idx="111">
                  <c:v>05-21</c:v>
                </c:pt>
                <c:pt idx="112">
                  <c:v>05-22</c:v>
                </c:pt>
                <c:pt idx="113">
                  <c:v>05-23</c:v>
                </c:pt>
                <c:pt idx="114">
                  <c:v>05-24</c:v>
                </c:pt>
                <c:pt idx="115">
                  <c:v>05-25</c:v>
                </c:pt>
                <c:pt idx="116">
                  <c:v>05-26</c:v>
                </c:pt>
                <c:pt idx="117">
                  <c:v>05-27</c:v>
                </c:pt>
                <c:pt idx="118">
                  <c:v>05-28</c:v>
                </c:pt>
                <c:pt idx="119">
                  <c:v>05-29</c:v>
                </c:pt>
                <c:pt idx="120">
                  <c:v>05-30</c:v>
                </c:pt>
                <c:pt idx="121">
                  <c:v>05-31</c:v>
                </c:pt>
                <c:pt idx="122">
                  <c:v>06-01</c:v>
                </c:pt>
                <c:pt idx="123">
                  <c:v>06-02</c:v>
                </c:pt>
                <c:pt idx="124">
                  <c:v>06-03</c:v>
                </c:pt>
                <c:pt idx="125">
                  <c:v>06-04</c:v>
                </c:pt>
                <c:pt idx="126">
                  <c:v>06-05</c:v>
                </c:pt>
                <c:pt idx="127">
                  <c:v>06-06</c:v>
                </c:pt>
                <c:pt idx="128">
                  <c:v>06-07</c:v>
                </c:pt>
                <c:pt idx="129">
                  <c:v>06-08</c:v>
                </c:pt>
                <c:pt idx="130">
                  <c:v>06-09</c:v>
                </c:pt>
                <c:pt idx="131">
                  <c:v>06-10</c:v>
                </c:pt>
                <c:pt idx="132">
                  <c:v>06-11</c:v>
                </c:pt>
                <c:pt idx="133">
                  <c:v>06-12</c:v>
                </c:pt>
                <c:pt idx="134">
                  <c:v>06-13</c:v>
                </c:pt>
                <c:pt idx="135">
                  <c:v>06-14</c:v>
                </c:pt>
                <c:pt idx="136">
                  <c:v>06-15</c:v>
                </c:pt>
                <c:pt idx="137">
                  <c:v>06-16</c:v>
                </c:pt>
                <c:pt idx="138">
                  <c:v>06-17</c:v>
                </c:pt>
                <c:pt idx="139">
                  <c:v>06-18</c:v>
                </c:pt>
                <c:pt idx="140">
                  <c:v>06-19</c:v>
                </c:pt>
                <c:pt idx="141">
                  <c:v>06-20</c:v>
                </c:pt>
                <c:pt idx="142">
                  <c:v>06-21</c:v>
                </c:pt>
                <c:pt idx="143">
                  <c:v>06-22</c:v>
                </c:pt>
                <c:pt idx="144">
                  <c:v>06-23</c:v>
                </c:pt>
                <c:pt idx="145">
                  <c:v>06-24</c:v>
                </c:pt>
                <c:pt idx="146">
                  <c:v>06-25</c:v>
                </c:pt>
                <c:pt idx="147">
                  <c:v>06-26</c:v>
                </c:pt>
                <c:pt idx="148">
                  <c:v>06-27</c:v>
                </c:pt>
                <c:pt idx="149">
                  <c:v>06-28</c:v>
                </c:pt>
                <c:pt idx="150">
                  <c:v>06-29</c:v>
                </c:pt>
                <c:pt idx="151">
                  <c:v>06-30</c:v>
                </c:pt>
                <c:pt idx="152">
                  <c:v>07-01</c:v>
                </c:pt>
                <c:pt idx="153">
                  <c:v>07-02</c:v>
                </c:pt>
                <c:pt idx="154">
                  <c:v>07-03</c:v>
                </c:pt>
                <c:pt idx="155">
                  <c:v>07-04</c:v>
                </c:pt>
                <c:pt idx="156">
                  <c:v>07-05</c:v>
                </c:pt>
                <c:pt idx="157">
                  <c:v>07-06</c:v>
                </c:pt>
                <c:pt idx="158">
                  <c:v>07-07</c:v>
                </c:pt>
                <c:pt idx="159">
                  <c:v>07-08</c:v>
                </c:pt>
                <c:pt idx="160">
                  <c:v>07-09</c:v>
                </c:pt>
                <c:pt idx="161">
                  <c:v>07-10</c:v>
                </c:pt>
                <c:pt idx="162">
                  <c:v>07-11</c:v>
                </c:pt>
                <c:pt idx="163">
                  <c:v>07-12</c:v>
                </c:pt>
                <c:pt idx="164">
                  <c:v>07-13</c:v>
                </c:pt>
                <c:pt idx="165">
                  <c:v>07-14</c:v>
                </c:pt>
                <c:pt idx="166">
                  <c:v>07-15</c:v>
                </c:pt>
                <c:pt idx="167">
                  <c:v>07-16</c:v>
                </c:pt>
                <c:pt idx="168">
                  <c:v>07-17</c:v>
                </c:pt>
                <c:pt idx="169">
                  <c:v>07-18</c:v>
                </c:pt>
                <c:pt idx="170">
                  <c:v>07-19</c:v>
                </c:pt>
                <c:pt idx="171">
                  <c:v>07-20</c:v>
                </c:pt>
                <c:pt idx="172">
                  <c:v>07-21</c:v>
                </c:pt>
                <c:pt idx="173">
                  <c:v>07-22</c:v>
                </c:pt>
                <c:pt idx="174">
                  <c:v>07-23</c:v>
                </c:pt>
                <c:pt idx="175">
                  <c:v>07-24</c:v>
                </c:pt>
                <c:pt idx="176">
                  <c:v>07-25</c:v>
                </c:pt>
                <c:pt idx="177">
                  <c:v>07-26</c:v>
                </c:pt>
                <c:pt idx="178">
                  <c:v>07-27</c:v>
                </c:pt>
                <c:pt idx="179">
                  <c:v>07-28</c:v>
                </c:pt>
                <c:pt idx="180">
                  <c:v>07-29</c:v>
                </c:pt>
                <c:pt idx="181">
                  <c:v>07-30</c:v>
                </c:pt>
                <c:pt idx="182">
                  <c:v>07-31</c:v>
                </c:pt>
                <c:pt idx="183">
                  <c:v>08-01</c:v>
                </c:pt>
                <c:pt idx="184">
                  <c:v>08-02</c:v>
                </c:pt>
                <c:pt idx="185">
                  <c:v>08-03</c:v>
                </c:pt>
                <c:pt idx="186">
                  <c:v>08-04</c:v>
                </c:pt>
                <c:pt idx="187">
                  <c:v>08-05</c:v>
                </c:pt>
                <c:pt idx="188">
                  <c:v>08-06</c:v>
                </c:pt>
                <c:pt idx="189">
                  <c:v>08-07</c:v>
                </c:pt>
                <c:pt idx="190">
                  <c:v>08-08</c:v>
                </c:pt>
                <c:pt idx="191">
                  <c:v>08-09</c:v>
                </c:pt>
                <c:pt idx="192">
                  <c:v>08-10</c:v>
                </c:pt>
                <c:pt idx="193">
                  <c:v>08-11</c:v>
                </c:pt>
                <c:pt idx="194">
                  <c:v>08-12</c:v>
                </c:pt>
                <c:pt idx="195">
                  <c:v>08-13</c:v>
                </c:pt>
                <c:pt idx="196">
                  <c:v>08-14</c:v>
                </c:pt>
                <c:pt idx="197">
                  <c:v>08-15</c:v>
                </c:pt>
                <c:pt idx="198">
                  <c:v>08-16</c:v>
                </c:pt>
                <c:pt idx="199">
                  <c:v>08-17</c:v>
                </c:pt>
                <c:pt idx="200">
                  <c:v>08-18</c:v>
                </c:pt>
                <c:pt idx="201">
                  <c:v>08-19</c:v>
                </c:pt>
                <c:pt idx="202">
                  <c:v>08-20</c:v>
                </c:pt>
                <c:pt idx="203">
                  <c:v>08-21</c:v>
                </c:pt>
                <c:pt idx="204">
                  <c:v>08-22</c:v>
                </c:pt>
                <c:pt idx="205">
                  <c:v>08-23</c:v>
                </c:pt>
                <c:pt idx="206">
                  <c:v>08-24</c:v>
                </c:pt>
                <c:pt idx="207">
                  <c:v>08-25</c:v>
                </c:pt>
                <c:pt idx="208">
                  <c:v>08-26</c:v>
                </c:pt>
                <c:pt idx="209">
                  <c:v>08-27</c:v>
                </c:pt>
                <c:pt idx="210">
                  <c:v>08-28</c:v>
                </c:pt>
                <c:pt idx="211">
                  <c:v>08-29</c:v>
                </c:pt>
                <c:pt idx="212">
                  <c:v>08-30</c:v>
                </c:pt>
                <c:pt idx="213">
                  <c:v>08-31</c:v>
                </c:pt>
                <c:pt idx="214">
                  <c:v>09-01</c:v>
                </c:pt>
                <c:pt idx="215">
                  <c:v>09-02</c:v>
                </c:pt>
                <c:pt idx="216">
                  <c:v>09-03</c:v>
                </c:pt>
                <c:pt idx="217">
                  <c:v>09-04</c:v>
                </c:pt>
                <c:pt idx="218">
                  <c:v>09-05</c:v>
                </c:pt>
                <c:pt idx="219">
                  <c:v>09-06</c:v>
                </c:pt>
                <c:pt idx="220">
                  <c:v>09-07</c:v>
                </c:pt>
                <c:pt idx="221">
                  <c:v>09-08</c:v>
                </c:pt>
                <c:pt idx="222">
                  <c:v>09-09</c:v>
                </c:pt>
                <c:pt idx="223">
                  <c:v>09-10</c:v>
                </c:pt>
                <c:pt idx="224">
                  <c:v>09-11</c:v>
                </c:pt>
                <c:pt idx="225">
                  <c:v>09-12</c:v>
                </c:pt>
                <c:pt idx="226">
                  <c:v>09-13</c:v>
                </c:pt>
                <c:pt idx="227">
                  <c:v>09-14</c:v>
                </c:pt>
                <c:pt idx="228">
                  <c:v>09-15</c:v>
                </c:pt>
                <c:pt idx="229">
                  <c:v>09-16</c:v>
                </c:pt>
                <c:pt idx="230">
                  <c:v>09-17</c:v>
                </c:pt>
                <c:pt idx="231">
                  <c:v>09-18</c:v>
                </c:pt>
                <c:pt idx="232">
                  <c:v>09-19</c:v>
                </c:pt>
                <c:pt idx="233">
                  <c:v>09-20</c:v>
                </c:pt>
                <c:pt idx="234">
                  <c:v>09-21</c:v>
                </c:pt>
                <c:pt idx="235">
                  <c:v>09-22</c:v>
                </c:pt>
                <c:pt idx="236">
                  <c:v>09-23</c:v>
                </c:pt>
                <c:pt idx="237">
                  <c:v>09-24</c:v>
                </c:pt>
                <c:pt idx="238">
                  <c:v>09-25</c:v>
                </c:pt>
                <c:pt idx="239">
                  <c:v>09-26</c:v>
                </c:pt>
                <c:pt idx="240">
                  <c:v>09-27</c:v>
                </c:pt>
                <c:pt idx="241">
                  <c:v>09-28</c:v>
                </c:pt>
                <c:pt idx="242">
                  <c:v>09-29</c:v>
                </c:pt>
                <c:pt idx="243">
                  <c:v>09-30</c:v>
                </c:pt>
                <c:pt idx="244">
                  <c:v>10-01</c:v>
                </c:pt>
                <c:pt idx="245">
                  <c:v>10-02</c:v>
                </c:pt>
                <c:pt idx="246">
                  <c:v>10-03</c:v>
                </c:pt>
                <c:pt idx="247">
                  <c:v>10-04</c:v>
                </c:pt>
                <c:pt idx="248">
                  <c:v>10-05</c:v>
                </c:pt>
                <c:pt idx="249">
                  <c:v>10-06</c:v>
                </c:pt>
                <c:pt idx="250">
                  <c:v>10-07</c:v>
                </c:pt>
                <c:pt idx="251">
                  <c:v>10-08</c:v>
                </c:pt>
                <c:pt idx="252">
                  <c:v>10-09</c:v>
                </c:pt>
                <c:pt idx="253">
                  <c:v>10-10</c:v>
                </c:pt>
                <c:pt idx="254">
                  <c:v>10-11</c:v>
                </c:pt>
                <c:pt idx="255">
                  <c:v>10-12</c:v>
                </c:pt>
                <c:pt idx="256">
                  <c:v>10-13</c:v>
                </c:pt>
                <c:pt idx="257">
                  <c:v>10-14</c:v>
                </c:pt>
                <c:pt idx="258">
                  <c:v>10-15</c:v>
                </c:pt>
                <c:pt idx="259">
                  <c:v>10-16</c:v>
                </c:pt>
                <c:pt idx="260">
                  <c:v>10-17</c:v>
                </c:pt>
                <c:pt idx="261">
                  <c:v>10-18</c:v>
                </c:pt>
                <c:pt idx="262">
                  <c:v>10-19</c:v>
                </c:pt>
                <c:pt idx="263">
                  <c:v>10-20</c:v>
                </c:pt>
                <c:pt idx="264">
                  <c:v>10-21</c:v>
                </c:pt>
                <c:pt idx="265">
                  <c:v>10-22</c:v>
                </c:pt>
                <c:pt idx="266">
                  <c:v>10-23</c:v>
                </c:pt>
                <c:pt idx="267">
                  <c:v>10-24</c:v>
                </c:pt>
                <c:pt idx="268">
                  <c:v>10-25</c:v>
                </c:pt>
                <c:pt idx="269">
                  <c:v>10-26</c:v>
                </c:pt>
                <c:pt idx="270">
                  <c:v>10-27</c:v>
                </c:pt>
                <c:pt idx="271">
                  <c:v>10-28</c:v>
                </c:pt>
                <c:pt idx="272">
                  <c:v>10-29</c:v>
                </c:pt>
                <c:pt idx="273">
                  <c:v>10-30</c:v>
                </c:pt>
                <c:pt idx="274">
                  <c:v>10-31</c:v>
                </c:pt>
                <c:pt idx="275">
                  <c:v>11-01</c:v>
                </c:pt>
                <c:pt idx="276">
                  <c:v>11-02</c:v>
                </c:pt>
                <c:pt idx="277">
                  <c:v>11-03</c:v>
                </c:pt>
                <c:pt idx="278">
                  <c:v>11-04</c:v>
                </c:pt>
                <c:pt idx="279">
                  <c:v>11-05</c:v>
                </c:pt>
                <c:pt idx="280">
                  <c:v>11-06</c:v>
                </c:pt>
                <c:pt idx="281">
                  <c:v>11-07</c:v>
                </c:pt>
                <c:pt idx="282">
                  <c:v>11-08</c:v>
                </c:pt>
                <c:pt idx="283">
                  <c:v>11-09</c:v>
                </c:pt>
                <c:pt idx="284">
                  <c:v>11-10</c:v>
                </c:pt>
                <c:pt idx="285">
                  <c:v>11-11</c:v>
                </c:pt>
                <c:pt idx="286">
                  <c:v>11-12</c:v>
                </c:pt>
                <c:pt idx="287">
                  <c:v>11-13</c:v>
                </c:pt>
                <c:pt idx="288">
                  <c:v>11-14</c:v>
                </c:pt>
                <c:pt idx="289">
                  <c:v>11-15</c:v>
                </c:pt>
                <c:pt idx="290">
                  <c:v>11-16</c:v>
                </c:pt>
                <c:pt idx="291">
                  <c:v>11-17</c:v>
                </c:pt>
                <c:pt idx="292">
                  <c:v>11-18</c:v>
                </c:pt>
                <c:pt idx="293">
                  <c:v>11-19</c:v>
                </c:pt>
                <c:pt idx="294">
                  <c:v>11-20</c:v>
                </c:pt>
                <c:pt idx="295">
                  <c:v>11-21</c:v>
                </c:pt>
                <c:pt idx="296">
                  <c:v>11-22</c:v>
                </c:pt>
                <c:pt idx="297">
                  <c:v>11-23</c:v>
                </c:pt>
                <c:pt idx="298">
                  <c:v>11-24</c:v>
                </c:pt>
                <c:pt idx="299">
                  <c:v>11-25</c:v>
                </c:pt>
                <c:pt idx="300">
                  <c:v>11-26</c:v>
                </c:pt>
                <c:pt idx="301">
                  <c:v>11-27</c:v>
                </c:pt>
                <c:pt idx="302">
                  <c:v>11-28</c:v>
                </c:pt>
                <c:pt idx="303">
                  <c:v>11-29</c:v>
                </c:pt>
                <c:pt idx="304">
                  <c:v>11-30</c:v>
                </c:pt>
                <c:pt idx="305">
                  <c:v>12-01</c:v>
                </c:pt>
                <c:pt idx="306">
                  <c:v>12-02</c:v>
                </c:pt>
                <c:pt idx="307">
                  <c:v>12-03</c:v>
                </c:pt>
                <c:pt idx="308">
                  <c:v>12-04</c:v>
                </c:pt>
                <c:pt idx="309">
                  <c:v>12-05</c:v>
                </c:pt>
                <c:pt idx="310">
                  <c:v>12-06</c:v>
                </c:pt>
                <c:pt idx="311">
                  <c:v>12-07</c:v>
                </c:pt>
                <c:pt idx="312">
                  <c:v>12-08</c:v>
                </c:pt>
                <c:pt idx="313">
                  <c:v>12-09</c:v>
                </c:pt>
                <c:pt idx="314">
                  <c:v>12-10</c:v>
                </c:pt>
                <c:pt idx="315">
                  <c:v>12-11</c:v>
                </c:pt>
                <c:pt idx="316">
                  <c:v>12-12</c:v>
                </c:pt>
                <c:pt idx="317">
                  <c:v>12-13</c:v>
                </c:pt>
                <c:pt idx="318">
                  <c:v>12-14</c:v>
                </c:pt>
                <c:pt idx="319">
                  <c:v>12-15</c:v>
                </c:pt>
                <c:pt idx="320">
                  <c:v>12-16</c:v>
                </c:pt>
                <c:pt idx="321">
                  <c:v>12-17</c:v>
                </c:pt>
                <c:pt idx="322">
                  <c:v>12-18</c:v>
                </c:pt>
                <c:pt idx="323">
                  <c:v>12-19</c:v>
                </c:pt>
                <c:pt idx="324">
                  <c:v>12-20</c:v>
                </c:pt>
                <c:pt idx="325">
                  <c:v>12-21</c:v>
                </c:pt>
                <c:pt idx="326">
                  <c:v>12-22</c:v>
                </c:pt>
                <c:pt idx="327">
                  <c:v>12-23</c:v>
                </c:pt>
                <c:pt idx="328">
                  <c:v>12-24</c:v>
                </c:pt>
                <c:pt idx="329">
                  <c:v>12-25</c:v>
                </c:pt>
                <c:pt idx="330">
                  <c:v>12-26</c:v>
                </c:pt>
                <c:pt idx="331">
                  <c:v>12-27</c:v>
                </c:pt>
                <c:pt idx="332">
                  <c:v>12-28</c:v>
                </c:pt>
                <c:pt idx="333">
                  <c:v>12-29</c:v>
                </c:pt>
                <c:pt idx="334">
                  <c:v>12-30</c:v>
                </c:pt>
                <c:pt idx="335">
                  <c:v>12-31</c:v>
                </c:pt>
              </c:strCache>
            </c:strRef>
          </c:cat>
          <c:val>
            <c:numRef>
              <c:f>铝合金开工!$AB$34:$AB$369</c:f>
              <c:numCache>
                <c:formatCode>General</c:formatCode>
                <c:ptCount val="336"/>
                <c:pt idx="0">
                  <c:v>49</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27.34</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49.45</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52.47</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48.17</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numCache>
            </c:numRef>
          </c:val>
          <c:smooth val="0"/>
          <c:extLst>
            <c:ext xmlns:c16="http://schemas.microsoft.com/office/drawing/2014/chart" uri="{C3380CC4-5D6E-409C-BE32-E72D297353CC}">
              <c16:uniqueId val="{00000004-EADD-4598-B814-0B69E3038AB7}"/>
            </c:ext>
          </c:extLst>
        </c:ser>
        <c:dLbls>
          <c:showLegendKey val="0"/>
          <c:showVal val="0"/>
          <c:showCatName val="0"/>
          <c:showSerName val="0"/>
          <c:showPercent val="0"/>
          <c:showBubbleSize val="0"/>
        </c:dLbls>
        <c:smooth val="0"/>
        <c:axId val="1751094815"/>
        <c:axId val="1059057487"/>
      </c:lineChart>
      <c:catAx>
        <c:axId val="1751094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1059057487"/>
        <c:crosses val="autoZero"/>
        <c:auto val="1"/>
        <c:lblAlgn val="ctr"/>
        <c:lblOffset val="100"/>
        <c:noMultiLvlLbl val="0"/>
      </c:catAx>
      <c:valAx>
        <c:axId val="1059057487"/>
        <c:scaling>
          <c:orientation val="minMax"/>
          <c:min val="1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175109481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ea"/>
          <a:ea typeface="+mn-ea"/>
        </a:defRPr>
      </a:pPr>
      <a:endParaRPr lang="zh-CN"/>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r>
              <a:rPr lang="zh-CN"/>
              <a:t>工业硅行业库存</a:t>
            </a:r>
          </a:p>
        </c:rich>
      </c:tx>
      <c:layout>
        <c:manualLayout>
          <c:xMode val="edge"/>
          <c:yMode val="edge"/>
          <c:x val="0.41388888888888892"/>
          <c:y val="2.314814814814814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endParaRPr lang="zh-CN"/>
        </a:p>
      </c:txPr>
    </c:title>
    <c:autoTitleDeleted val="0"/>
    <c:plotArea>
      <c:layout/>
      <c:areaChart>
        <c:grouping val="stacked"/>
        <c:varyColors val="0"/>
        <c:ser>
          <c:idx val="0"/>
          <c:order val="0"/>
          <c:tx>
            <c:strRef>
              <c:f>工业硅库存!$P$2</c:f>
              <c:strCache>
                <c:ptCount val="1"/>
                <c:pt idx="0">
                  <c:v>工厂库存</c:v>
                </c:pt>
              </c:strCache>
            </c:strRef>
          </c:tx>
          <c:spPr>
            <a:solidFill>
              <a:schemeClr val="bg1">
                <a:lumMod val="75000"/>
              </a:schemeClr>
            </a:solidFill>
            <a:ln>
              <a:noFill/>
            </a:ln>
            <a:effectLst/>
          </c:spPr>
          <c:cat>
            <c:numRef>
              <c:f>工业硅库存!$O$3:$O$140</c:f>
              <c:numCache>
                <c:formatCode>m/d/yyyy</c:formatCode>
                <c:ptCount val="138"/>
                <c:pt idx="0">
                  <c:v>45477</c:v>
                </c:pt>
                <c:pt idx="1">
                  <c:v>45476</c:v>
                </c:pt>
                <c:pt idx="2">
                  <c:v>45475</c:v>
                </c:pt>
                <c:pt idx="3">
                  <c:v>45474</c:v>
                </c:pt>
                <c:pt idx="4">
                  <c:v>45471</c:v>
                </c:pt>
                <c:pt idx="5">
                  <c:v>45470</c:v>
                </c:pt>
                <c:pt idx="6">
                  <c:v>45469</c:v>
                </c:pt>
                <c:pt idx="7">
                  <c:v>45468</c:v>
                </c:pt>
                <c:pt idx="8">
                  <c:v>45467</c:v>
                </c:pt>
                <c:pt idx="9">
                  <c:v>45464</c:v>
                </c:pt>
                <c:pt idx="10">
                  <c:v>45463</c:v>
                </c:pt>
                <c:pt idx="11">
                  <c:v>45462</c:v>
                </c:pt>
                <c:pt idx="12">
                  <c:v>45461</c:v>
                </c:pt>
                <c:pt idx="13">
                  <c:v>45460</c:v>
                </c:pt>
                <c:pt idx="14">
                  <c:v>45457</c:v>
                </c:pt>
                <c:pt idx="15">
                  <c:v>45456</c:v>
                </c:pt>
                <c:pt idx="16">
                  <c:v>45455</c:v>
                </c:pt>
                <c:pt idx="17">
                  <c:v>45454</c:v>
                </c:pt>
                <c:pt idx="18">
                  <c:v>45450</c:v>
                </c:pt>
                <c:pt idx="19">
                  <c:v>45449</c:v>
                </c:pt>
                <c:pt idx="20">
                  <c:v>45448</c:v>
                </c:pt>
                <c:pt idx="21">
                  <c:v>45447</c:v>
                </c:pt>
                <c:pt idx="22">
                  <c:v>45446</c:v>
                </c:pt>
                <c:pt idx="23">
                  <c:v>45443</c:v>
                </c:pt>
                <c:pt idx="24">
                  <c:v>45442</c:v>
                </c:pt>
                <c:pt idx="25">
                  <c:v>45441</c:v>
                </c:pt>
                <c:pt idx="26">
                  <c:v>45440</c:v>
                </c:pt>
                <c:pt idx="27">
                  <c:v>45439</c:v>
                </c:pt>
                <c:pt idx="28">
                  <c:v>45436</c:v>
                </c:pt>
                <c:pt idx="29">
                  <c:v>45435</c:v>
                </c:pt>
                <c:pt idx="30">
                  <c:v>45434</c:v>
                </c:pt>
                <c:pt idx="31">
                  <c:v>45433</c:v>
                </c:pt>
                <c:pt idx="32">
                  <c:v>45432</c:v>
                </c:pt>
                <c:pt idx="33">
                  <c:v>45429</c:v>
                </c:pt>
                <c:pt idx="34">
                  <c:v>45428</c:v>
                </c:pt>
                <c:pt idx="35">
                  <c:v>45427</c:v>
                </c:pt>
                <c:pt idx="36">
                  <c:v>45426</c:v>
                </c:pt>
                <c:pt idx="37">
                  <c:v>45425</c:v>
                </c:pt>
                <c:pt idx="38">
                  <c:v>45422</c:v>
                </c:pt>
                <c:pt idx="39">
                  <c:v>45421</c:v>
                </c:pt>
                <c:pt idx="40">
                  <c:v>45420</c:v>
                </c:pt>
                <c:pt idx="41">
                  <c:v>45419</c:v>
                </c:pt>
                <c:pt idx="42">
                  <c:v>45418</c:v>
                </c:pt>
                <c:pt idx="43">
                  <c:v>45412</c:v>
                </c:pt>
                <c:pt idx="44">
                  <c:v>45411</c:v>
                </c:pt>
                <c:pt idx="45">
                  <c:v>45408</c:v>
                </c:pt>
                <c:pt idx="46">
                  <c:v>45407</c:v>
                </c:pt>
                <c:pt idx="47">
                  <c:v>45406</c:v>
                </c:pt>
                <c:pt idx="48">
                  <c:v>45405</c:v>
                </c:pt>
                <c:pt idx="49">
                  <c:v>45404</c:v>
                </c:pt>
                <c:pt idx="50">
                  <c:v>45401</c:v>
                </c:pt>
                <c:pt idx="51">
                  <c:v>45400</c:v>
                </c:pt>
                <c:pt idx="52">
                  <c:v>45399</c:v>
                </c:pt>
                <c:pt idx="53">
                  <c:v>45398</c:v>
                </c:pt>
                <c:pt idx="54">
                  <c:v>45397</c:v>
                </c:pt>
                <c:pt idx="55">
                  <c:v>45394</c:v>
                </c:pt>
                <c:pt idx="56">
                  <c:v>45393</c:v>
                </c:pt>
                <c:pt idx="57">
                  <c:v>45392</c:v>
                </c:pt>
                <c:pt idx="58">
                  <c:v>45391</c:v>
                </c:pt>
                <c:pt idx="59">
                  <c:v>45390</c:v>
                </c:pt>
                <c:pt idx="60">
                  <c:v>45385</c:v>
                </c:pt>
                <c:pt idx="61">
                  <c:v>45384</c:v>
                </c:pt>
                <c:pt idx="62">
                  <c:v>45383</c:v>
                </c:pt>
                <c:pt idx="63">
                  <c:v>45380</c:v>
                </c:pt>
                <c:pt idx="64">
                  <c:v>45379</c:v>
                </c:pt>
                <c:pt idx="65">
                  <c:v>45378</c:v>
                </c:pt>
                <c:pt idx="66">
                  <c:v>45377</c:v>
                </c:pt>
                <c:pt idx="67">
                  <c:v>45376</c:v>
                </c:pt>
                <c:pt idx="68">
                  <c:v>45373</c:v>
                </c:pt>
                <c:pt idx="69">
                  <c:v>45372</c:v>
                </c:pt>
                <c:pt idx="70">
                  <c:v>45371</c:v>
                </c:pt>
                <c:pt idx="71">
                  <c:v>45370</c:v>
                </c:pt>
                <c:pt idx="72">
                  <c:v>45369</c:v>
                </c:pt>
                <c:pt idx="73">
                  <c:v>45366</c:v>
                </c:pt>
                <c:pt idx="74">
                  <c:v>45365</c:v>
                </c:pt>
                <c:pt idx="75">
                  <c:v>45364</c:v>
                </c:pt>
                <c:pt idx="76">
                  <c:v>45363</c:v>
                </c:pt>
                <c:pt idx="77">
                  <c:v>45362</c:v>
                </c:pt>
                <c:pt idx="78">
                  <c:v>45359</c:v>
                </c:pt>
                <c:pt idx="79">
                  <c:v>45358</c:v>
                </c:pt>
                <c:pt idx="80">
                  <c:v>45357</c:v>
                </c:pt>
                <c:pt idx="81">
                  <c:v>45356</c:v>
                </c:pt>
                <c:pt idx="82">
                  <c:v>45355</c:v>
                </c:pt>
                <c:pt idx="83">
                  <c:v>45352</c:v>
                </c:pt>
                <c:pt idx="84">
                  <c:v>45351</c:v>
                </c:pt>
                <c:pt idx="85">
                  <c:v>45350</c:v>
                </c:pt>
                <c:pt idx="86">
                  <c:v>45349</c:v>
                </c:pt>
                <c:pt idx="87">
                  <c:v>45348</c:v>
                </c:pt>
                <c:pt idx="88">
                  <c:v>45345</c:v>
                </c:pt>
                <c:pt idx="89">
                  <c:v>45344</c:v>
                </c:pt>
                <c:pt idx="90">
                  <c:v>45343</c:v>
                </c:pt>
                <c:pt idx="91">
                  <c:v>45342</c:v>
                </c:pt>
                <c:pt idx="92">
                  <c:v>45341</c:v>
                </c:pt>
                <c:pt idx="93">
                  <c:v>45330</c:v>
                </c:pt>
                <c:pt idx="94">
                  <c:v>45329</c:v>
                </c:pt>
                <c:pt idx="95">
                  <c:v>45328</c:v>
                </c:pt>
                <c:pt idx="96">
                  <c:v>45327</c:v>
                </c:pt>
                <c:pt idx="97">
                  <c:v>45324</c:v>
                </c:pt>
                <c:pt idx="98">
                  <c:v>45323</c:v>
                </c:pt>
                <c:pt idx="99">
                  <c:v>45322</c:v>
                </c:pt>
                <c:pt idx="100">
                  <c:v>45321</c:v>
                </c:pt>
                <c:pt idx="101">
                  <c:v>45320</c:v>
                </c:pt>
                <c:pt idx="102">
                  <c:v>45317</c:v>
                </c:pt>
                <c:pt idx="103">
                  <c:v>45316</c:v>
                </c:pt>
                <c:pt idx="104">
                  <c:v>45315</c:v>
                </c:pt>
                <c:pt idx="105">
                  <c:v>45314</c:v>
                </c:pt>
                <c:pt idx="106">
                  <c:v>45313</c:v>
                </c:pt>
                <c:pt idx="107">
                  <c:v>45310</c:v>
                </c:pt>
                <c:pt idx="108">
                  <c:v>45309</c:v>
                </c:pt>
                <c:pt idx="109">
                  <c:v>45308</c:v>
                </c:pt>
                <c:pt idx="110">
                  <c:v>45307</c:v>
                </c:pt>
                <c:pt idx="111">
                  <c:v>45306</c:v>
                </c:pt>
                <c:pt idx="112">
                  <c:v>45303</c:v>
                </c:pt>
                <c:pt idx="113">
                  <c:v>45302</c:v>
                </c:pt>
                <c:pt idx="114">
                  <c:v>45301</c:v>
                </c:pt>
                <c:pt idx="115">
                  <c:v>45300</c:v>
                </c:pt>
                <c:pt idx="116">
                  <c:v>45299</c:v>
                </c:pt>
                <c:pt idx="117">
                  <c:v>45296</c:v>
                </c:pt>
                <c:pt idx="118">
                  <c:v>45295</c:v>
                </c:pt>
                <c:pt idx="119">
                  <c:v>45294</c:v>
                </c:pt>
                <c:pt idx="120">
                  <c:v>45293</c:v>
                </c:pt>
                <c:pt idx="121">
                  <c:v>45289</c:v>
                </c:pt>
                <c:pt idx="122">
                  <c:v>45288</c:v>
                </c:pt>
                <c:pt idx="123">
                  <c:v>45287</c:v>
                </c:pt>
                <c:pt idx="124">
                  <c:v>45286</c:v>
                </c:pt>
                <c:pt idx="125">
                  <c:v>45285</c:v>
                </c:pt>
                <c:pt idx="126">
                  <c:v>45282</c:v>
                </c:pt>
                <c:pt idx="127">
                  <c:v>45281</c:v>
                </c:pt>
                <c:pt idx="128">
                  <c:v>45280</c:v>
                </c:pt>
                <c:pt idx="129">
                  <c:v>45279</c:v>
                </c:pt>
                <c:pt idx="130">
                  <c:v>45278</c:v>
                </c:pt>
                <c:pt idx="131">
                  <c:v>45275</c:v>
                </c:pt>
                <c:pt idx="132">
                  <c:v>45274</c:v>
                </c:pt>
                <c:pt idx="133">
                  <c:v>45273</c:v>
                </c:pt>
                <c:pt idx="134">
                  <c:v>45272</c:v>
                </c:pt>
                <c:pt idx="135">
                  <c:v>45271</c:v>
                </c:pt>
                <c:pt idx="136">
                  <c:v>45268</c:v>
                </c:pt>
                <c:pt idx="137">
                  <c:v>45267</c:v>
                </c:pt>
              </c:numCache>
            </c:numRef>
          </c:cat>
          <c:val>
            <c:numRef>
              <c:f>工业硅库存!$P$3:$P$140</c:f>
              <c:numCache>
                <c:formatCode>General</c:formatCode>
                <c:ptCount val="138"/>
                <c:pt idx="0">
                  <c:v>99490</c:v>
                </c:pt>
                <c:pt idx="1">
                  <c:v>99490</c:v>
                </c:pt>
                <c:pt idx="2">
                  <c:v>99490</c:v>
                </c:pt>
                <c:pt idx="3">
                  <c:v>99490</c:v>
                </c:pt>
                <c:pt idx="4">
                  <c:v>99490</c:v>
                </c:pt>
                <c:pt idx="5">
                  <c:v>94460</c:v>
                </c:pt>
                <c:pt idx="6">
                  <c:v>94460</c:v>
                </c:pt>
                <c:pt idx="7">
                  <c:v>94460</c:v>
                </c:pt>
                <c:pt idx="8">
                  <c:v>94460</c:v>
                </c:pt>
                <c:pt idx="9">
                  <c:v>94460</c:v>
                </c:pt>
                <c:pt idx="10">
                  <c:v>89290</c:v>
                </c:pt>
                <c:pt idx="11">
                  <c:v>89290</c:v>
                </c:pt>
                <c:pt idx="12">
                  <c:v>89290</c:v>
                </c:pt>
                <c:pt idx="13">
                  <c:v>89290</c:v>
                </c:pt>
                <c:pt idx="14">
                  <c:v>89290</c:v>
                </c:pt>
                <c:pt idx="15">
                  <c:v>87840</c:v>
                </c:pt>
                <c:pt idx="16">
                  <c:v>87840</c:v>
                </c:pt>
                <c:pt idx="17">
                  <c:v>87840</c:v>
                </c:pt>
                <c:pt idx="18">
                  <c:v>87840</c:v>
                </c:pt>
                <c:pt idx="19">
                  <c:v>88140</c:v>
                </c:pt>
                <c:pt idx="20">
                  <c:v>88140</c:v>
                </c:pt>
                <c:pt idx="21">
                  <c:v>88140</c:v>
                </c:pt>
                <c:pt idx="22">
                  <c:v>88140</c:v>
                </c:pt>
                <c:pt idx="23">
                  <c:v>88140</c:v>
                </c:pt>
                <c:pt idx="24">
                  <c:v>92640</c:v>
                </c:pt>
                <c:pt idx="25">
                  <c:v>92640</c:v>
                </c:pt>
                <c:pt idx="26">
                  <c:v>92640</c:v>
                </c:pt>
                <c:pt idx="27">
                  <c:v>92640</c:v>
                </c:pt>
                <c:pt idx="28">
                  <c:v>92640</c:v>
                </c:pt>
                <c:pt idx="29">
                  <c:v>90290</c:v>
                </c:pt>
                <c:pt idx="30">
                  <c:v>90290</c:v>
                </c:pt>
                <c:pt idx="31">
                  <c:v>90290</c:v>
                </c:pt>
                <c:pt idx="32">
                  <c:v>90290</c:v>
                </c:pt>
                <c:pt idx="33">
                  <c:v>90290</c:v>
                </c:pt>
                <c:pt idx="34">
                  <c:v>88270</c:v>
                </c:pt>
                <c:pt idx="35">
                  <c:v>88270</c:v>
                </c:pt>
                <c:pt idx="36">
                  <c:v>88270</c:v>
                </c:pt>
                <c:pt idx="37">
                  <c:v>88270</c:v>
                </c:pt>
                <c:pt idx="38">
                  <c:v>88270</c:v>
                </c:pt>
                <c:pt idx="39">
                  <c:v>87820</c:v>
                </c:pt>
                <c:pt idx="40">
                  <c:v>87820</c:v>
                </c:pt>
                <c:pt idx="41">
                  <c:v>87820</c:v>
                </c:pt>
                <c:pt idx="42">
                  <c:v>87820</c:v>
                </c:pt>
                <c:pt idx="43">
                  <c:v>87820</c:v>
                </c:pt>
                <c:pt idx="44">
                  <c:v>87820</c:v>
                </c:pt>
                <c:pt idx="45">
                  <c:v>87820</c:v>
                </c:pt>
                <c:pt idx="46">
                  <c:v>88320</c:v>
                </c:pt>
                <c:pt idx="47">
                  <c:v>88320</c:v>
                </c:pt>
                <c:pt idx="48">
                  <c:v>88320</c:v>
                </c:pt>
                <c:pt idx="49">
                  <c:v>88320</c:v>
                </c:pt>
                <c:pt idx="50">
                  <c:v>88320</c:v>
                </c:pt>
                <c:pt idx="51">
                  <c:v>90320</c:v>
                </c:pt>
                <c:pt idx="52">
                  <c:v>90320</c:v>
                </c:pt>
                <c:pt idx="53">
                  <c:v>90320</c:v>
                </c:pt>
                <c:pt idx="54">
                  <c:v>90320</c:v>
                </c:pt>
                <c:pt idx="55">
                  <c:v>90320</c:v>
                </c:pt>
                <c:pt idx="56">
                  <c:v>87420</c:v>
                </c:pt>
                <c:pt idx="57">
                  <c:v>87420</c:v>
                </c:pt>
                <c:pt idx="58">
                  <c:v>87420</c:v>
                </c:pt>
                <c:pt idx="59">
                  <c:v>87420</c:v>
                </c:pt>
                <c:pt idx="60">
                  <c:v>87420</c:v>
                </c:pt>
                <c:pt idx="61">
                  <c:v>87420</c:v>
                </c:pt>
                <c:pt idx="62">
                  <c:v>87420</c:v>
                </c:pt>
                <c:pt idx="63">
                  <c:v>87420</c:v>
                </c:pt>
                <c:pt idx="64">
                  <c:v>86770</c:v>
                </c:pt>
                <c:pt idx="65">
                  <c:v>86770</c:v>
                </c:pt>
                <c:pt idx="66">
                  <c:v>86770</c:v>
                </c:pt>
                <c:pt idx="67">
                  <c:v>86770</c:v>
                </c:pt>
                <c:pt idx="68">
                  <c:v>86770</c:v>
                </c:pt>
                <c:pt idx="69">
                  <c:v>81070</c:v>
                </c:pt>
                <c:pt idx="70">
                  <c:v>81070</c:v>
                </c:pt>
                <c:pt idx="71">
                  <c:v>81070</c:v>
                </c:pt>
                <c:pt idx="72">
                  <c:v>81070</c:v>
                </c:pt>
                <c:pt idx="73">
                  <c:v>81070</c:v>
                </c:pt>
                <c:pt idx="74">
                  <c:v>83370</c:v>
                </c:pt>
                <c:pt idx="75">
                  <c:v>83370</c:v>
                </c:pt>
                <c:pt idx="76">
                  <c:v>83370</c:v>
                </c:pt>
                <c:pt idx="77">
                  <c:v>83370</c:v>
                </c:pt>
                <c:pt idx="78">
                  <c:v>83370</c:v>
                </c:pt>
                <c:pt idx="79">
                  <c:v>86270</c:v>
                </c:pt>
                <c:pt idx="80">
                  <c:v>86270</c:v>
                </c:pt>
                <c:pt idx="81">
                  <c:v>86270</c:v>
                </c:pt>
                <c:pt idx="82">
                  <c:v>86270</c:v>
                </c:pt>
                <c:pt idx="83">
                  <c:v>86270</c:v>
                </c:pt>
                <c:pt idx="84">
                  <c:v>88950</c:v>
                </c:pt>
                <c:pt idx="85">
                  <c:v>88950</c:v>
                </c:pt>
                <c:pt idx="86">
                  <c:v>88950</c:v>
                </c:pt>
                <c:pt idx="87">
                  <c:v>88950</c:v>
                </c:pt>
                <c:pt idx="88">
                  <c:v>88950</c:v>
                </c:pt>
                <c:pt idx="89">
                  <c:v>64160</c:v>
                </c:pt>
                <c:pt idx="90">
                  <c:v>64160</c:v>
                </c:pt>
                <c:pt idx="91">
                  <c:v>64160</c:v>
                </c:pt>
                <c:pt idx="92">
                  <c:v>64160</c:v>
                </c:pt>
                <c:pt idx="93">
                  <c:v>64160</c:v>
                </c:pt>
                <c:pt idx="94">
                  <c:v>64160</c:v>
                </c:pt>
                <c:pt idx="95">
                  <c:v>64160</c:v>
                </c:pt>
                <c:pt idx="96">
                  <c:v>64160</c:v>
                </c:pt>
                <c:pt idx="97">
                  <c:v>64160</c:v>
                </c:pt>
                <c:pt idx="98">
                  <c:v>62660</c:v>
                </c:pt>
                <c:pt idx="99">
                  <c:v>62660</c:v>
                </c:pt>
                <c:pt idx="100">
                  <c:v>62660</c:v>
                </c:pt>
                <c:pt idx="101">
                  <c:v>62660</c:v>
                </c:pt>
                <c:pt idx="102">
                  <c:v>62660</c:v>
                </c:pt>
                <c:pt idx="103">
                  <c:v>59960</c:v>
                </c:pt>
                <c:pt idx="104">
                  <c:v>59960</c:v>
                </c:pt>
                <c:pt idx="105">
                  <c:v>59960</c:v>
                </c:pt>
                <c:pt idx="106">
                  <c:v>59960</c:v>
                </c:pt>
                <c:pt idx="107">
                  <c:v>59960</c:v>
                </c:pt>
                <c:pt idx="108">
                  <c:v>60060</c:v>
                </c:pt>
                <c:pt idx="109">
                  <c:v>60060</c:v>
                </c:pt>
                <c:pt idx="110">
                  <c:v>60060</c:v>
                </c:pt>
                <c:pt idx="111">
                  <c:v>60060</c:v>
                </c:pt>
                <c:pt idx="112">
                  <c:v>60060</c:v>
                </c:pt>
                <c:pt idx="113">
                  <c:v>58760</c:v>
                </c:pt>
                <c:pt idx="114">
                  <c:v>58760</c:v>
                </c:pt>
                <c:pt idx="115">
                  <c:v>58760</c:v>
                </c:pt>
                <c:pt idx="116">
                  <c:v>58760</c:v>
                </c:pt>
                <c:pt idx="117">
                  <c:v>58760</c:v>
                </c:pt>
                <c:pt idx="118">
                  <c:v>59860</c:v>
                </c:pt>
                <c:pt idx="119">
                  <c:v>59860</c:v>
                </c:pt>
                <c:pt idx="120">
                  <c:v>59860</c:v>
                </c:pt>
                <c:pt idx="121">
                  <c:v>59860</c:v>
                </c:pt>
                <c:pt idx="122">
                  <c:v>66360</c:v>
                </c:pt>
                <c:pt idx="123">
                  <c:v>66360</c:v>
                </c:pt>
                <c:pt idx="124">
                  <c:v>66360</c:v>
                </c:pt>
                <c:pt idx="125">
                  <c:v>66360</c:v>
                </c:pt>
                <c:pt idx="126">
                  <c:v>66360</c:v>
                </c:pt>
                <c:pt idx="127">
                  <c:v>67200</c:v>
                </c:pt>
                <c:pt idx="128">
                  <c:v>67200</c:v>
                </c:pt>
                <c:pt idx="129">
                  <c:v>67200</c:v>
                </c:pt>
                <c:pt idx="130">
                  <c:v>67200</c:v>
                </c:pt>
                <c:pt idx="131">
                  <c:v>67200</c:v>
                </c:pt>
                <c:pt idx="132">
                  <c:v>69400</c:v>
                </c:pt>
                <c:pt idx="133">
                  <c:v>69400</c:v>
                </c:pt>
                <c:pt idx="134">
                  <c:v>69400</c:v>
                </c:pt>
                <c:pt idx="135">
                  <c:v>69400</c:v>
                </c:pt>
                <c:pt idx="136">
                  <c:v>69400</c:v>
                </c:pt>
                <c:pt idx="137">
                  <c:v>69200</c:v>
                </c:pt>
              </c:numCache>
            </c:numRef>
          </c:val>
          <c:extLst>
            <c:ext xmlns:c16="http://schemas.microsoft.com/office/drawing/2014/chart" uri="{C3380CC4-5D6E-409C-BE32-E72D297353CC}">
              <c16:uniqueId val="{00000000-D070-4A1C-9F8E-A4C87DC3816A}"/>
            </c:ext>
          </c:extLst>
        </c:ser>
        <c:ser>
          <c:idx val="1"/>
          <c:order val="1"/>
          <c:tx>
            <c:strRef>
              <c:f>工业硅库存!$Q$2</c:f>
              <c:strCache>
                <c:ptCount val="1"/>
                <c:pt idx="0">
                  <c:v>市场库存</c:v>
                </c:pt>
              </c:strCache>
            </c:strRef>
          </c:tx>
          <c:spPr>
            <a:solidFill>
              <a:schemeClr val="accent5">
                <a:lumMod val="75000"/>
              </a:schemeClr>
            </a:solidFill>
            <a:ln>
              <a:noFill/>
            </a:ln>
            <a:effectLst/>
          </c:spPr>
          <c:cat>
            <c:numRef>
              <c:f>工业硅库存!$O$3:$O$140</c:f>
              <c:numCache>
                <c:formatCode>m/d/yyyy</c:formatCode>
                <c:ptCount val="138"/>
                <c:pt idx="0">
                  <c:v>45477</c:v>
                </c:pt>
                <c:pt idx="1">
                  <c:v>45476</c:v>
                </c:pt>
                <c:pt idx="2">
                  <c:v>45475</c:v>
                </c:pt>
                <c:pt idx="3">
                  <c:v>45474</c:v>
                </c:pt>
                <c:pt idx="4">
                  <c:v>45471</c:v>
                </c:pt>
                <c:pt idx="5">
                  <c:v>45470</c:v>
                </c:pt>
                <c:pt idx="6">
                  <c:v>45469</c:v>
                </c:pt>
                <c:pt idx="7">
                  <c:v>45468</c:v>
                </c:pt>
                <c:pt idx="8">
                  <c:v>45467</c:v>
                </c:pt>
                <c:pt idx="9">
                  <c:v>45464</c:v>
                </c:pt>
                <c:pt idx="10">
                  <c:v>45463</c:v>
                </c:pt>
                <c:pt idx="11">
                  <c:v>45462</c:v>
                </c:pt>
                <c:pt idx="12">
                  <c:v>45461</c:v>
                </c:pt>
                <c:pt idx="13">
                  <c:v>45460</c:v>
                </c:pt>
                <c:pt idx="14">
                  <c:v>45457</c:v>
                </c:pt>
                <c:pt idx="15">
                  <c:v>45456</c:v>
                </c:pt>
                <c:pt idx="16">
                  <c:v>45455</c:v>
                </c:pt>
                <c:pt idx="17">
                  <c:v>45454</c:v>
                </c:pt>
                <c:pt idx="18">
                  <c:v>45450</c:v>
                </c:pt>
                <c:pt idx="19">
                  <c:v>45449</c:v>
                </c:pt>
                <c:pt idx="20">
                  <c:v>45448</c:v>
                </c:pt>
                <c:pt idx="21">
                  <c:v>45447</c:v>
                </c:pt>
                <c:pt idx="22">
                  <c:v>45446</c:v>
                </c:pt>
                <c:pt idx="23">
                  <c:v>45443</c:v>
                </c:pt>
                <c:pt idx="24">
                  <c:v>45442</c:v>
                </c:pt>
                <c:pt idx="25">
                  <c:v>45441</c:v>
                </c:pt>
                <c:pt idx="26">
                  <c:v>45440</c:v>
                </c:pt>
                <c:pt idx="27">
                  <c:v>45439</c:v>
                </c:pt>
                <c:pt idx="28">
                  <c:v>45436</c:v>
                </c:pt>
                <c:pt idx="29">
                  <c:v>45435</c:v>
                </c:pt>
                <c:pt idx="30">
                  <c:v>45434</c:v>
                </c:pt>
                <c:pt idx="31">
                  <c:v>45433</c:v>
                </c:pt>
                <c:pt idx="32">
                  <c:v>45432</c:v>
                </c:pt>
                <c:pt idx="33">
                  <c:v>45429</c:v>
                </c:pt>
                <c:pt idx="34">
                  <c:v>45428</c:v>
                </c:pt>
                <c:pt idx="35">
                  <c:v>45427</c:v>
                </c:pt>
                <c:pt idx="36">
                  <c:v>45426</c:v>
                </c:pt>
                <c:pt idx="37">
                  <c:v>45425</c:v>
                </c:pt>
                <c:pt idx="38">
                  <c:v>45422</c:v>
                </c:pt>
                <c:pt idx="39">
                  <c:v>45421</c:v>
                </c:pt>
                <c:pt idx="40">
                  <c:v>45420</c:v>
                </c:pt>
                <c:pt idx="41">
                  <c:v>45419</c:v>
                </c:pt>
                <c:pt idx="42">
                  <c:v>45418</c:v>
                </c:pt>
                <c:pt idx="43">
                  <c:v>45412</c:v>
                </c:pt>
                <c:pt idx="44">
                  <c:v>45411</c:v>
                </c:pt>
                <c:pt idx="45">
                  <c:v>45408</c:v>
                </c:pt>
                <c:pt idx="46">
                  <c:v>45407</c:v>
                </c:pt>
                <c:pt idx="47">
                  <c:v>45406</c:v>
                </c:pt>
                <c:pt idx="48">
                  <c:v>45405</c:v>
                </c:pt>
                <c:pt idx="49">
                  <c:v>45404</c:v>
                </c:pt>
                <c:pt idx="50">
                  <c:v>45401</c:v>
                </c:pt>
                <c:pt idx="51">
                  <c:v>45400</c:v>
                </c:pt>
                <c:pt idx="52">
                  <c:v>45399</c:v>
                </c:pt>
                <c:pt idx="53">
                  <c:v>45398</c:v>
                </c:pt>
                <c:pt idx="54">
                  <c:v>45397</c:v>
                </c:pt>
                <c:pt idx="55">
                  <c:v>45394</c:v>
                </c:pt>
                <c:pt idx="56">
                  <c:v>45393</c:v>
                </c:pt>
                <c:pt idx="57">
                  <c:v>45392</c:v>
                </c:pt>
                <c:pt idx="58">
                  <c:v>45391</c:v>
                </c:pt>
                <c:pt idx="59">
                  <c:v>45390</c:v>
                </c:pt>
                <c:pt idx="60">
                  <c:v>45385</c:v>
                </c:pt>
                <c:pt idx="61">
                  <c:v>45384</c:v>
                </c:pt>
                <c:pt idx="62">
                  <c:v>45383</c:v>
                </c:pt>
                <c:pt idx="63">
                  <c:v>45380</c:v>
                </c:pt>
                <c:pt idx="64">
                  <c:v>45379</c:v>
                </c:pt>
                <c:pt idx="65">
                  <c:v>45378</c:v>
                </c:pt>
                <c:pt idx="66">
                  <c:v>45377</c:v>
                </c:pt>
                <c:pt idx="67">
                  <c:v>45376</c:v>
                </c:pt>
                <c:pt idx="68">
                  <c:v>45373</c:v>
                </c:pt>
                <c:pt idx="69">
                  <c:v>45372</c:v>
                </c:pt>
                <c:pt idx="70">
                  <c:v>45371</c:v>
                </c:pt>
                <c:pt idx="71">
                  <c:v>45370</c:v>
                </c:pt>
                <c:pt idx="72">
                  <c:v>45369</c:v>
                </c:pt>
                <c:pt idx="73">
                  <c:v>45366</c:v>
                </c:pt>
                <c:pt idx="74">
                  <c:v>45365</c:v>
                </c:pt>
                <c:pt idx="75">
                  <c:v>45364</c:v>
                </c:pt>
                <c:pt idx="76">
                  <c:v>45363</c:v>
                </c:pt>
                <c:pt idx="77">
                  <c:v>45362</c:v>
                </c:pt>
                <c:pt idx="78">
                  <c:v>45359</c:v>
                </c:pt>
                <c:pt idx="79">
                  <c:v>45358</c:v>
                </c:pt>
                <c:pt idx="80">
                  <c:v>45357</c:v>
                </c:pt>
                <c:pt idx="81">
                  <c:v>45356</c:v>
                </c:pt>
                <c:pt idx="82">
                  <c:v>45355</c:v>
                </c:pt>
                <c:pt idx="83">
                  <c:v>45352</c:v>
                </c:pt>
                <c:pt idx="84">
                  <c:v>45351</c:v>
                </c:pt>
                <c:pt idx="85">
                  <c:v>45350</c:v>
                </c:pt>
                <c:pt idx="86">
                  <c:v>45349</c:v>
                </c:pt>
                <c:pt idx="87">
                  <c:v>45348</c:v>
                </c:pt>
                <c:pt idx="88">
                  <c:v>45345</c:v>
                </c:pt>
                <c:pt idx="89">
                  <c:v>45344</c:v>
                </c:pt>
                <c:pt idx="90">
                  <c:v>45343</c:v>
                </c:pt>
                <c:pt idx="91">
                  <c:v>45342</c:v>
                </c:pt>
                <c:pt idx="92">
                  <c:v>45341</c:v>
                </c:pt>
                <c:pt idx="93">
                  <c:v>45330</c:v>
                </c:pt>
                <c:pt idx="94">
                  <c:v>45329</c:v>
                </c:pt>
                <c:pt idx="95">
                  <c:v>45328</c:v>
                </c:pt>
                <c:pt idx="96">
                  <c:v>45327</c:v>
                </c:pt>
                <c:pt idx="97">
                  <c:v>45324</c:v>
                </c:pt>
                <c:pt idx="98">
                  <c:v>45323</c:v>
                </c:pt>
                <c:pt idx="99">
                  <c:v>45322</c:v>
                </c:pt>
                <c:pt idx="100">
                  <c:v>45321</c:v>
                </c:pt>
                <c:pt idx="101">
                  <c:v>45320</c:v>
                </c:pt>
                <c:pt idx="102">
                  <c:v>45317</c:v>
                </c:pt>
                <c:pt idx="103">
                  <c:v>45316</c:v>
                </c:pt>
                <c:pt idx="104">
                  <c:v>45315</c:v>
                </c:pt>
                <c:pt idx="105">
                  <c:v>45314</c:v>
                </c:pt>
                <c:pt idx="106">
                  <c:v>45313</c:v>
                </c:pt>
                <c:pt idx="107">
                  <c:v>45310</c:v>
                </c:pt>
                <c:pt idx="108">
                  <c:v>45309</c:v>
                </c:pt>
                <c:pt idx="109">
                  <c:v>45308</c:v>
                </c:pt>
                <c:pt idx="110">
                  <c:v>45307</c:v>
                </c:pt>
                <c:pt idx="111">
                  <c:v>45306</c:v>
                </c:pt>
                <c:pt idx="112">
                  <c:v>45303</c:v>
                </c:pt>
                <c:pt idx="113">
                  <c:v>45302</c:v>
                </c:pt>
                <c:pt idx="114">
                  <c:v>45301</c:v>
                </c:pt>
                <c:pt idx="115">
                  <c:v>45300</c:v>
                </c:pt>
                <c:pt idx="116">
                  <c:v>45299</c:v>
                </c:pt>
                <c:pt idx="117">
                  <c:v>45296</c:v>
                </c:pt>
                <c:pt idx="118">
                  <c:v>45295</c:v>
                </c:pt>
                <c:pt idx="119">
                  <c:v>45294</c:v>
                </c:pt>
                <c:pt idx="120">
                  <c:v>45293</c:v>
                </c:pt>
                <c:pt idx="121">
                  <c:v>45289</c:v>
                </c:pt>
                <c:pt idx="122">
                  <c:v>45288</c:v>
                </c:pt>
                <c:pt idx="123">
                  <c:v>45287</c:v>
                </c:pt>
                <c:pt idx="124">
                  <c:v>45286</c:v>
                </c:pt>
                <c:pt idx="125">
                  <c:v>45285</c:v>
                </c:pt>
                <c:pt idx="126">
                  <c:v>45282</c:v>
                </c:pt>
                <c:pt idx="127">
                  <c:v>45281</c:v>
                </c:pt>
                <c:pt idx="128">
                  <c:v>45280</c:v>
                </c:pt>
                <c:pt idx="129">
                  <c:v>45279</c:v>
                </c:pt>
                <c:pt idx="130">
                  <c:v>45278</c:v>
                </c:pt>
                <c:pt idx="131">
                  <c:v>45275</c:v>
                </c:pt>
                <c:pt idx="132">
                  <c:v>45274</c:v>
                </c:pt>
                <c:pt idx="133">
                  <c:v>45273</c:v>
                </c:pt>
                <c:pt idx="134">
                  <c:v>45272</c:v>
                </c:pt>
                <c:pt idx="135">
                  <c:v>45271</c:v>
                </c:pt>
                <c:pt idx="136">
                  <c:v>45268</c:v>
                </c:pt>
                <c:pt idx="137">
                  <c:v>45267</c:v>
                </c:pt>
              </c:numCache>
            </c:numRef>
          </c:cat>
          <c:val>
            <c:numRef>
              <c:f>工业硅库存!$Q$3:$Q$140</c:f>
              <c:numCache>
                <c:formatCode>General</c:formatCode>
                <c:ptCount val="138"/>
                <c:pt idx="0">
                  <c:v>107000</c:v>
                </c:pt>
                <c:pt idx="1">
                  <c:v>107000</c:v>
                </c:pt>
                <c:pt idx="2">
                  <c:v>107000</c:v>
                </c:pt>
                <c:pt idx="3">
                  <c:v>107000</c:v>
                </c:pt>
                <c:pt idx="4">
                  <c:v>107000</c:v>
                </c:pt>
                <c:pt idx="5">
                  <c:v>104000</c:v>
                </c:pt>
                <c:pt idx="6">
                  <c:v>104000</c:v>
                </c:pt>
                <c:pt idx="7">
                  <c:v>104000</c:v>
                </c:pt>
                <c:pt idx="8">
                  <c:v>104000</c:v>
                </c:pt>
                <c:pt idx="9">
                  <c:v>104000</c:v>
                </c:pt>
                <c:pt idx="10">
                  <c:v>102000</c:v>
                </c:pt>
                <c:pt idx="11">
                  <c:v>102000</c:v>
                </c:pt>
                <c:pt idx="12">
                  <c:v>102000</c:v>
                </c:pt>
                <c:pt idx="13">
                  <c:v>102000</c:v>
                </c:pt>
                <c:pt idx="14">
                  <c:v>102000</c:v>
                </c:pt>
                <c:pt idx="15">
                  <c:v>101000</c:v>
                </c:pt>
                <c:pt idx="16">
                  <c:v>101000</c:v>
                </c:pt>
                <c:pt idx="17">
                  <c:v>101000</c:v>
                </c:pt>
                <c:pt idx="18">
                  <c:v>101000</c:v>
                </c:pt>
                <c:pt idx="19">
                  <c:v>101000</c:v>
                </c:pt>
                <c:pt idx="20">
                  <c:v>101000</c:v>
                </c:pt>
                <c:pt idx="21">
                  <c:v>101000</c:v>
                </c:pt>
                <c:pt idx="22">
                  <c:v>101000</c:v>
                </c:pt>
                <c:pt idx="23">
                  <c:v>101000</c:v>
                </c:pt>
                <c:pt idx="24">
                  <c:v>102000</c:v>
                </c:pt>
                <c:pt idx="25">
                  <c:v>102000</c:v>
                </c:pt>
                <c:pt idx="26">
                  <c:v>102000</c:v>
                </c:pt>
                <c:pt idx="27">
                  <c:v>102000</c:v>
                </c:pt>
                <c:pt idx="28">
                  <c:v>102000</c:v>
                </c:pt>
                <c:pt idx="29">
                  <c:v>102000</c:v>
                </c:pt>
                <c:pt idx="30">
                  <c:v>102000</c:v>
                </c:pt>
                <c:pt idx="31">
                  <c:v>102000</c:v>
                </c:pt>
                <c:pt idx="32">
                  <c:v>102000</c:v>
                </c:pt>
                <c:pt idx="33">
                  <c:v>102000</c:v>
                </c:pt>
                <c:pt idx="34">
                  <c:v>103000</c:v>
                </c:pt>
                <c:pt idx="35">
                  <c:v>103000</c:v>
                </c:pt>
                <c:pt idx="36">
                  <c:v>103000</c:v>
                </c:pt>
                <c:pt idx="37">
                  <c:v>103000</c:v>
                </c:pt>
                <c:pt idx="38">
                  <c:v>103000</c:v>
                </c:pt>
                <c:pt idx="39">
                  <c:v>102000</c:v>
                </c:pt>
                <c:pt idx="40">
                  <c:v>102000</c:v>
                </c:pt>
                <c:pt idx="41">
                  <c:v>102000</c:v>
                </c:pt>
                <c:pt idx="42">
                  <c:v>102000</c:v>
                </c:pt>
                <c:pt idx="43">
                  <c:v>102000</c:v>
                </c:pt>
                <c:pt idx="44">
                  <c:v>102000</c:v>
                </c:pt>
                <c:pt idx="45">
                  <c:v>102000</c:v>
                </c:pt>
                <c:pt idx="46">
                  <c:v>100000</c:v>
                </c:pt>
                <c:pt idx="47">
                  <c:v>100000</c:v>
                </c:pt>
                <c:pt idx="48">
                  <c:v>100000</c:v>
                </c:pt>
                <c:pt idx="49">
                  <c:v>100000</c:v>
                </c:pt>
                <c:pt idx="50">
                  <c:v>100000</c:v>
                </c:pt>
                <c:pt idx="51">
                  <c:v>99000</c:v>
                </c:pt>
                <c:pt idx="52">
                  <c:v>99000</c:v>
                </c:pt>
                <c:pt idx="53">
                  <c:v>99000</c:v>
                </c:pt>
                <c:pt idx="54">
                  <c:v>99000</c:v>
                </c:pt>
                <c:pt idx="55">
                  <c:v>99000</c:v>
                </c:pt>
                <c:pt idx="56">
                  <c:v>98000</c:v>
                </c:pt>
                <c:pt idx="57">
                  <c:v>98000</c:v>
                </c:pt>
                <c:pt idx="58">
                  <c:v>98000</c:v>
                </c:pt>
                <c:pt idx="59">
                  <c:v>98000</c:v>
                </c:pt>
                <c:pt idx="60">
                  <c:v>98000</c:v>
                </c:pt>
                <c:pt idx="61">
                  <c:v>98000</c:v>
                </c:pt>
                <c:pt idx="62">
                  <c:v>98000</c:v>
                </c:pt>
                <c:pt idx="63">
                  <c:v>98000</c:v>
                </c:pt>
                <c:pt idx="64">
                  <c:v>98000</c:v>
                </c:pt>
                <c:pt idx="65">
                  <c:v>98000</c:v>
                </c:pt>
                <c:pt idx="66">
                  <c:v>98000</c:v>
                </c:pt>
                <c:pt idx="67">
                  <c:v>98000</c:v>
                </c:pt>
                <c:pt idx="68">
                  <c:v>98000</c:v>
                </c:pt>
                <c:pt idx="69">
                  <c:v>98000</c:v>
                </c:pt>
                <c:pt idx="70">
                  <c:v>98000</c:v>
                </c:pt>
                <c:pt idx="71">
                  <c:v>98000</c:v>
                </c:pt>
                <c:pt idx="72">
                  <c:v>98000</c:v>
                </c:pt>
                <c:pt idx="73">
                  <c:v>98000</c:v>
                </c:pt>
                <c:pt idx="74">
                  <c:v>99000</c:v>
                </c:pt>
                <c:pt idx="75">
                  <c:v>99000</c:v>
                </c:pt>
                <c:pt idx="76">
                  <c:v>99000</c:v>
                </c:pt>
                <c:pt idx="77">
                  <c:v>99000</c:v>
                </c:pt>
                <c:pt idx="78">
                  <c:v>99000</c:v>
                </c:pt>
                <c:pt idx="79">
                  <c:v>99000</c:v>
                </c:pt>
                <c:pt idx="80">
                  <c:v>99000</c:v>
                </c:pt>
                <c:pt idx="81">
                  <c:v>99000</c:v>
                </c:pt>
                <c:pt idx="82">
                  <c:v>99000</c:v>
                </c:pt>
                <c:pt idx="83">
                  <c:v>99000</c:v>
                </c:pt>
                <c:pt idx="84">
                  <c:v>99000</c:v>
                </c:pt>
                <c:pt idx="85">
                  <c:v>99000</c:v>
                </c:pt>
                <c:pt idx="86">
                  <c:v>99000</c:v>
                </c:pt>
                <c:pt idx="87">
                  <c:v>99000</c:v>
                </c:pt>
                <c:pt idx="88">
                  <c:v>99000</c:v>
                </c:pt>
                <c:pt idx="89">
                  <c:v>98000</c:v>
                </c:pt>
                <c:pt idx="90">
                  <c:v>98000</c:v>
                </c:pt>
                <c:pt idx="91">
                  <c:v>98000</c:v>
                </c:pt>
                <c:pt idx="92">
                  <c:v>98000</c:v>
                </c:pt>
                <c:pt idx="93">
                  <c:v>98000</c:v>
                </c:pt>
                <c:pt idx="94">
                  <c:v>98000</c:v>
                </c:pt>
                <c:pt idx="95">
                  <c:v>98000</c:v>
                </c:pt>
                <c:pt idx="96">
                  <c:v>98000</c:v>
                </c:pt>
                <c:pt idx="97">
                  <c:v>98000</c:v>
                </c:pt>
                <c:pt idx="98">
                  <c:v>97000</c:v>
                </c:pt>
                <c:pt idx="99">
                  <c:v>97000</c:v>
                </c:pt>
                <c:pt idx="100">
                  <c:v>97000</c:v>
                </c:pt>
                <c:pt idx="101">
                  <c:v>97000</c:v>
                </c:pt>
                <c:pt idx="102">
                  <c:v>97000</c:v>
                </c:pt>
                <c:pt idx="103">
                  <c:v>97000</c:v>
                </c:pt>
                <c:pt idx="104">
                  <c:v>97000</c:v>
                </c:pt>
                <c:pt idx="105">
                  <c:v>97000</c:v>
                </c:pt>
                <c:pt idx="106">
                  <c:v>97000</c:v>
                </c:pt>
                <c:pt idx="107">
                  <c:v>97000</c:v>
                </c:pt>
                <c:pt idx="108">
                  <c:v>98000</c:v>
                </c:pt>
                <c:pt idx="109">
                  <c:v>98000</c:v>
                </c:pt>
                <c:pt idx="110">
                  <c:v>98000</c:v>
                </c:pt>
                <c:pt idx="111">
                  <c:v>98000</c:v>
                </c:pt>
                <c:pt idx="112">
                  <c:v>98000</c:v>
                </c:pt>
                <c:pt idx="113">
                  <c:v>99000</c:v>
                </c:pt>
                <c:pt idx="114">
                  <c:v>99000</c:v>
                </c:pt>
                <c:pt idx="115">
                  <c:v>99000</c:v>
                </c:pt>
                <c:pt idx="116">
                  <c:v>99000</c:v>
                </c:pt>
                <c:pt idx="117">
                  <c:v>99000</c:v>
                </c:pt>
                <c:pt idx="118">
                  <c:v>99000</c:v>
                </c:pt>
                <c:pt idx="119">
                  <c:v>99000</c:v>
                </c:pt>
                <c:pt idx="120">
                  <c:v>99000</c:v>
                </c:pt>
                <c:pt idx="121">
                  <c:v>99000</c:v>
                </c:pt>
                <c:pt idx="122">
                  <c:v>99000</c:v>
                </c:pt>
                <c:pt idx="123">
                  <c:v>99000</c:v>
                </c:pt>
                <c:pt idx="124">
                  <c:v>99000</c:v>
                </c:pt>
                <c:pt idx="125">
                  <c:v>99000</c:v>
                </c:pt>
                <c:pt idx="126">
                  <c:v>99000</c:v>
                </c:pt>
                <c:pt idx="127">
                  <c:v>100000</c:v>
                </c:pt>
                <c:pt idx="128">
                  <c:v>100000</c:v>
                </c:pt>
                <c:pt idx="129">
                  <c:v>100000</c:v>
                </c:pt>
                <c:pt idx="130">
                  <c:v>100000</c:v>
                </c:pt>
                <c:pt idx="131">
                  <c:v>100000</c:v>
                </c:pt>
                <c:pt idx="132">
                  <c:v>100000</c:v>
                </c:pt>
                <c:pt idx="133">
                  <c:v>100000</c:v>
                </c:pt>
                <c:pt idx="134">
                  <c:v>100000</c:v>
                </c:pt>
                <c:pt idx="135">
                  <c:v>100000</c:v>
                </c:pt>
                <c:pt idx="136">
                  <c:v>100000</c:v>
                </c:pt>
                <c:pt idx="137">
                  <c:v>100000</c:v>
                </c:pt>
              </c:numCache>
            </c:numRef>
          </c:val>
          <c:extLst>
            <c:ext xmlns:c16="http://schemas.microsoft.com/office/drawing/2014/chart" uri="{C3380CC4-5D6E-409C-BE32-E72D297353CC}">
              <c16:uniqueId val="{00000001-D070-4A1C-9F8E-A4C87DC3816A}"/>
            </c:ext>
          </c:extLst>
        </c:ser>
        <c:ser>
          <c:idx val="2"/>
          <c:order val="2"/>
          <c:tx>
            <c:strRef>
              <c:f>工业硅库存!$R$2</c:f>
              <c:strCache>
                <c:ptCount val="1"/>
                <c:pt idx="0">
                  <c:v>仓单库存</c:v>
                </c:pt>
              </c:strCache>
            </c:strRef>
          </c:tx>
          <c:spPr>
            <a:solidFill>
              <a:schemeClr val="accent3"/>
            </a:solidFill>
            <a:ln>
              <a:noFill/>
            </a:ln>
            <a:effectLst/>
          </c:spPr>
          <c:cat>
            <c:numRef>
              <c:f>工业硅库存!$O$3:$O$140</c:f>
              <c:numCache>
                <c:formatCode>m/d/yyyy</c:formatCode>
                <c:ptCount val="138"/>
                <c:pt idx="0">
                  <c:v>45477</c:v>
                </c:pt>
                <c:pt idx="1">
                  <c:v>45476</c:v>
                </c:pt>
                <c:pt idx="2">
                  <c:v>45475</c:v>
                </c:pt>
                <c:pt idx="3">
                  <c:v>45474</c:v>
                </c:pt>
                <c:pt idx="4">
                  <c:v>45471</c:v>
                </c:pt>
                <c:pt idx="5">
                  <c:v>45470</c:v>
                </c:pt>
                <c:pt idx="6">
                  <c:v>45469</c:v>
                </c:pt>
                <c:pt idx="7">
                  <c:v>45468</c:v>
                </c:pt>
                <c:pt idx="8">
                  <c:v>45467</c:v>
                </c:pt>
                <c:pt idx="9">
                  <c:v>45464</c:v>
                </c:pt>
                <c:pt idx="10">
                  <c:v>45463</c:v>
                </c:pt>
                <c:pt idx="11">
                  <c:v>45462</c:v>
                </c:pt>
                <c:pt idx="12">
                  <c:v>45461</c:v>
                </c:pt>
                <c:pt idx="13">
                  <c:v>45460</c:v>
                </c:pt>
                <c:pt idx="14">
                  <c:v>45457</c:v>
                </c:pt>
                <c:pt idx="15">
                  <c:v>45456</c:v>
                </c:pt>
                <c:pt idx="16">
                  <c:v>45455</c:v>
                </c:pt>
                <c:pt idx="17">
                  <c:v>45454</c:v>
                </c:pt>
                <c:pt idx="18">
                  <c:v>45450</c:v>
                </c:pt>
                <c:pt idx="19">
                  <c:v>45449</c:v>
                </c:pt>
                <c:pt idx="20">
                  <c:v>45448</c:v>
                </c:pt>
                <c:pt idx="21">
                  <c:v>45447</c:v>
                </c:pt>
                <c:pt idx="22">
                  <c:v>45446</c:v>
                </c:pt>
                <c:pt idx="23">
                  <c:v>45443</c:v>
                </c:pt>
                <c:pt idx="24">
                  <c:v>45442</c:v>
                </c:pt>
                <c:pt idx="25">
                  <c:v>45441</c:v>
                </c:pt>
                <c:pt idx="26">
                  <c:v>45440</c:v>
                </c:pt>
                <c:pt idx="27">
                  <c:v>45439</c:v>
                </c:pt>
                <c:pt idx="28">
                  <c:v>45436</c:v>
                </c:pt>
                <c:pt idx="29">
                  <c:v>45435</c:v>
                </c:pt>
                <c:pt idx="30">
                  <c:v>45434</c:v>
                </c:pt>
                <c:pt idx="31">
                  <c:v>45433</c:v>
                </c:pt>
                <c:pt idx="32">
                  <c:v>45432</c:v>
                </c:pt>
                <c:pt idx="33">
                  <c:v>45429</c:v>
                </c:pt>
                <c:pt idx="34">
                  <c:v>45428</c:v>
                </c:pt>
                <c:pt idx="35">
                  <c:v>45427</c:v>
                </c:pt>
                <c:pt idx="36">
                  <c:v>45426</c:v>
                </c:pt>
                <c:pt idx="37">
                  <c:v>45425</c:v>
                </c:pt>
                <c:pt idx="38">
                  <c:v>45422</c:v>
                </c:pt>
                <c:pt idx="39">
                  <c:v>45421</c:v>
                </c:pt>
                <c:pt idx="40">
                  <c:v>45420</c:v>
                </c:pt>
                <c:pt idx="41">
                  <c:v>45419</c:v>
                </c:pt>
                <c:pt idx="42">
                  <c:v>45418</c:v>
                </c:pt>
                <c:pt idx="43">
                  <c:v>45412</c:v>
                </c:pt>
                <c:pt idx="44">
                  <c:v>45411</c:v>
                </c:pt>
                <c:pt idx="45">
                  <c:v>45408</c:v>
                </c:pt>
                <c:pt idx="46">
                  <c:v>45407</c:v>
                </c:pt>
                <c:pt idx="47">
                  <c:v>45406</c:v>
                </c:pt>
                <c:pt idx="48">
                  <c:v>45405</c:v>
                </c:pt>
                <c:pt idx="49">
                  <c:v>45404</c:v>
                </c:pt>
                <c:pt idx="50">
                  <c:v>45401</c:v>
                </c:pt>
                <c:pt idx="51">
                  <c:v>45400</c:v>
                </c:pt>
                <c:pt idx="52">
                  <c:v>45399</c:v>
                </c:pt>
                <c:pt idx="53">
                  <c:v>45398</c:v>
                </c:pt>
                <c:pt idx="54">
                  <c:v>45397</c:v>
                </c:pt>
                <c:pt idx="55">
                  <c:v>45394</c:v>
                </c:pt>
                <c:pt idx="56">
                  <c:v>45393</c:v>
                </c:pt>
                <c:pt idx="57">
                  <c:v>45392</c:v>
                </c:pt>
                <c:pt idx="58">
                  <c:v>45391</c:v>
                </c:pt>
                <c:pt idx="59">
                  <c:v>45390</c:v>
                </c:pt>
                <c:pt idx="60">
                  <c:v>45385</c:v>
                </c:pt>
                <c:pt idx="61">
                  <c:v>45384</c:v>
                </c:pt>
                <c:pt idx="62">
                  <c:v>45383</c:v>
                </c:pt>
                <c:pt idx="63">
                  <c:v>45380</c:v>
                </c:pt>
                <c:pt idx="64">
                  <c:v>45379</c:v>
                </c:pt>
                <c:pt idx="65">
                  <c:v>45378</c:v>
                </c:pt>
                <c:pt idx="66">
                  <c:v>45377</c:v>
                </c:pt>
                <c:pt idx="67">
                  <c:v>45376</c:v>
                </c:pt>
                <c:pt idx="68">
                  <c:v>45373</c:v>
                </c:pt>
                <c:pt idx="69">
                  <c:v>45372</c:v>
                </c:pt>
                <c:pt idx="70">
                  <c:v>45371</c:v>
                </c:pt>
                <c:pt idx="71">
                  <c:v>45370</c:v>
                </c:pt>
                <c:pt idx="72">
                  <c:v>45369</c:v>
                </c:pt>
                <c:pt idx="73">
                  <c:v>45366</c:v>
                </c:pt>
                <c:pt idx="74">
                  <c:v>45365</c:v>
                </c:pt>
                <c:pt idx="75">
                  <c:v>45364</c:v>
                </c:pt>
                <c:pt idx="76">
                  <c:v>45363</c:v>
                </c:pt>
                <c:pt idx="77">
                  <c:v>45362</c:v>
                </c:pt>
                <c:pt idx="78">
                  <c:v>45359</c:v>
                </c:pt>
                <c:pt idx="79">
                  <c:v>45358</c:v>
                </c:pt>
                <c:pt idx="80">
                  <c:v>45357</c:v>
                </c:pt>
                <c:pt idx="81">
                  <c:v>45356</c:v>
                </c:pt>
                <c:pt idx="82">
                  <c:v>45355</c:v>
                </c:pt>
                <c:pt idx="83">
                  <c:v>45352</c:v>
                </c:pt>
                <c:pt idx="84">
                  <c:v>45351</c:v>
                </c:pt>
                <c:pt idx="85">
                  <c:v>45350</c:v>
                </c:pt>
                <c:pt idx="86">
                  <c:v>45349</c:v>
                </c:pt>
                <c:pt idx="87">
                  <c:v>45348</c:v>
                </c:pt>
                <c:pt idx="88">
                  <c:v>45345</c:v>
                </c:pt>
                <c:pt idx="89">
                  <c:v>45344</c:v>
                </c:pt>
                <c:pt idx="90">
                  <c:v>45343</c:v>
                </c:pt>
                <c:pt idx="91">
                  <c:v>45342</c:v>
                </c:pt>
                <c:pt idx="92">
                  <c:v>45341</c:v>
                </c:pt>
                <c:pt idx="93">
                  <c:v>45330</c:v>
                </c:pt>
                <c:pt idx="94">
                  <c:v>45329</c:v>
                </c:pt>
                <c:pt idx="95">
                  <c:v>45328</c:v>
                </c:pt>
                <c:pt idx="96">
                  <c:v>45327</c:v>
                </c:pt>
                <c:pt idx="97">
                  <c:v>45324</c:v>
                </c:pt>
                <c:pt idx="98">
                  <c:v>45323</c:v>
                </c:pt>
                <c:pt idx="99">
                  <c:v>45322</c:v>
                </c:pt>
                <c:pt idx="100">
                  <c:v>45321</c:v>
                </c:pt>
                <c:pt idx="101">
                  <c:v>45320</c:v>
                </c:pt>
                <c:pt idx="102">
                  <c:v>45317</c:v>
                </c:pt>
                <c:pt idx="103">
                  <c:v>45316</c:v>
                </c:pt>
                <c:pt idx="104">
                  <c:v>45315</c:v>
                </c:pt>
                <c:pt idx="105">
                  <c:v>45314</c:v>
                </c:pt>
                <c:pt idx="106">
                  <c:v>45313</c:v>
                </c:pt>
                <c:pt idx="107">
                  <c:v>45310</c:v>
                </c:pt>
                <c:pt idx="108">
                  <c:v>45309</c:v>
                </c:pt>
                <c:pt idx="109">
                  <c:v>45308</c:v>
                </c:pt>
                <c:pt idx="110">
                  <c:v>45307</c:v>
                </c:pt>
                <c:pt idx="111">
                  <c:v>45306</c:v>
                </c:pt>
                <c:pt idx="112">
                  <c:v>45303</c:v>
                </c:pt>
                <c:pt idx="113">
                  <c:v>45302</c:v>
                </c:pt>
                <c:pt idx="114">
                  <c:v>45301</c:v>
                </c:pt>
                <c:pt idx="115">
                  <c:v>45300</c:v>
                </c:pt>
                <c:pt idx="116">
                  <c:v>45299</c:v>
                </c:pt>
                <c:pt idx="117">
                  <c:v>45296</c:v>
                </c:pt>
                <c:pt idx="118">
                  <c:v>45295</c:v>
                </c:pt>
                <c:pt idx="119">
                  <c:v>45294</c:v>
                </c:pt>
                <c:pt idx="120">
                  <c:v>45293</c:v>
                </c:pt>
                <c:pt idx="121">
                  <c:v>45289</c:v>
                </c:pt>
                <c:pt idx="122">
                  <c:v>45288</c:v>
                </c:pt>
                <c:pt idx="123">
                  <c:v>45287</c:v>
                </c:pt>
                <c:pt idx="124">
                  <c:v>45286</c:v>
                </c:pt>
                <c:pt idx="125">
                  <c:v>45285</c:v>
                </c:pt>
                <c:pt idx="126">
                  <c:v>45282</c:v>
                </c:pt>
                <c:pt idx="127">
                  <c:v>45281</c:v>
                </c:pt>
                <c:pt idx="128">
                  <c:v>45280</c:v>
                </c:pt>
                <c:pt idx="129">
                  <c:v>45279</c:v>
                </c:pt>
                <c:pt idx="130">
                  <c:v>45278</c:v>
                </c:pt>
                <c:pt idx="131">
                  <c:v>45275</c:v>
                </c:pt>
                <c:pt idx="132">
                  <c:v>45274</c:v>
                </c:pt>
                <c:pt idx="133">
                  <c:v>45273</c:v>
                </c:pt>
                <c:pt idx="134">
                  <c:v>45272</c:v>
                </c:pt>
                <c:pt idx="135">
                  <c:v>45271</c:v>
                </c:pt>
                <c:pt idx="136">
                  <c:v>45268</c:v>
                </c:pt>
                <c:pt idx="137">
                  <c:v>45267</c:v>
                </c:pt>
              </c:numCache>
            </c:numRef>
          </c:cat>
          <c:val>
            <c:numRef>
              <c:f>工业硅库存!$R$3:$R$140</c:f>
              <c:numCache>
                <c:formatCode>General</c:formatCode>
                <c:ptCount val="138"/>
                <c:pt idx="0">
                  <c:v>315375</c:v>
                </c:pt>
                <c:pt idx="1">
                  <c:v>314590</c:v>
                </c:pt>
                <c:pt idx="2">
                  <c:v>311725</c:v>
                </c:pt>
                <c:pt idx="3">
                  <c:v>311425</c:v>
                </c:pt>
                <c:pt idx="4">
                  <c:v>310465</c:v>
                </c:pt>
                <c:pt idx="5">
                  <c:v>309160</c:v>
                </c:pt>
                <c:pt idx="6">
                  <c:v>308895</c:v>
                </c:pt>
                <c:pt idx="7">
                  <c:v>308110</c:v>
                </c:pt>
                <c:pt idx="8">
                  <c:v>306835</c:v>
                </c:pt>
                <c:pt idx="9">
                  <c:v>305065</c:v>
                </c:pt>
                <c:pt idx="10">
                  <c:v>305065</c:v>
                </c:pt>
                <c:pt idx="11">
                  <c:v>304080</c:v>
                </c:pt>
                <c:pt idx="12">
                  <c:v>304350</c:v>
                </c:pt>
                <c:pt idx="13">
                  <c:v>297450</c:v>
                </c:pt>
                <c:pt idx="14">
                  <c:v>296220</c:v>
                </c:pt>
                <c:pt idx="15">
                  <c:v>288130</c:v>
                </c:pt>
                <c:pt idx="16">
                  <c:v>288430</c:v>
                </c:pt>
                <c:pt idx="17">
                  <c:v>288670</c:v>
                </c:pt>
                <c:pt idx="18">
                  <c:v>284315</c:v>
                </c:pt>
                <c:pt idx="19">
                  <c:v>284315</c:v>
                </c:pt>
                <c:pt idx="20">
                  <c:v>284255</c:v>
                </c:pt>
                <c:pt idx="21">
                  <c:v>283245</c:v>
                </c:pt>
                <c:pt idx="22">
                  <c:v>282510</c:v>
                </c:pt>
                <c:pt idx="23">
                  <c:v>282570</c:v>
                </c:pt>
                <c:pt idx="24">
                  <c:v>282570</c:v>
                </c:pt>
                <c:pt idx="25">
                  <c:v>282090</c:v>
                </c:pt>
                <c:pt idx="26">
                  <c:v>281790</c:v>
                </c:pt>
                <c:pt idx="27">
                  <c:v>279210</c:v>
                </c:pt>
                <c:pt idx="28">
                  <c:v>278130</c:v>
                </c:pt>
                <c:pt idx="29">
                  <c:v>269710</c:v>
                </c:pt>
                <c:pt idx="30">
                  <c:v>269230</c:v>
                </c:pt>
                <c:pt idx="31">
                  <c:v>266550</c:v>
                </c:pt>
                <c:pt idx="32">
                  <c:v>267060</c:v>
                </c:pt>
                <c:pt idx="33">
                  <c:v>267610</c:v>
                </c:pt>
                <c:pt idx="34">
                  <c:v>264300</c:v>
                </c:pt>
                <c:pt idx="35">
                  <c:v>263855</c:v>
                </c:pt>
                <c:pt idx="36">
                  <c:v>264585</c:v>
                </c:pt>
                <c:pt idx="37">
                  <c:v>259545</c:v>
                </c:pt>
                <c:pt idx="38">
                  <c:v>253025</c:v>
                </c:pt>
                <c:pt idx="39">
                  <c:v>253120</c:v>
                </c:pt>
                <c:pt idx="40">
                  <c:v>249995</c:v>
                </c:pt>
                <c:pt idx="41">
                  <c:v>250365</c:v>
                </c:pt>
                <c:pt idx="42">
                  <c:v>250605</c:v>
                </c:pt>
                <c:pt idx="43">
                  <c:v>249945</c:v>
                </c:pt>
                <c:pt idx="44">
                  <c:v>250045</c:v>
                </c:pt>
                <c:pt idx="45">
                  <c:v>250795</c:v>
                </c:pt>
                <c:pt idx="46">
                  <c:v>249905</c:v>
                </c:pt>
                <c:pt idx="47">
                  <c:v>250425</c:v>
                </c:pt>
                <c:pt idx="48">
                  <c:v>251010</c:v>
                </c:pt>
                <c:pt idx="49">
                  <c:v>251500</c:v>
                </c:pt>
                <c:pt idx="50">
                  <c:v>253575</c:v>
                </c:pt>
                <c:pt idx="51">
                  <c:v>254065</c:v>
                </c:pt>
                <c:pt idx="52">
                  <c:v>254375</c:v>
                </c:pt>
                <c:pt idx="53">
                  <c:v>254555</c:v>
                </c:pt>
                <c:pt idx="54">
                  <c:v>248915</c:v>
                </c:pt>
                <c:pt idx="55">
                  <c:v>248195</c:v>
                </c:pt>
                <c:pt idx="56">
                  <c:v>247255</c:v>
                </c:pt>
                <c:pt idx="57">
                  <c:v>247500</c:v>
                </c:pt>
                <c:pt idx="58">
                  <c:v>247505</c:v>
                </c:pt>
                <c:pt idx="59">
                  <c:v>246905</c:v>
                </c:pt>
                <c:pt idx="60">
                  <c:v>246965</c:v>
                </c:pt>
                <c:pt idx="61">
                  <c:v>246245</c:v>
                </c:pt>
                <c:pt idx="62">
                  <c:v>245945</c:v>
                </c:pt>
                <c:pt idx="63">
                  <c:v>246170</c:v>
                </c:pt>
                <c:pt idx="64">
                  <c:v>246290</c:v>
                </c:pt>
                <c:pt idx="65">
                  <c:v>245450</c:v>
                </c:pt>
                <c:pt idx="66">
                  <c:v>246365</c:v>
                </c:pt>
                <c:pt idx="67">
                  <c:v>246580</c:v>
                </c:pt>
                <c:pt idx="68">
                  <c:v>246400</c:v>
                </c:pt>
                <c:pt idx="69">
                  <c:v>246080</c:v>
                </c:pt>
                <c:pt idx="70">
                  <c:v>245240</c:v>
                </c:pt>
                <c:pt idx="71">
                  <c:v>245560</c:v>
                </c:pt>
                <c:pt idx="72">
                  <c:v>242715</c:v>
                </c:pt>
                <c:pt idx="73">
                  <c:v>242870</c:v>
                </c:pt>
                <c:pt idx="74">
                  <c:v>243190</c:v>
                </c:pt>
                <c:pt idx="75">
                  <c:v>243010</c:v>
                </c:pt>
                <c:pt idx="76">
                  <c:v>242410</c:v>
                </c:pt>
                <c:pt idx="77">
                  <c:v>241775</c:v>
                </c:pt>
                <c:pt idx="78">
                  <c:v>241845</c:v>
                </c:pt>
                <c:pt idx="79">
                  <c:v>240885</c:v>
                </c:pt>
                <c:pt idx="80">
                  <c:v>241065</c:v>
                </c:pt>
                <c:pt idx="81">
                  <c:v>241065</c:v>
                </c:pt>
                <c:pt idx="82">
                  <c:v>241395</c:v>
                </c:pt>
                <c:pt idx="83">
                  <c:v>241250</c:v>
                </c:pt>
                <c:pt idx="84">
                  <c:v>241610</c:v>
                </c:pt>
                <c:pt idx="85">
                  <c:v>241610</c:v>
                </c:pt>
                <c:pt idx="86">
                  <c:v>241790</c:v>
                </c:pt>
                <c:pt idx="87">
                  <c:v>241800</c:v>
                </c:pt>
                <c:pt idx="88">
                  <c:v>240610</c:v>
                </c:pt>
                <c:pt idx="89">
                  <c:v>240945</c:v>
                </c:pt>
                <c:pt idx="90">
                  <c:v>241100</c:v>
                </c:pt>
                <c:pt idx="91">
                  <c:v>240895</c:v>
                </c:pt>
                <c:pt idx="92">
                  <c:v>239585</c:v>
                </c:pt>
                <c:pt idx="93">
                  <c:v>237925</c:v>
                </c:pt>
                <c:pt idx="94">
                  <c:v>235655</c:v>
                </c:pt>
                <c:pt idx="95">
                  <c:v>232835</c:v>
                </c:pt>
                <c:pt idx="96">
                  <c:v>232055</c:v>
                </c:pt>
                <c:pt idx="97">
                  <c:v>229585</c:v>
                </c:pt>
                <c:pt idx="98">
                  <c:v>225265</c:v>
                </c:pt>
                <c:pt idx="99">
                  <c:v>222935</c:v>
                </c:pt>
                <c:pt idx="100">
                  <c:v>223280</c:v>
                </c:pt>
                <c:pt idx="101">
                  <c:v>221885</c:v>
                </c:pt>
                <c:pt idx="102">
                  <c:v>219915</c:v>
                </c:pt>
                <c:pt idx="103">
                  <c:v>218535</c:v>
                </c:pt>
                <c:pt idx="104">
                  <c:v>219100</c:v>
                </c:pt>
                <c:pt idx="105">
                  <c:v>218580</c:v>
                </c:pt>
                <c:pt idx="106">
                  <c:v>217990</c:v>
                </c:pt>
                <c:pt idx="107">
                  <c:v>215170</c:v>
                </c:pt>
                <c:pt idx="108">
                  <c:v>213990</c:v>
                </c:pt>
                <c:pt idx="109">
                  <c:v>214785</c:v>
                </c:pt>
                <c:pt idx="110">
                  <c:v>210040</c:v>
                </c:pt>
                <c:pt idx="111">
                  <c:v>210280</c:v>
                </c:pt>
                <c:pt idx="112">
                  <c:v>208875</c:v>
                </c:pt>
                <c:pt idx="113">
                  <c:v>207100</c:v>
                </c:pt>
                <c:pt idx="114">
                  <c:v>207480</c:v>
                </c:pt>
                <c:pt idx="115">
                  <c:v>204475</c:v>
                </c:pt>
                <c:pt idx="116">
                  <c:v>204475</c:v>
                </c:pt>
                <c:pt idx="117">
                  <c:v>200455</c:v>
                </c:pt>
                <c:pt idx="118">
                  <c:v>197635</c:v>
                </c:pt>
                <c:pt idx="119">
                  <c:v>196255</c:v>
                </c:pt>
                <c:pt idx="120">
                  <c:v>190325</c:v>
                </c:pt>
                <c:pt idx="121">
                  <c:v>190325</c:v>
                </c:pt>
                <c:pt idx="122">
                  <c:v>186305</c:v>
                </c:pt>
                <c:pt idx="123">
                  <c:v>179885</c:v>
                </c:pt>
                <c:pt idx="124">
                  <c:v>177785</c:v>
                </c:pt>
                <c:pt idx="125">
                  <c:v>177785</c:v>
                </c:pt>
                <c:pt idx="126">
                  <c:v>171725</c:v>
                </c:pt>
                <c:pt idx="127">
                  <c:v>168845</c:v>
                </c:pt>
                <c:pt idx="128">
                  <c:v>168845</c:v>
                </c:pt>
                <c:pt idx="129">
                  <c:v>163925</c:v>
                </c:pt>
                <c:pt idx="130">
                  <c:v>163925</c:v>
                </c:pt>
                <c:pt idx="131">
                  <c:v>159125</c:v>
                </c:pt>
                <c:pt idx="132">
                  <c:v>158825</c:v>
                </c:pt>
                <c:pt idx="133">
                  <c:v>156185</c:v>
                </c:pt>
                <c:pt idx="134">
                  <c:v>156185</c:v>
                </c:pt>
                <c:pt idx="135">
                  <c:v>154145</c:v>
                </c:pt>
                <c:pt idx="136">
                  <c:v>139385</c:v>
                </c:pt>
                <c:pt idx="137">
                  <c:v>131540</c:v>
                </c:pt>
              </c:numCache>
            </c:numRef>
          </c:val>
          <c:extLst>
            <c:ext xmlns:c16="http://schemas.microsoft.com/office/drawing/2014/chart" uri="{C3380CC4-5D6E-409C-BE32-E72D297353CC}">
              <c16:uniqueId val="{00000002-D070-4A1C-9F8E-A4C87DC3816A}"/>
            </c:ext>
          </c:extLst>
        </c:ser>
        <c:dLbls>
          <c:showLegendKey val="0"/>
          <c:showVal val="0"/>
          <c:showCatName val="0"/>
          <c:showSerName val="0"/>
          <c:showPercent val="0"/>
          <c:showBubbleSize val="0"/>
        </c:dLbls>
        <c:axId val="95417919"/>
        <c:axId val="644425135"/>
      </c:areaChart>
      <c:dateAx>
        <c:axId val="95417919"/>
        <c:scaling>
          <c:orientation val="minMax"/>
        </c:scaling>
        <c:delete val="0"/>
        <c:axPos val="b"/>
        <c:numFmt formatCode="yy/mm" sourceLinked="0"/>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ea"/>
                <a:sym typeface="+mn-lt"/>
              </a:defRPr>
            </a:pPr>
            <a:endParaRPr lang="zh-CN"/>
          </a:p>
        </c:txPr>
        <c:crossAx val="644425135"/>
        <c:crosses val="autoZero"/>
        <c:auto val="1"/>
        <c:lblOffset val="100"/>
        <c:baseTimeUnit val="days"/>
      </c:dateAx>
      <c:valAx>
        <c:axId val="644425135"/>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ea"/>
                <a:sym typeface="+mn-lt"/>
              </a:defRPr>
            </a:pPr>
            <a:endParaRPr lang="zh-CN"/>
          </a:p>
        </c:txPr>
        <c:crossAx val="95417919"/>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ea"/>
              <a:sym typeface="+mn-lt"/>
            </a:defRPr>
          </a:pPr>
          <a:endParaRPr lang="zh-CN"/>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mn-lt"/>
          <a:ea typeface="+mn-ea"/>
          <a:cs typeface="+mn-ea"/>
          <a:sym typeface="+mn-lt"/>
        </a:defRPr>
      </a:pPr>
      <a:endParaRPr lang="zh-CN"/>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工业硅库存!$U$1</c:f>
          <c:strCache>
            <c:ptCount val="1"/>
            <c:pt idx="0">
              <c:v>工厂库存</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工业硅库存!$V$2</c:f>
              <c:strCache>
                <c:ptCount val="1"/>
                <c:pt idx="0">
                  <c:v>2021</c:v>
                </c:pt>
              </c:strCache>
            </c:strRef>
          </c:tx>
          <c:spPr>
            <a:ln w="19050" cap="rnd">
              <a:solidFill>
                <a:srgbClr val="B57222">
                  <a:alpha val="60000"/>
                </a:srgbClr>
              </a:solidFill>
              <a:round/>
            </a:ln>
            <a:effectLst/>
          </c:spPr>
          <c:marker>
            <c:symbol val="none"/>
          </c:marker>
          <c:cat>
            <c:strRef>
              <c:f>工业硅库存!$U$3:$U$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V$3:$V$368</c:f>
              <c:numCache>
                <c:formatCode>General</c:formatCode>
                <c:ptCount val="366"/>
                <c:pt idx="0">
                  <c:v>39710</c:v>
                </c:pt>
                <c:pt idx="1">
                  <c:v>#N/A</c:v>
                </c:pt>
                <c:pt idx="2">
                  <c:v>#N/A</c:v>
                </c:pt>
                <c:pt idx="3">
                  <c:v>#N/A</c:v>
                </c:pt>
                <c:pt idx="4">
                  <c:v>#N/A</c:v>
                </c:pt>
                <c:pt idx="5">
                  <c:v>#N/A</c:v>
                </c:pt>
                <c:pt idx="6">
                  <c:v>#N/A</c:v>
                </c:pt>
                <c:pt idx="7">
                  <c:v>39710</c:v>
                </c:pt>
                <c:pt idx="8">
                  <c:v>#N/A</c:v>
                </c:pt>
                <c:pt idx="9">
                  <c:v>#N/A</c:v>
                </c:pt>
                <c:pt idx="10">
                  <c:v>#N/A</c:v>
                </c:pt>
                <c:pt idx="11">
                  <c:v>#N/A</c:v>
                </c:pt>
                <c:pt idx="12">
                  <c:v>#N/A</c:v>
                </c:pt>
                <c:pt idx="13">
                  <c:v>#N/A</c:v>
                </c:pt>
                <c:pt idx="14">
                  <c:v>42210</c:v>
                </c:pt>
                <c:pt idx="15">
                  <c:v>#N/A</c:v>
                </c:pt>
                <c:pt idx="16">
                  <c:v>#N/A</c:v>
                </c:pt>
                <c:pt idx="17">
                  <c:v>#N/A</c:v>
                </c:pt>
                <c:pt idx="18">
                  <c:v>#N/A</c:v>
                </c:pt>
                <c:pt idx="19">
                  <c:v>#N/A</c:v>
                </c:pt>
                <c:pt idx="20">
                  <c:v>#N/A</c:v>
                </c:pt>
                <c:pt idx="21">
                  <c:v>42210</c:v>
                </c:pt>
                <c:pt idx="22">
                  <c:v>#N/A</c:v>
                </c:pt>
                <c:pt idx="23">
                  <c:v>#N/A</c:v>
                </c:pt>
                <c:pt idx="24">
                  <c:v>#N/A</c:v>
                </c:pt>
                <c:pt idx="25">
                  <c:v>#N/A</c:v>
                </c:pt>
                <c:pt idx="26">
                  <c:v>#N/A</c:v>
                </c:pt>
                <c:pt idx="27">
                  <c:v>#N/A</c:v>
                </c:pt>
                <c:pt idx="28">
                  <c:v>42210</c:v>
                </c:pt>
                <c:pt idx="29">
                  <c:v>#N/A</c:v>
                </c:pt>
                <c:pt idx="30">
                  <c:v>#N/A</c:v>
                </c:pt>
                <c:pt idx="31">
                  <c:v>#N/A</c:v>
                </c:pt>
                <c:pt idx="32">
                  <c:v>#N/A</c:v>
                </c:pt>
                <c:pt idx="33">
                  <c:v>#N/A</c:v>
                </c:pt>
                <c:pt idx="34">
                  <c:v>#N/A</c:v>
                </c:pt>
                <c:pt idx="35">
                  <c:v>41810</c:v>
                </c:pt>
                <c:pt idx="36">
                  <c:v>#N/A</c:v>
                </c:pt>
                <c:pt idx="37">
                  <c:v>#N/A</c:v>
                </c:pt>
                <c:pt idx="38">
                  <c:v>#N/A</c:v>
                </c:pt>
                <c:pt idx="39">
                  <c:v>#N/A</c:v>
                </c:pt>
                <c:pt idx="40">
                  <c:v>#N/A</c:v>
                </c:pt>
                <c:pt idx="41">
                  <c:v>#N/A</c:v>
                </c:pt>
                <c:pt idx="42">
                  <c:v>43710</c:v>
                </c:pt>
                <c:pt idx="43">
                  <c:v>#N/A</c:v>
                </c:pt>
                <c:pt idx="44">
                  <c:v>#N/A</c:v>
                </c:pt>
                <c:pt idx="45">
                  <c:v>#N/A</c:v>
                </c:pt>
                <c:pt idx="46">
                  <c:v>#N/A</c:v>
                </c:pt>
                <c:pt idx="47">
                  <c:v>#N/A</c:v>
                </c:pt>
                <c:pt idx="48">
                  <c:v>#N/A</c:v>
                </c:pt>
                <c:pt idx="49">
                  <c:v>43710</c:v>
                </c:pt>
                <c:pt idx="50">
                  <c:v>#N/A</c:v>
                </c:pt>
                <c:pt idx="51">
                  <c:v>#N/A</c:v>
                </c:pt>
                <c:pt idx="52">
                  <c:v>#N/A</c:v>
                </c:pt>
                <c:pt idx="53">
                  <c:v>#N/A</c:v>
                </c:pt>
                <c:pt idx="54">
                  <c:v>#N/A</c:v>
                </c:pt>
                <c:pt idx="55">
                  <c:v>#N/A</c:v>
                </c:pt>
                <c:pt idx="56">
                  <c:v>44210</c:v>
                </c:pt>
                <c:pt idx="57">
                  <c:v>#N/A</c:v>
                </c:pt>
                <c:pt idx="58">
                  <c:v>#N/A</c:v>
                </c:pt>
                <c:pt idx="60">
                  <c:v>#N/A</c:v>
                </c:pt>
                <c:pt idx="61">
                  <c:v>#N/A</c:v>
                </c:pt>
                <c:pt idx="62">
                  <c:v>#N/A</c:v>
                </c:pt>
                <c:pt idx="63">
                  <c:v>#N/A</c:v>
                </c:pt>
                <c:pt idx="64">
                  <c:v>44210</c:v>
                </c:pt>
                <c:pt idx="65">
                  <c:v>#N/A</c:v>
                </c:pt>
                <c:pt idx="66">
                  <c:v>#N/A</c:v>
                </c:pt>
                <c:pt idx="67">
                  <c:v>#N/A</c:v>
                </c:pt>
                <c:pt idx="68">
                  <c:v>#N/A</c:v>
                </c:pt>
                <c:pt idx="69">
                  <c:v>#N/A</c:v>
                </c:pt>
                <c:pt idx="70">
                  <c:v>#N/A</c:v>
                </c:pt>
                <c:pt idx="71">
                  <c:v>43810</c:v>
                </c:pt>
                <c:pt idx="72">
                  <c:v>#N/A</c:v>
                </c:pt>
                <c:pt idx="73">
                  <c:v>#N/A</c:v>
                </c:pt>
                <c:pt idx="74">
                  <c:v>#N/A</c:v>
                </c:pt>
                <c:pt idx="75">
                  <c:v>#N/A</c:v>
                </c:pt>
                <c:pt idx="76">
                  <c:v>#N/A</c:v>
                </c:pt>
                <c:pt idx="77">
                  <c:v>#N/A</c:v>
                </c:pt>
                <c:pt idx="78">
                  <c:v>43810</c:v>
                </c:pt>
                <c:pt idx="79">
                  <c:v>#N/A</c:v>
                </c:pt>
                <c:pt idx="80">
                  <c:v>#N/A</c:v>
                </c:pt>
                <c:pt idx="81">
                  <c:v>#N/A</c:v>
                </c:pt>
                <c:pt idx="82">
                  <c:v>#N/A</c:v>
                </c:pt>
                <c:pt idx="83">
                  <c:v>#N/A</c:v>
                </c:pt>
                <c:pt idx="84">
                  <c:v>#N/A</c:v>
                </c:pt>
                <c:pt idx="85">
                  <c:v>49910</c:v>
                </c:pt>
                <c:pt idx="86">
                  <c:v>#N/A</c:v>
                </c:pt>
                <c:pt idx="87">
                  <c:v>#N/A</c:v>
                </c:pt>
                <c:pt idx="88">
                  <c:v>#N/A</c:v>
                </c:pt>
                <c:pt idx="89">
                  <c:v>#N/A</c:v>
                </c:pt>
                <c:pt idx="90">
                  <c:v>#N/A</c:v>
                </c:pt>
                <c:pt idx="91">
                  <c:v>#N/A</c:v>
                </c:pt>
                <c:pt idx="92">
                  <c:v>50110</c:v>
                </c:pt>
                <c:pt idx="93">
                  <c:v>#N/A</c:v>
                </c:pt>
                <c:pt idx="94">
                  <c:v>#N/A</c:v>
                </c:pt>
                <c:pt idx="95">
                  <c:v>#N/A</c:v>
                </c:pt>
                <c:pt idx="96">
                  <c:v>#N/A</c:v>
                </c:pt>
                <c:pt idx="97">
                  <c:v>#N/A</c:v>
                </c:pt>
                <c:pt idx="98">
                  <c:v>#N/A</c:v>
                </c:pt>
                <c:pt idx="99">
                  <c:v>49960</c:v>
                </c:pt>
                <c:pt idx="100">
                  <c:v>#N/A</c:v>
                </c:pt>
                <c:pt idx="101">
                  <c:v>#N/A</c:v>
                </c:pt>
                <c:pt idx="102">
                  <c:v>#N/A</c:v>
                </c:pt>
                <c:pt idx="103">
                  <c:v>#N/A</c:v>
                </c:pt>
                <c:pt idx="104">
                  <c:v>#N/A</c:v>
                </c:pt>
                <c:pt idx="105">
                  <c:v>#N/A</c:v>
                </c:pt>
                <c:pt idx="106">
                  <c:v>50160</c:v>
                </c:pt>
                <c:pt idx="107">
                  <c:v>#N/A</c:v>
                </c:pt>
                <c:pt idx="108">
                  <c:v>#N/A</c:v>
                </c:pt>
                <c:pt idx="109">
                  <c:v>#N/A</c:v>
                </c:pt>
                <c:pt idx="110">
                  <c:v>#N/A</c:v>
                </c:pt>
                <c:pt idx="111">
                  <c:v>#N/A</c:v>
                </c:pt>
                <c:pt idx="112">
                  <c:v>#N/A</c:v>
                </c:pt>
                <c:pt idx="113">
                  <c:v>51160</c:v>
                </c:pt>
                <c:pt idx="114">
                  <c:v>#N/A</c:v>
                </c:pt>
                <c:pt idx="115">
                  <c:v>#N/A</c:v>
                </c:pt>
                <c:pt idx="116">
                  <c:v>#N/A</c:v>
                </c:pt>
                <c:pt idx="117">
                  <c:v>#N/A</c:v>
                </c:pt>
                <c:pt idx="118">
                  <c:v>#N/A</c:v>
                </c:pt>
                <c:pt idx="119">
                  <c:v>#N/A</c:v>
                </c:pt>
                <c:pt idx="120">
                  <c:v>50560</c:v>
                </c:pt>
                <c:pt idx="121">
                  <c:v>#N/A</c:v>
                </c:pt>
                <c:pt idx="122">
                  <c:v>#N/A</c:v>
                </c:pt>
                <c:pt idx="123">
                  <c:v>#N/A</c:v>
                </c:pt>
                <c:pt idx="124">
                  <c:v>#N/A</c:v>
                </c:pt>
                <c:pt idx="125">
                  <c:v>#N/A</c:v>
                </c:pt>
                <c:pt idx="126">
                  <c:v>#N/A</c:v>
                </c:pt>
                <c:pt idx="127">
                  <c:v>50560</c:v>
                </c:pt>
                <c:pt idx="128">
                  <c:v>#N/A</c:v>
                </c:pt>
                <c:pt idx="129">
                  <c:v>#N/A</c:v>
                </c:pt>
                <c:pt idx="130">
                  <c:v>#N/A</c:v>
                </c:pt>
                <c:pt idx="131">
                  <c:v>#N/A</c:v>
                </c:pt>
                <c:pt idx="132">
                  <c:v>#N/A</c:v>
                </c:pt>
                <c:pt idx="133">
                  <c:v>#N/A</c:v>
                </c:pt>
                <c:pt idx="134">
                  <c:v>50560</c:v>
                </c:pt>
                <c:pt idx="135">
                  <c:v>#N/A</c:v>
                </c:pt>
                <c:pt idx="136">
                  <c:v>#N/A</c:v>
                </c:pt>
                <c:pt idx="137">
                  <c:v>#N/A</c:v>
                </c:pt>
                <c:pt idx="138">
                  <c:v>#N/A</c:v>
                </c:pt>
                <c:pt idx="139">
                  <c:v>#N/A</c:v>
                </c:pt>
                <c:pt idx="140">
                  <c:v>#N/A</c:v>
                </c:pt>
                <c:pt idx="141">
                  <c:v>50060</c:v>
                </c:pt>
                <c:pt idx="142">
                  <c:v>#N/A</c:v>
                </c:pt>
                <c:pt idx="143">
                  <c:v>#N/A</c:v>
                </c:pt>
                <c:pt idx="144">
                  <c:v>#N/A</c:v>
                </c:pt>
                <c:pt idx="145">
                  <c:v>#N/A</c:v>
                </c:pt>
                <c:pt idx="146">
                  <c:v>#N/A</c:v>
                </c:pt>
                <c:pt idx="147">
                  <c:v>#N/A</c:v>
                </c:pt>
                <c:pt idx="148">
                  <c:v>50560</c:v>
                </c:pt>
                <c:pt idx="149">
                  <c:v>#N/A</c:v>
                </c:pt>
                <c:pt idx="150">
                  <c:v>#N/A</c:v>
                </c:pt>
                <c:pt idx="151">
                  <c:v>#N/A</c:v>
                </c:pt>
                <c:pt idx="152">
                  <c:v>#N/A</c:v>
                </c:pt>
                <c:pt idx="153">
                  <c:v>#N/A</c:v>
                </c:pt>
                <c:pt idx="154">
                  <c:v>#N/A</c:v>
                </c:pt>
                <c:pt idx="155">
                  <c:v>50560</c:v>
                </c:pt>
                <c:pt idx="156">
                  <c:v>#N/A</c:v>
                </c:pt>
                <c:pt idx="157">
                  <c:v>#N/A</c:v>
                </c:pt>
                <c:pt idx="158">
                  <c:v>#N/A</c:v>
                </c:pt>
                <c:pt idx="159">
                  <c:v>#N/A</c:v>
                </c:pt>
                <c:pt idx="160">
                  <c:v>#N/A</c:v>
                </c:pt>
                <c:pt idx="161">
                  <c:v>#N/A</c:v>
                </c:pt>
                <c:pt idx="162">
                  <c:v>49710</c:v>
                </c:pt>
                <c:pt idx="163">
                  <c:v>#N/A</c:v>
                </c:pt>
                <c:pt idx="164">
                  <c:v>#N/A</c:v>
                </c:pt>
                <c:pt idx="165">
                  <c:v>#N/A</c:v>
                </c:pt>
                <c:pt idx="166">
                  <c:v>#N/A</c:v>
                </c:pt>
                <c:pt idx="167">
                  <c:v>#N/A</c:v>
                </c:pt>
                <c:pt idx="168">
                  <c:v>#N/A</c:v>
                </c:pt>
                <c:pt idx="169">
                  <c:v>49710</c:v>
                </c:pt>
                <c:pt idx="170">
                  <c:v>#N/A</c:v>
                </c:pt>
                <c:pt idx="171">
                  <c:v>#N/A</c:v>
                </c:pt>
                <c:pt idx="172">
                  <c:v>#N/A</c:v>
                </c:pt>
                <c:pt idx="173">
                  <c:v>#N/A</c:v>
                </c:pt>
                <c:pt idx="174">
                  <c:v>#N/A</c:v>
                </c:pt>
                <c:pt idx="175">
                  <c:v>#N/A</c:v>
                </c:pt>
                <c:pt idx="176">
                  <c:v>49170</c:v>
                </c:pt>
                <c:pt idx="177">
                  <c:v>#N/A</c:v>
                </c:pt>
                <c:pt idx="178">
                  <c:v>#N/A</c:v>
                </c:pt>
                <c:pt idx="179">
                  <c:v>#N/A</c:v>
                </c:pt>
                <c:pt idx="180">
                  <c:v>#N/A</c:v>
                </c:pt>
                <c:pt idx="181">
                  <c:v>#N/A</c:v>
                </c:pt>
                <c:pt idx="182">
                  <c:v>#N/A</c:v>
                </c:pt>
                <c:pt idx="183">
                  <c:v>46070</c:v>
                </c:pt>
                <c:pt idx="184">
                  <c:v>#N/A</c:v>
                </c:pt>
                <c:pt idx="185">
                  <c:v>#N/A</c:v>
                </c:pt>
                <c:pt idx="186">
                  <c:v>#N/A</c:v>
                </c:pt>
                <c:pt idx="187">
                  <c:v>#N/A</c:v>
                </c:pt>
                <c:pt idx="188">
                  <c:v>#N/A</c:v>
                </c:pt>
                <c:pt idx="189">
                  <c:v>#N/A</c:v>
                </c:pt>
                <c:pt idx="190">
                  <c:v>47620</c:v>
                </c:pt>
                <c:pt idx="191">
                  <c:v>#N/A</c:v>
                </c:pt>
                <c:pt idx="192">
                  <c:v>#N/A</c:v>
                </c:pt>
                <c:pt idx="193">
                  <c:v>#N/A</c:v>
                </c:pt>
                <c:pt idx="194">
                  <c:v>#N/A</c:v>
                </c:pt>
                <c:pt idx="195">
                  <c:v>#N/A</c:v>
                </c:pt>
                <c:pt idx="196">
                  <c:v>#N/A</c:v>
                </c:pt>
                <c:pt idx="197">
                  <c:v>52620</c:v>
                </c:pt>
                <c:pt idx="198">
                  <c:v>#N/A</c:v>
                </c:pt>
                <c:pt idx="199">
                  <c:v>#N/A</c:v>
                </c:pt>
                <c:pt idx="200">
                  <c:v>#N/A</c:v>
                </c:pt>
                <c:pt idx="201">
                  <c:v>#N/A</c:v>
                </c:pt>
                <c:pt idx="202">
                  <c:v>#N/A</c:v>
                </c:pt>
                <c:pt idx="203">
                  <c:v>#N/A</c:v>
                </c:pt>
                <c:pt idx="204">
                  <c:v>52620</c:v>
                </c:pt>
                <c:pt idx="205">
                  <c:v>#N/A</c:v>
                </c:pt>
                <c:pt idx="206">
                  <c:v>#N/A</c:v>
                </c:pt>
                <c:pt idx="207">
                  <c:v>#N/A</c:v>
                </c:pt>
                <c:pt idx="208">
                  <c:v>#N/A</c:v>
                </c:pt>
                <c:pt idx="209">
                  <c:v>#N/A</c:v>
                </c:pt>
                <c:pt idx="210">
                  <c:v>#N/A</c:v>
                </c:pt>
                <c:pt idx="211">
                  <c:v>52620</c:v>
                </c:pt>
                <c:pt idx="212">
                  <c:v>#N/A</c:v>
                </c:pt>
                <c:pt idx="213">
                  <c:v>#N/A</c:v>
                </c:pt>
                <c:pt idx="214">
                  <c:v>#N/A</c:v>
                </c:pt>
                <c:pt idx="215">
                  <c:v>#N/A</c:v>
                </c:pt>
                <c:pt idx="216">
                  <c:v>#N/A</c:v>
                </c:pt>
                <c:pt idx="217">
                  <c:v>#N/A</c:v>
                </c:pt>
                <c:pt idx="218">
                  <c:v>52620</c:v>
                </c:pt>
                <c:pt idx="219">
                  <c:v>#N/A</c:v>
                </c:pt>
                <c:pt idx="220">
                  <c:v>#N/A</c:v>
                </c:pt>
                <c:pt idx="221">
                  <c:v>#N/A</c:v>
                </c:pt>
                <c:pt idx="222">
                  <c:v>#N/A</c:v>
                </c:pt>
                <c:pt idx="223">
                  <c:v>#N/A</c:v>
                </c:pt>
                <c:pt idx="224">
                  <c:v>#N/A</c:v>
                </c:pt>
                <c:pt idx="225">
                  <c:v>52620</c:v>
                </c:pt>
                <c:pt idx="226">
                  <c:v>#N/A</c:v>
                </c:pt>
                <c:pt idx="227">
                  <c:v>#N/A</c:v>
                </c:pt>
                <c:pt idx="228">
                  <c:v>#N/A</c:v>
                </c:pt>
                <c:pt idx="229">
                  <c:v>#N/A</c:v>
                </c:pt>
                <c:pt idx="230">
                  <c:v>#N/A</c:v>
                </c:pt>
                <c:pt idx="231">
                  <c:v>#N/A</c:v>
                </c:pt>
                <c:pt idx="232">
                  <c:v>55620</c:v>
                </c:pt>
                <c:pt idx="233">
                  <c:v>#N/A</c:v>
                </c:pt>
                <c:pt idx="234">
                  <c:v>#N/A</c:v>
                </c:pt>
                <c:pt idx="235">
                  <c:v>#N/A</c:v>
                </c:pt>
                <c:pt idx="236">
                  <c:v>#N/A</c:v>
                </c:pt>
                <c:pt idx="237">
                  <c:v>#N/A</c:v>
                </c:pt>
                <c:pt idx="238">
                  <c:v>#N/A</c:v>
                </c:pt>
                <c:pt idx="239">
                  <c:v>55670</c:v>
                </c:pt>
                <c:pt idx="240">
                  <c:v>#N/A</c:v>
                </c:pt>
                <c:pt idx="241">
                  <c:v>#N/A</c:v>
                </c:pt>
                <c:pt idx="242">
                  <c:v>#N/A</c:v>
                </c:pt>
                <c:pt idx="243">
                  <c:v>#N/A</c:v>
                </c:pt>
                <c:pt idx="244">
                  <c:v>#N/A</c:v>
                </c:pt>
                <c:pt idx="245">
                  <c:v>#N/A</c:v>
                </c:pt>
                <c:pt idx="246">
                  <c:v>55670</c:v>
                </c:pt>
                <c:pt idx="247">
                  <c:v>#N/A</c:v>
                </c:pt>
                <c:pt idx="248">
                  <c:v>#N/A</c:v>
                </c:pt>
                <c:pt idx="249">
                  <c:v>#N/A</c:v>
                </c:pt>
                <c:pt idx="250">
                  <c:v>#N/A</c:v>
                </c:pt>
                <c:pt idx="251">
                  <c:v>#N/A</c:v>
                </c:pt>
                <c:pt idx="252">
                  <c:v>#N/A</c:v>
                </c:pt>
                <c:pt idx="253">
                  <c:v>55670</c:v>
                </c:pt>
                <c:pt idx="254">
                  <c:v>#N/A</c:v>
                </c:pt>
                <c:pt idx="255">
                  <c:v>#N/A</c:v>
                </c:pt>
                <c:pt idx="256">
                  <c:v>#N/A</c:v>
                </c:pt>
                <c:pt idx="257">
                  <c:v>#N/A</c:v>
                </c:pt>
                <c:pt idx="258">
                  <c:v>#N/A</c:v>
                </c:pt>
                <c:pt idx="259">
                  <c:v>#N/A</c:v>
                </c:pt>
                <c:pt idx="260">
                  <c:v>55670</c:v>
                </c:pt>
                <c:pt idx="261">
                  <c:v>#N/A</c:v>
                </c:pt>
                <c:pt idx="262">
                  <c:v>#N/A</c:v>
                </c:pt>
                <c:pt idx="263">
                  <c:v>#N/A</c:v>
                </c:pt>
                <c:pt idx="264">
                  <c:v>#N/A</c:v>
                </c:pt>
                <c:pt idx="265">
                  <c:v>#N/A</c:v>
                </c:pt>
                <c:pt idx="266">
                  <c:v>#N/A</c:v>
                </c:pt>
                <c:pt idx="267">
                  <c:v>55670</c:v>
                </c:pt>
                <c:pt idx="268">
                  <c:v>#N/A</c:v>
                </c:pt>
                <c:pt idx="269">
                  <c:v>#N/A</c:v>
                </c:pt>
                <c:pt idx="270">
                  <c:v>#N/A</c:v>
                </c:pt>
                <c:pt idx="271">
                  <c:v>#N/A</c:v>
                </c:pt>
                <c:pt idx="272">
                  <c:v>#N/A</c:v>
                </c:pt>
                <c:pt idx="273">
                  <c:v>#N/A</c:v>
                </c:pt>
                <c:pt idx="274">
                  <c:v>55670</c:v>
                </c:pt>
                <c:pt idx="275">
                  <c:v>#N/A</c:v>
                </c:pt>
                <c:pt idx="276">
                  <c:v>#N/A</c:v>
                </c:pt>
                <c:pt idx="277">
                  <c:v>#N/A</c:v>
                </c:pt>
                <c:pt idx="278">
                  <c:v>#N/A</c:v>
                </c:pt>
                <c:pt idx="279">
                  <c:v>#N/A</c:v>
                </c:pt>
                <c:pt idx="280">
                  <c:v>#N/A</c:v>
                </c:pt>
                <c:pt idx="281">
                  <c:v>55670</c:v>
                </c:pt>
                <c:pt idx="282">
                  <c:v>#N/A</c:v>
                </c:pt>
                <c:pt idx="283">
                  <c:v>#N/A</c:v>
                </c:pt>
                <c:pt idx="284">
                  <c:v>#N/A</c:v>
                </c:pt>
                <c:pt idx="285">
                  <c:v>#N/A</c:v>
                </c:pt>
                <c:pt idx="286">
                  <c:v>#N/A</c:v>
                </c:pt>
                <c:pt idx="287">
                  <c:v>#N/A</c:v>
                </c:pt>
                <c:pt idx="288">
                  <c:v>55670</c:v>
                </c:pt>
                <c:pt idx="289">
                  <c:v>#N/A</c:v>
                </c:pt>
                <c:pt idx="290">
                  <c:v>#N/A</c:v>
                </c:pt>
                <c:pt idx="291">
                  <c:v>#N/A</c:v>
                </c:pt>
                <c:pt idx="292">
                  <c:v>#N/A</c:v>
                </c:pt>
                <c:pt idx="293">
                  <c:v>#N/A</c:v>
                </c:pt>
                <c:pt idx="294">
                  <c:v>#N/A</c:v>
                </c:pt>
                <c:pt idx="295">
                  <c:v>55970</c:v>
                </c:pt>
                <c:pt idx="296">
                  <c:v>#N/A</c:v>
                </c:pt>
                <c:pt idx="297">
                  <c:v>#N/A</c:v>
                </c:pt>
                <c:pt idx="298">
                  <c:v>#N/A</c:v>
                </c:pt>
                <c:pt idx="299">
                  <c:v>#N/A</c:v>
                </c:pt>
                <c:pt idx="300">
                  <c:v>#N/A</c:v>
                </c:pt>
                <c:pt idx="301">
                  <c:v>#N/A</c:v>
                </c:pt>
                <c:pt idx="302">
                  <c:v>56570</c:v>
                </c:pt>
                <c:pt idx="303">
                  <c:v>#N/A</c:v>
                </c:pt>
                <c:pt idx="304">
                  <c:v>#N/A</c:v>
                </c:pt>
                <c:pt idx="305">
                  <c:v>#N/A</c:v>
                </c:pt>
                <c:pt idx="306">
                  <c:v>#N/A</c:v>
                </c:pt>
                <c:pt idx="307">
                  <c:v>#N/A</c:v>
                </c:pt>
                <c:pt idx="308">
                  <c:v>#N/A</c:v>
                </c:pt>
                <c:pt idx="309">
                  <c:v>56570</c:v>
                </c:pt>
                <c:pt idx="310">
                  <c:v>#N/A</c:v>
                </c:pt>
                <c:pt idx="311">
                  <c:v>#N/A</c:v>
                </c:pt>
                <c:pt idx="312">
                  <c:v>#N/A</c:v>
                </c:pt>
                <c:pt idx="313">
                  <c:v>#N/A</c:v>
                </c:pt>
                <c:pt idx="314">
                  <c:v>#N/A</c:v>
                </c:pt>
                <c:pt idx="315">
                  <c:v>#N/A</c:v>
                </c:pt>
                <c:pt idx="316">
                  <c:v>56670</c:v>
                </c:pt>
                <c:pt idx="317">
                  <c:v>#N/A</c:v>
                </c:pt>
                <c:pt idx="318">
                  <c:v>#N/A</c:v>
                </c:pt>
                <c:pt idx="319">
                  <c:v>#N/A</c:v>
                </c:pt>
                <c:pt idx="320">
                  <c:v>#N/A</c:v>
                </c:pt>
                <c:pt idx="321">
                  <c:v>#N/A</c:v>
                </c:pt>
                <c:pt idx="322">
                  <c:v>#N/A</c:v>
                </c:pt>
                <c:pt idx="323">
                  <c:v>56670</c:v>
                </c:pt>
                <c:pt idx="324">
                  <c:v>#N/A</c:v>
                </c:pt>
                <c:pt idx="325">
                  <c:v>#N/A</c:v>
                </c:pt>
                <c:pt idx="326">
                  <c:v>#N/A</c:v>
                </c:pt>
                <c:pt idx="327">
                  <c:v>#N/A</c:v>
                </c:pt>
                <c:pt idx="328">
                  <c:v>#N/A</c:v>
                </c:pt>
                <c:pt idx="329">
                  <c:v>#N/A</c:v>
                </c:pt>
                <c:pt idx="330">
                  <c:v>60410</c:v>
                </c:pt>
                <c:pt idx="331">
                  <c:v>#N/A</c:v>
                </c:pt>
                <c:pt idx="332">
                  <c:v>#N/A</c:v>
                </c:pt>
                <c:pt idx="333">
                  <c:v>#N/A</c:v>
                </c:pt>
                <c:pt idx="334">
                  <c:v>#N/A</c:v>
                </c:pt>
                <c:pt idx="335">
                  <c:v>#N/A</c:v>
                </c:pt>
                <c:pt idx="336">
                  <c:v>#N/A</c:v>
                </c:pt>
                <c:pt idx="337">
                  <c:v>63210</c:v>
                </c:pt>
                <c:pt idx="338">
                  <c:v>#N/A</c:v>
                </c:pt>
                <c:pt idx="339">
                  <c:v>#N/A</c:v>
                </c:pt>
                <c:pt idx="340">
                  <c:v>#N/A</c:v>
                </c:pt>
                <c:pt idx="341">
                  <c:v>#N/A</c:v>
                </c:pt>
                <c:pt idx="342">
                  <c:v>#N/A</c:v>
                </c:pt>
                <c:pt idx="343">
                  <c:v>#N/A</c:v>
                </c:pt>
                <c:pt idx="344">
                  <c:v>63210</c:v>
                </c:pt>
                <c:pt idx="345">
                  <c:v>#N/A</c:v>
                </c:pt>
                <c:pt idx="346">
                  <c:v>#N/A</c:v>
                </c:pt>
                <c:pt idx="347">
                  <c:v>#N/A</c:v>
                </c:pt>
                <c:pt idx="348">
                  <c:v>#N/A</c:v>
                </c:pt>
                <c:pt idx="349">
                  <c:v>#N/A</c:v>
                </c:pt>
                <c:pt idx="350">
                  <c:v>#N/A</c:v>
                </c:pt>
                <c:pt idx="351">
                  <c:v>62610</c:v>
                </c:pt>
                <c:pt idx="352">
                  <c:v>#N/A</c:v>
                </c:pt>
                <c:pt idx="353">
                  <c:v>#N/A</c:v>
                </c:pt>
                <c:pt idx="354">
                  <c:v>#N/A</c:v>
                </c:pt>
                <c:pt idx="355">
                  <c:v>#N/A</c:v>
                </c:pt>
                <c:pt idx="356">
                  <c:v>#N/A</c:v>
                </c:pt>
                <c:pt idx="357">
                  <c:v>#N/A</c:v>
                </c:pt>
                <c:pt idx="358">
                  <c:v>62910</c:v>
                </c:pt>
                <c:pt idx="359">
                  <c:v>#N/A</c:v>
                </c:pt>
                <c:pt idx="360">
                  <c:v>#N/A</c:v>
                </c:pt>
                <c:pt idx="361">
                  <c:v>#N/A</c:v>
                </c:pt>
                <c:pt idx="362">
                  <c:v>#N/A</c:v>
                </c:pt>
                <c:pt idx="363">
                  <c:v>#N/A</c:v>
                </c:pt>
                <c:pt idx="364">
                  <c:v>#N/A</c:v>
                </c:pt>
                <c:pt idx="365">
                  <c:v>63510</c:v>
                </c:pt>
              </c:numCache>
            </c:numRef>
          </c:val>
          <c:smooth val="0"/>
          <c:extLst>
            <c:ext xmlns:c16="http://schemas.microsoft.com/office/drawing/2014/chart" uri="{C3380CC4-5D6E-409C-BE32-E72D297353CC}">
              <c16:uniqueId val="{00000000-2111-4D88-9BA6-ED274B7CC3B8}"/>
            </c:ext>
          </c:extLst>
        </c:ser>
        <c:ser>
          <c:idx val="1"/>
          <c:order val="1"/>
          <c:tx>
            <c:strRef>
              <c:f>工业硅库存!$W$2</c:f>
              <c:strCache>
                <c:ptCount val="1"/>
                <c:pt idx="0">
                  <c:v>2022</c:v>
                </c:pt>
              </c:strCache>
            </c:strRef>
          </c:tx>
          <c:spPr>
            <a:ln w="19050" cap="rnd">
              <a:solidFill>
                <a:schemeClr val="bg1">
                  <a:lumMod val="65000"/>
                </a:schemeClr>
              </a:solidFill>
              <a:round/>
            </a:ln>
            <a:effectLst/>
          </c:spPr>
          <c:marker>
            <c:symbol val="none"/>
          </c:marker>
          <c:cat>
            <c:strRef>
              <c:f>工业硅库存!$U$3:$U$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W$3:$W$368</c:f>
              <c:numCache>
                <c:formatCode>General</c:formatCode>
                <c:ptCount val="366"/>
                <c:pt idx="0">
                  <c:v>#N/A</c:v>
                </c:pt>
                <c:pt idx="1">
                  <c:v>#N/A</c:v>
                </c:pt>
                <c:pt idx="2">
                  <c:v>#N/A</c:v>
                </c:pt>
                <c:pt idx="3">
                  <c:v>#N/A</c:v>
                </c:pt>
                <c:pt idx="4">
                  <c:v>#N/A</c:v>
                </c:pt>
                <c:pt idx="5">
                  <c:v>#N/A</c:v>
                </c:pt>
                <c:pt idx="6">
                  <c:v>63510</c:v>
                </c:pt>
                <c:pt idx="7">
                  <c:v>#N/A</c:v>
                </c:pt>
                <c:pt idx="8">
                  <c:v>#N/A</c:v>
                </c:pt>
                <c:pt idx="9">
                  <c:v>#N/A</c:v>
                </c:pt>
                <c:pt idx="10">
                  <c:v>#N/A</c:v>
                </c:pt>
                <c:pt idx="11">
                  <c:v>#N/A</c:v>
                </c:pt>
                <c:pt idx="12">
                  <c:v>#N/A</c:v>
                </c:pt>
                <c:pt idx="13">
                  <c:v>63510</c:v>
                </c:pt>
                <c:pt idx="14">
                  <c:v>#N/A</c:v>
                </c:pt>
                <c:pt idx="15">
                  <c:v>#N/A</c:v>
                </c:pt>
                <c:pt idx="16">
                  <c:v>#N/A</c:v>
                </c:pt>
                <c:pt idx="17">
                  <c:v>#N/A</c:v>
                </c:pt>
                <c:pt idx="18">
                  <c:v>#N/A</c:v>
                </c:pt>
                <c:pt idx="19">
                  <c:v>#N/A</c:v>
                </c:pt>
                <c:pt idx="20">
                  <c:v>63910</c:v>
                </c:pt>
                <c:pt idx="21">
                  <c:v>#N/A</c:v>
                </c:pt>
                <c:pt idx="22">
                  <c:v>#N/A</c:v>
                </c:pt>
                <c:pt idx="23">
                  <c:v>#N/A</c:v>
                </c:pt>
                <c:pt idx="24">
                  <c:v>#N/A</c:v>
                </c:pt>
                <c:pt idx="25">
                  <c:v>#N/A</c:v>
                </c:pt>
                <c:pt idx="26">
                  <c:v>#N/A</c:v>
                </c:pt>
                <c:pt idx="27">
                  <c:v>63910</c:v>
                </c:pt>
                <c:pt idx="28">
                  <c:v>#N/A</c:v>
                </c:pt>
                <c:pt idx="29">
                  <c:v>#N/A</c:v>
                </c:pt>
                <c:pt idx="30">
                  <c:v>#N/A</c:v>
                </c:pt>
                <c:pt idx="31">
                  <c:v>#N/A</c:v>
                </c:pt>
                <c:pt idx="32">
                  <c:v>#N/A</c:v>
                </c:pt>
                <c:pt idx="33">
                  <c:v>#N/A</c:v>
                </c:pt>
                <c:pt idx="34">
                  <c:v>63060</c:v>
                </c:pt>
                <c:pt idx="35">
                  <c:v>#N/A</c:v>
                </c:pt>
                <c:pt idx="36">
                  <c:v>#N/A</c:v>
                </c:pt>
                <c:pt idx="37">
                  <c:v>#N/A</c:v>
                </c:pt>
                <c:pt idx="38">
                  <c:v>#N/A</c:v>
                </c:pt>
                <c:pt idx="39">
                  <c:v>#N/A</c:v>
                </c:pt>
                <c:pt idx="40">
                  <c:v>#N/A</c:v>
                </c:pt>
                <c:pt idx="41">
                  <c:v>63910</c:v>
                </c:pt>
                <c:pt idx="42">
                  <c:v>#N/A</c:v>
                </c:pt>
                <c:pt idx="43">
                  <c:v>#N/A</c:v>
                </c:pt>
                <c:pt idx="44">
                  <c:v>#N/A</c:v>
                </c:pt>
                <c:pt idx="45">
                  <c:v>#N/A</c:v>
                </c:pt>
                <c:pt idx="46">
                  <c:v>#N/A</c:v>
                </c:pt>
                <c:pt idx="47">
                  <c:v>#N/A</c:v>
                </c:pt>
                <c:pt idx="48">
                  <c:v>63910</c:v>
                </c:pt>
                <c:pt idx="49">
                  <c:v>#N/A</c:v>
                </c:pt>
                <c:pt idx="50">
                  <c:v>#N/A</c:v>
                </c:pt>
                <c:pt idx="51">
                  <c:v>#N/A</c:v>
                </c:pt>
                <c:pt idx="52">
                  <c:v>#N/A</c:v>
                </c:pt>
                <c:pt idx="53">
                  <c:v>#N/A</c:v>
                </c:pt>
                <c:pt idx="54">
                  <c:v>#N/A</c:v>
                </c:pt>
                <c:pt idx="55">
                  <c:v>63610</c:v>
                </c:pt>
                <c:pt idx="56">
                  <c:v>#N/A</c:v>
                </c:pt>
                <c:pt idx="57">
                  <c:v>#N/A</c:v>
                </c:pt>
                <c:pt idx="58">
                  <c:v>#N/A</c:v>
                </c:pt>
                <c:pt idx="60">
                  <c:v>#N/A</c:v>
                </c:pt>
                <c:pt idx="61">
                  <c:v>#N/A</c:v>
                </c:pt>
                <c:pt idx="62">
                  <c:v>#N/A</c:v>
                </c:pt>
                <c:pt idx="63">
                  <c:v>63610</c:v>
                </c:pt>
                <c:pt idx="64">
                  <c:v>#N/A</c:v>
                </c:pt>
                <c:pt idx="65">
                  <c:v>#N/A</c:v>
                </c:pt>
                <c:pt idx="66">
                  <c:v>#N/A</c:v>
                </c:pt>
                <c:pt idx="67">
                  <c:v>#N/A</c:v>
                </c:pt>
                <c:pt idx="68">
                  <c:v>#N/A</c:v>
                </c:pt>
                <c:pt idx="69">
                  <c:v>#N/A</c:v>
                </c:pt>
                <c:pt idx="70">
                  <c:v>64010</c:v>
                </c:pt>
                <c:pt idx="71">
                  <c:v>#N/A</c:v>
                </c:pt>
                <c:pt idx="72">
                  <c:v>#N/A</c:v>
                </c:pt>
                <c:pt idx="73">
                  <c:v>#N/A</c:v>
                </c:pt>
                <c:pt idx="74">
                  <c:v>#N/A</c:v>
                </c:pt>
                <c:pt idx="75">
                  <c:v>#N/A</c:v>
                </c:pt>
                <c:pt idx="76">
                  <c:v>#N/A</c:v>
                </c:pt>
                <c:pt idx="77">
                  <c:v>64010</c:v>
                </c:pt>
                <c:pt idx="78">
                  <c:v>#N/A</c:v>
                </c:pt>
                <c:pt idx="79">
                  <c:v>#N/A</c:v>
                </c:pt>
                <c:pt idx="80">
                  <c:v>#N/A</c:v>
                </c:pt>
                <c:pt idx="81">
                  <c:v>#N/A</c:v>
                </c:pt>
                <c:pt idx="82">
                  <c:v>#N/A</c:v>
                </c:pt>
                <c:pt idx="83">
                  <c:v>#N/A</c:v>
                </c:pt>
                <c:pt idx="84">
                  <c:v>64010</c:v>
                </c:pt>
                <c:pt idx="85">
                  <c:v>#N/A</c:v>
                </c:pt>
                <c:pt idx="86">
                  <c:v>#N/A</c:v>
                </c:pt>
                <c:pt idx="87">
                  <c:v>#N/A</c:v>
                </c:pt>
                <c:pt idx="88">
                  <c:v>#N/A</c:v>
                </c:pt>
                <c:pt idx="89">
                  <c:v>#N/A</c:v>
                </c:pt>
                <c:pt idx="90">
                  <c:v>#N/A</c:v>
                </c:pt>
                <c:pt idx="91">
                  <c:v>69760</c:v>
                </c:pt>
                <c:pt idx="92">
                  <c:v>#N/A</c:v>
                </c:pt>
                <c:pt idx="93">
                  <c:v>#N/A</c:v>
                </c:pt>
                <c:pt idx="94">
                  <c:v>#N/A</c:v>
                </c:pt>
                <c:pt idx="95">
                  <c:v>#N/A</c:v>
                </c:pt>
                <c:pt idx="96">
                  <c:v>#N/A</c:v>
                </c:pt>
                <c:pt idx="97">
                  <c:v>#N/A</c:v>
                </c:pt>
                <c:pt idx="98">
                  <c:v>73760</c:v>
                </c:pt>
                <c:pt idx="99">
                  <c:v>#N/A</c:v>
                </c:pt>
                <c:pt idx="100">
                  <c:v>#N/A</c:v>
                </c:pt>
                <c:pt idx="101">
                  <c:v>#N/A</c:v>
                </c:pt>
                <c:pt idx="102">
                  <c:v>#N/A</c:v>
                </c:pt>
                <c:pt idx="103">
                  <c:v>#N/A</c:v>
                </c:pt>
                <c:pt idx="104">
                  <c:v>#N/A</c:v>
                </c:pt>
                <c:pt idx="105">
                  <c:v>73760</c:v>
                </c:pt>
                <c:pt idx="106">
                  <c:v>#N/A</c:v>
                </c:pt>
                <c:pt idx="107">
                  <c:v>#N/A</c:v>
                </c:pt>
                <c:pt idx="108">
                  <c:v>#N/A</c:v>
                </c:pt>
                <c:pt idx="109">
                  <c:v>#N/A</c:v>
                </c:pt>
                <c:pt idx="110">
                  <c:v>#N/A</c:v>
                </c:pt>
                <c:pt idx="111">
                  <c:v>#N/A</c:v>
                </c:pt>
                <c:pt idx="112">
                  <c:v>75760</c:v>
                </c:pt>
                <c:pt idx="113">
                  <c:v>#N/A</c:v>
                </c:pt>
                <c:pt idx="114">
                  <c:v>#N/A</c:v>
                </c:pt>
                <c:pt idx="115">
                  <c:v>#N/A</c:v>
                </c:pt>
                <c:pt idx="116">
                  <c:v>#N/A</c:v>
                </c:pt>
                <c:pt idx="117">
                  <c:v>#N/A</c:v>
                </c:pt>
                <c:pt idx="118">
                  <c:v>#N/A</c:v>
                </c:pt>
                <c:pt idx="119">
                  <c:v>75460</c:v>
                </c:pt>
                <c:pt idx="120">
                  <c:v>#N/A</c:v>
                </c:pt>
                <c:pt idx="121">
                  <c:v>#N/A</c:v>
                </c:pt>
                <c:pt idx="122">
                  <c:v>#N/A</c:v>
                </c:pt>
                <c:pt idx="123">
                  <c:v>#N/A</c:v>
                </c:pt>
                <c:pt idx="124">
                  <c:v>#N/A</c:v>
                </c:pt>
                <c:pt idx="125">
                  <c:v>#N/A</c:v>
                </c:pt>
                <c:pt idx="126">
                  <c:v>75460</c:v>
                </c:pt>
                <c:pt idx="127">
                  <c:v>#N/A</c:v>
                </c:pt>
                <c:pt idx="128">
                  <c:v>#N/A</c:v>
                </c:pt>
                <c:pt idx="129">
                  <c:v>#N/A</c:v>
                </c:pt>
                <c:pt idx="130">
                  <c:v>#N/A</c:v>
                </c:pt>
                <c:pt idx="131">
                  <c:v>#N/A</c:v>
                </c:pt>
                <c:pt idx="132">
                  <c:v>#N/A</c:v>
                </c:pt>
                <c:pt idx="133">
                  <c:v>75060</c:v>
                </c:pt>
                <c:pt idx="134">
                  <c:v>#N/A</c:v>
                </c:pt>
                <c:pt idx="135">
                  <c:v>#N/A</c:v>
                </c:pt>
                <c:pt idx="136">
                  <c:v>#N/A</c:v>
                </c:pt>
                <c:pt idx="137">
                  <c:v>#N/A</c:v>
                </c:pt>
                <c:pt idx="138">
                  <c:v>#N/A</c:v>
                </c:pt>
                <c:pt idx="139">
                  <c:v>#N/A</c:v>
                </c:pt>
                <c:pt idx="140">
                  <c:v>75060</c:v>
                </c:pt>
                <c:pt idx="141">
                  <c:v>#N/A</c:v>
                </c:pt>
                <c:pt idx="142">
                  <c:v>#N/A</c:v>
                </c:pt>
                <c:pt idx="143">
                  <c:v>#N/A</c:v>
                </c:pt>
                <c:pt idx="144">
                  <c:v>#N/A</c:v>
                </c:pt>
                <c:pt idx="145">
                  <c:v>#N/A</c:v>
                </c:pt>
                <c:pt idx="146">
                  <c:v>#N/A</c:v>
                </c:pt>
                <c:pt idx="147">
                  <c:v>75060</c:v>
                </c:pt>
                <c:pt idx="148">
                  <c:v>#N/A</c:v>
                </c:pt>
                <c:pt idx="149">
                  <c:v>#N/A</c:v>
                </c:pt>
                <c:pt idx="150">
                  <c:v>#N/A</c:v>
                </c:pt>
                <c:pt idx="151">
                  <c:v>#N/A</c:v>
                </c:pt>
                <c:pt idx="152">
                  <c:v>#N/A</c:v>
                </c:pt>
                <c:pt idx="153">
                  <c:v>#N/A</c:v>
                </c:pt>
                <c:pt idx="154">
                  <c:v>74960</c:v>
                </c:pt>
                <c:pt idx="155">
                  <c:v>#N/A</c:v>
                </c:pt>
                <c:pt idx="156">
                  <c:v>#N/A</c:v>
                </c:pt>
                <c:pt idx="157">
                  <c:v>#N/A</c:v>
                </c:pt>
                <c:pt idx="158">
                  <c:v>#N/A</c:v>
                </c:pt>
                <c:pt idx="159">
                  <c:v>#N/A</c:v>
                </c:pt>
                <c:pt idx="160">
                  <c:v>#N/A</c:v>
                </c:pt>
                <c:pt idx="161">
                  <c:v>74960</c:v>
                </c:pt>
                <c:pt idx="162">
                  <c:v>#N/A</c:v>
                </c:pt>
                <c:pt idx="163">
                  <c:v>#N/A</c:v>
                </c:pt>
                <c:pt idx="164">
                  <c:v>#N/A</c:v>
                </c:pt>
                <c:pt idx="165">
                  <c:v>#N/A</c:v>
                </c:pt>
                <c:pt idx="166">
                  <c:v>#N/A</c:v>
                </c:pt>
                <c:pt idx="167">
                  <c:v>#N/A</c:v>
                </c:pt>
                <c:pt idx="168">
                  <c:v>74960</c:v>
                </c:pt>
                <c:pt idx="169">
                  <c:v>#N/A</c:v>
                </c:pt>
                <c:pt idx="170">
                  <c:v>#N/A</c:v>
                </c:pt>
                <c:pt idx="171">
                  <c:v>#N/A</c:v>
                </c:pt>
                <c:pt idx="172">
                  <c:v>#N/A</c:v>
                </c:pt>
                <c:pt idx="173">
                  <c:v>#N/A</c:v>
                </c:pt>
                <c:pt idx="174">
                  <c:v>#N/A</c:v>
                </c:pt>
                <c:pt idx="175">
                  <c:v>74660</c:v>
                </c:pt>
                <c:pt idx="176">
                  <c:v>#N/A</c:v>
                </c:pt>
                <c:pt idx="177">
                  <c:v>#N/A</c:v>
                </c:pt>
                <c:pt idx="178">
                  <c:v>#N/A</c:v>
                </c:pt>
                <c:pt idx="179">
                  <c:v>#N/A</c:v>
                </c:pt>
                <c:pt idx="180">
                  <c:v>#N/A</c:v>
                </c:pt>
                <c:pt idx="181">
                  <c:v>#N/A</c:v>
                </c:pt>
                <c:pt idx="182">
                  <c:v>74660</c:v>
                </c:pt>
                <c:pt idx="183">
                  <c:v>#N/A</c:v>
                </c:pt>
                <c:pt idx="184">
                  <c:v>#N/A</c:v>
                </c:pt>
                <c:pt idx="185">
                  <c:v>#N/A</c:v>
                </c:pt>
                <c:pt idx="186">
                  <c:v>#N/A</c:v>
                </c:pt>
                <c:pt idx="187">
                  <c:v>#N/A</c:v>
                </c:pt>
                <c:pt idx="188">
                  <c:v>#N/A</c:v>
                </c:pt>
                <c:pt idx="189">
                  <c:v>73960</c:v>
                </c:pt>
                <c:pt idx="190">
                  <c:v>#N/A</c:v>
                </c:pt>
                <c:pt idx="191">
                  <c:v>#N/A</c:v>
                </c:pt>
                <c:pt idx="192">
                  <c:v>#N/A</c:v>
                </c:pt>
                <c:pt idx="193">
                  <c:v>#N/A</c:v>
                </c:pt>
                <c:pt idx="194">
                  <c:v>#N/A</c:v>
                </c:pt>
                <c:pt idx="195">
                  <c:v>#N/A</c:v>
                </c:pt>
                <c:pt idx="196">
                  <c:v>73760</c:v>
                </c:pt>
                <c:pt idx="197">
                  <c:v>#N/A</c:v>
                </c:pt>
                <c:pt idx="198">
                  <c:v>#N/A</c:v>
                </c:pt>
                <c:pt idx="199">
                  <c:v>#N/A</c:v>
                </c:pt>
                <c:pt idx="200">
                  <c:v>#N/A</c:v>
                </c:pt>
                <c:pt idx="201">
                  <c:v>#N/A</c:v>
                </c:pt>
                <c:pt idx="202">
                  <c:v>#N/A</c:v>
                </c:pt>
                <c:pt idx="203">
                  <c:v>73260</c:v>
                </c:pt>
                <c:pt idx="204">
                  <c:v>#N/A</c:v>
                </c:pt>
                <c:pt idx="205">
                  <c:v>#N/A</c:v>
                </c:pt>
                <c:pt idx="206">
                  <c:v>#N/A</c:v>
                </c:pt>
                <c:pt idx="207">
                  <c:v>#N/A</c:v>
                </c:pt>
                <c:pt idx="208">
                  <c:v>#N/A</c:v>
                </c:pt>
                <c:pt idx="209">
                  <c:v>#N/A</c:v>
                </c:pt>
                <c:pt idx="210">
                  <c:v>73260</c:v>
                </c:pt>
                <c:pt idx="211">
                  <c:v>#N/A</c:v>
                </c:pt>
                <c:pt idx="212">
                  <c:v>#N/A</c:v>
                </c:pt>
                <c:pt idx="213">
                  <c:v>#N/A</c:v>
                </c:pt>
                <c:pt idx="214">
                  <c:v>#N/A</c:v>
                </c:pt>
                <c:pt idx="215">
                  <c:v>#N/A</c:v>
                </c:pt>
                <c:pt idx="216">
                  <c:v>#N/A</c:v>
                </c:pt>
                <c:pt idx="217">
                  <c:v>72810</c:v>
                </c:pt>
                <c:pt idx="218">
                  <c:v>#N/A</c:v>
                </c:pt>
                <c:pt idx="219">
                  <c:v>#N/A</c:v>
                </c:pt>
                <c:pt idx="220">
                  <c:v>#N/A</c:v>
                </c:pt>
                <c:pt idx="221">
                  <c:v>#N/A</c:v>
                </c:pt>
                <c:pt idx="222">
                  <c:v>#N/A</c:v>
                </c:pt>
                <c:pt idx="223">
                  <c:v>#N/A</c:v>
                </c:pt>
                <c:pt idx="224">
                  <c:v>73010</c:v>
                </c:pt>
                <c:pt idx="225">
                  <c:v>#N/A</c:v>
                </c:pt>
                <c:pt idx="226">
                  <c:v>#N/A</c:v>
                </c:pt>
                <c:pt idx="227">
                  <c:v>#N/A</c:v>
                </c:pt>
                <c:pt idx="228">
                  <c:v>#N/A</c:v>
                </c:pt>
                <c:pt idx="229">
                  <c:v>#N/A</c:v>
                </c:pt>
                <c:pt idx="230">
                  <c:v>#N/A</c:v>
                </c:pt>
                <c:pt idx="231">
                  <c:v>72810</c:v>
                </c:pt>
                <c:pt idx="232">
                  <c:v>#N/A</c:v>
                </c:pt>
                <c:pt idx="233">
                  <c:v>#N/A</c:v>
                </c:pt>
                <c:pt idx="234">
                  <c:v>#N/A</c:v>
                </c:pt>
                <c:pt idx="235">
                  <c:v>#N/A</c:v>
                </c:pt>
                <c:pt idx="236">
                  <c:v>#N/A</c:v>
                </c:pt>
                <c:pt idx="237">
                  <c:v>#N/A</c:v>
                </c:pt>
                <c:pt idx="238">
                  <c:v>72610</c:v>
                </c:pt>
                <c:pt idx="239">
                  <c:v>#N/A</c:v>
                </c:pt>
                <c:pt idx="240">
                  <c:v>#N/A</c:v>
                </c:pt>
                <c:pt idx="241">
                  <c:v>#N/A</c:v>
                </c:pt>
                <c:pt idx="242">
                  <c:v>#N/A</c:v>
                </c:pt>
                <c:pt idx="243">
                  <c:v>#N/A</c:v>
                </c:pt>
                <c:pt idx="244">
                  <c:v>#N/A</c:v>
                </c:pt>
                <c:pt idx="245">
                  <c:v>73210</c:v>
                </c:pt>
                <c:pt idx="246">
                  <c:v>#N/A</c:v>
                </c:pt>
                <c:pt idx="247">
                  <c:v>#N/A</c:v>
                </c:pt>
                <c:pt idx="248">
                  <c:v>#N/A</c:v>
                </c:pt>
                <c:pt idx="249">
                  <c:v>#N/A</c:v>
                </c:pt>
                <c:pt idx="250">
                  <c:v>#N/A</c:v>
                </c:pt>
                <c:pt idx="251">
                  <c:v>#N/A</c:v>
                </c:pt>
                <c:pt idx="252">
                  <c:v>73210</c:v>
                </c:pt>
                <c:pt idx="253">
                  <c:v>#N/A</c:v>
                </c:pt>
                <c:pt idx="254">
                  <c:v>#N/A</c:v>
                </c:pt>
                <c:pt idx="255">
                  <c:v>#N/A</c:v>
                </c:pt>
                <c:pt idx="256">
                  <c:v>#N/A</c:v>
                </c:pt>
                <c:pt idx="257">
                  <c:v>#N/A</c:v>
                </c:pt>
                <c:pt idx="258">
                  <c:v>#N/A</c:v>
                </c:pt>
                <c:pt idx="259">
                  <c:v>73610</c:v>
                </c:pt>
                <c:pt idx="260">
                  <c:v>#N/A</c:v>
                </c:pt>
                <c:pt idx="261">
                  <c:v>#N/A</c:v>
                </c:pt>
                <c:pt idx="262">
                  <c:v>#N/A</c:v>
                </c:pt>
                <c:pt idx="263">
                  <c:v>#N/A</c:v>
                </c:pt>
                <c:pt idx="264">
                  <c:v>#N/A</c:v>
                </c:pt>
                <c:pt idx="265">
                  <c:v>#N/A</c:v>
                </c:pt>
                <c:pt idx="266">
                  <c:v>76810</c:v>
                </c:pt>
                <c:pt idx="267">
                  <c:v>#N/A</c:v>
                </c:pt>
                <c:pt idx="268">
                  <c:v>#N/A</c:v>
                </c:pt>
                <c:pt idx="269">
                  <c:v>#N/A</c:v>
                </c:pt>
                <c:pt idx="270">
                  <c:v>#N/A</c:v>
                </c:pt>
                <c:pt idx="271">
                  <c:v>#N/A</c:v>
                </c:pt>
                <c:pt idx="272">
                  <c:v>#N/A</c:v>
                </c:pt>
                <c:pt idx="273">
                  <c:v>81460</c:v>
                </c:pt>
                <c:pt idx="274">
                  <c:v>#N/A</c:v>
                </c:pt>
                <c:pt idx="275">
                  <c:v>#N/A</c:v>
                </c:pt>
                <c:pt idx="276">
                  <c:v>#N/A</c:v>
                </c:pt>
                <c:pt idx="277">
                  <c:v>#N/A</c:v>
                </c:pt>
                <c:pt idx="278">
                  <c:v>#N/A</c:v>
                </c:pt>
                <c:pt idx="279">
                  <c:v>#N/A</c:v>
                </c:pt>
                <c:pt idx="280">
                  <c:v>81460</c:v>
                </c:pt>
                <c:pt idx="281">
                  <c:v>#N/A</c:v>
                </c:pt>
                <c:pt idx="282">
                  <c:v>#N/A</c:v>
                </c:pt>
                <c:pt idx="283">
                  <c:v>#N/A</c:v>
                </c:pt>
                <c:pt idx="284">
                  <c:v>#N/A</c:v>
                </c:pt>
                <c:pt idx="285">
                  <c:v>#N/A</c:v>
                </c:pt>
                <c:pt idx="286">
                  <c:v>#N/A</c:v>
                </c:pt>
                <c:pt idx="287">
                  <c:v>82660</c:v>
                </c:pt>
                <c:pt idx="288">
                  <c:v>#N/A</c:v>
                </c:pt>
                <c:pt idx="289">
                  <c:v>#N/A</c:v>
                </c:pt>
                <c:pt idx="290">
                  <c:v>#N/A</c:v>
                </c:pt>
                <c:pt idx="291">
                  <c:v>#N/A</c:v>
                </c:pt>
                <c:pt idx="292">
                  <c:v>#N/A</c:v>
                </c:pt>
                <c:pt idx="293">
                  <c:v>#N/A</c:v>
                </c:pt>
                <c:pt idx="294">
                  <c:v>86960</c:v>
                </c:pt>
                <c:pt idx="295">
                  <c:v>#N/A</c:v>
                </c:pt>
                <c:pt idx="296">
                  <c:v>#N/A</c:v>
                </c:pt>
                <c:pt idx="297">
                  <c:v>#N/A</c:v>
                </c:pt>
                <c:pt idx="298">
                  <c:v>#N/A</c:v>
                </c:pt>
                <c:pt idx="299">
                  <c:v>#N/A</c:v>
                </c:pt>
                <c:pt idx="300">
                  <c:v>#N/A</c:v>
                </c:pt>
                <c:pt idx="301">
                  <c:v>90460</c:v>
                </c:pt>
                <c:pt idx="302">
                  <c:v>#N/A</c:v>
                </c:pt>
                <c:pt idx="303">
                  <c:v>#N/A</c:v>
                </c:pt>
                <c:pt idx="304">
                  <c:v>#N/A</c:v>
                </c:pt>
                <c:pt idx="305">
                  <c:v>#N/A</c:v>
                </c:pt>
                <c:pt idx="306">
                  <c:v>#N/A</c:v>
                </c:pt>
                <c:pt idx="307">
                  <c:v>#N/A</c:v>
                </c:pt>
                <c:pt idx="308">
                  <c:v>93580</c:v>
                </c:pt>
                <c:pt idx="309">
                  <c:v>#N/A</c:v>
                </c:pt>
                <c:pt idx="310">
                  <c:v>#N/A</c:v>
                </c:pt>
                <c:pt idx="311">
                  <c:v>#N/A</c:v>
                </c:pt>
                <c:pt idx="312">
                  <c:v>#N/A</c:v>
                </c:pt>
                <c:pt idx="313">
                  <c:v>#N/A</c:v>
                </c:pt>
                <c:pt idx="314">
                  <c:v>#N/A</c:v>
                </c:pt>
                <c:pt idx="315">
                  <c:v>94930</c:v>
                </c:pt>
                <c:pt idx="316">
                  <c:v>#N/A</c:v>
                </c:pt>
                <c:pt idx="317">
                  <c:v>#N/A</c:v>
                </c:pt>
                <c:pt idx="318">
                  <c:v>#N/A</c:v>
                </c:pt>
                <c:pt idx="319">
                  <c:v>#N/A</c:v>
                </c:pt>
                <c:pt idx="320">
                  <c:v>#N/A</c:v>
                </c:pt>
                <c:pt idx="321">
                  <c:v>#N/A</c:v>
                </c:pt>
                <c:pt idx="322">
                  <c:v>96930</c:v>
                </c:pt>
                <c:pt idx="323">
                  <c:v>#N/A</c:v>
                </c:pt>
                <c:pt idx="324">
                  <c:v>#N/A</c:v>
                </c:pt>
                <c:pt idx="325">
                  <c:v>#N/A</c:v>
                </c:pt>
                <c:pt idx="326">
                  <c:v>#N/A</c:v>
                </c:pt>
                <c:pt idx="327">
                  <c:v>#N/A</c:v>
                </c:pt>
                <c:pt idx="328">
                  <c:v>#N/A</c:v>
                </c:pt>
                <c:pt idx="329">
                  <c:v>98070</c:v>
                </c:pt>
                <c:pt idx="330">
                  <c:v>#N/A</c:v>
                </c:pt>
                <c:pt idx="331">
                  <c:v>#N/A</c:v>
                </c:pt>
                <c:pt idx="332">
                  <c:v>#N/A</c:v>
                </c:pt>
                <c:pt idx="333">
                  <c:v>#N/A</c:v>
                </c:pt>
                <c:pt idx="334">
                  <c:v>#N/A</c:v>
                </c:pt>
                <c:pt idx="335">
                  <c:v>#N/A</c:v>
                </c:pt>
                <c:pt idx="336">
                  <c:v>97170</c:v>
                </c:pt>
                <c:pt idx="337">
                  <c:v>#N/A</c:v>
                </c:pt>
                <c:pt idx="338">
                  <c:v>#N/A</c:v>
                </c:pt>
                <c:pt idx="339">
                  <c:v>#N/A</c:v>
                </c:pt>
                <c:pt idx="340">
                  <c:v>#N/A</c:v>
                </c:pt>
                <c:pt idx="341">
                  <c:v>#N/A</c:v>
                </c:pt>
                <c:pt idx="342">
                  <c:v>#N/A</c:v>
                </c:pt>
                <c:pt idx="343">
                  <c:v>97070</c:v>
                </c:pt>
                <c:pt idx="344">
                  <c:v>#N/A</c:v>
                </c:pt>
                <c:pt idx="345">
                  <c:v>#N/A</c:v>
                </c:pt>
                <c:pt idx="346">
                  <c:v>#N/A</c:v>
                </c:pt>
                <c:pt idx="347">
                  <c:v>#N/A</c:v>
                </c:pt>
                <c:pt idx="348">
                  <c:v>#N/A</c:v>
                </c:pt>
                <c:pt idx="349">
                  <c:v>#N/A</c:v>
                </c:pt>
                <c:pt idx="350">
                  <c:v>97070</c:v>
                </c:pt>
                <c:pt idx="351">
                  <c:v>#N/A</c:v>
                </c:pt>
                <c:pt idx="352">
                  <c:v>#N/A</c:v>
                </c:pt>
                <c:pt idx="353">
                  <c:v>#N/A</c:v>
                </c:pt>
                <c:pt idx="354">
                  <c:v>#N/A</c:v>
                </c:pt>
                <c:pt idx="355">
                  <c:v>#N/A</c:v>
                </c:pt>
                <c:pt idx="356">
                  <c:v>#N/A</c:v>
                </c:pt>
                <c:pt idx="357">
                  <c:v>103470</c:v>
                </c:pt>
                <c:pt idx="358">
                  <c:v>#N/A</c:v>
                </c:pt>
                <c:pt idx="359">
                  <c:v>#N/A</c:v>
                </c:pt>
                <c:pt idx="360">
                  <c:v>#N/A</c:v>
                </c:pt>
                <c:pt idx="361">
                  <c:v>#N/A</c:v>
                </c:pt>
                <c:pt idx="362">
                  <c:v>#N/A</c:v>
                </c:pt>
                <c:pt idx="363">
                  <c:v>#N/A</c:v>
                </c:pt>
                <c:pt idx="364">
                  <c:v>103470</c:v>
                </c:pt>
                <c:pt idx="365">
                  <c:v>#N/A</c:v>
                </c:pt>
              </c:numCache>
            </c:numRef>
          </c:val>
          <c:smooth val="0"/>
          <c:extLst>
            <c:ext xmlns:c16="http://schemas.microsoft.com/office/drawing/2014/chart" uri="{C3380CC4-5D6E-409C-BE32-E72D297353CC}">
              <c16:uniqueId val="{00000001-2111-4D88-9BA6-ED274B7CC3B8}"/>
            </c:ext>
          </c:extLst>
        </c:ser>
        <c:ser>
          <c:idx val="2"/>
          <c:order val="2"/>
          <c:tx>
            <c:strRef>
              <c:f>工业硅库存!$X$2</c:f>
              <c:strCache>
                <c:ptCount val="1"/>
                <c:pt idx="0">
                  <c:v>2023</c:v>
                </c:pt>
              </c:strCache>
            </c:strRef>
          </c:tx>
          <c:spPr>
            <a:ln w="19050" cap="rnd">
              <a:solidFill>
                <a:srgbClr val="308D94">
                  <a:alpha val="60000"/>
                </a:srgbClr>
              </a:solidFill>
              <a:round/>
            </a:ln>
            <a:effectLst/>
          </c:spPr>
          <c:marker>
            <c:symbol val="none"/>
          </c:marker>
          <c:cat>
            <c:strRef>
              <c:f>工业硅库存!$U$3:$U$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X$3:$X$368</c:f>
              <c:numCache>
                <c:formatCode>General</c:formatCode>
                <c:ptCount val="366"/>
                <c:pt idx="0">
                  <c:v>#N/A</c:v>
                </c:pt>
                <c:pt idx="1">
                  <c:v>#N/A</c:v>
                </c:pt>
                <c:pt idx="2">
                  <c:v>#N/A</c:v>
                </c:pt>
                <c:pt idx="3">
                  <c:v>#N/A</c:v>
                </c:pt>
                <c:pt idx="4">
                  <c:v>#N/A</c:v>
                </c:pt>
                <c:pt idx="5">
                  <c:v>104470</c:v>
                </c:pt>
                <c:pt idx="6">
                  <c:v>#N/A</c:v>
                </c:pt>
                <c:pt idx="7">
                  <c:v>#N/A</c:v>
                </c:pt>
                <c:pt idx="8">
                  <c:v>#N/A</c:v>
                </c:pt>
                <c:pt idx="9">
                  <c:v>#N/A</c:v>
                </c:pt>
                <c:pt idx="10">
                  <c:v>#N/A</c:v>
                </c:pt>
                <c:pt idx="11">
                  <c:v>#N/A</c:v>
                </c:pt>
                <c:pt idx="12">
                  <c:v>105820</c:v>
                </c:pt>
                <c:pt idx="13">
                  <c:v>#N/A</c:v>
                </c:pt>
                <c:pt idx="14">
                  <c:v>#N/A</c:v>
                </c:pt>
                <c:pt idx="15">
                  <c:v>#N/A</c:v>
                </c:pt>
                <c:pt idx="16">
                  <c:v>#N/A</c:v>
                </c:pt>
                <c:pt idx="17">
                  <c:v>#N/A</c:v>
                </c:pt>
                <c:pt idx="18">
                  <c:v>#N/A</c:v>
                </c:pt>
                <c:pt idx="19">
                  <c:v>104770</c:v>
                </c:pt>
                <c:pt idx="20">
                  <c:v>#N/A</c:v>
                </c:pt>
                <c:pt idx="21">
                  <c:v>#N/A</c:v>
                </c:pt>
                <c:pt idx="22">
                  <c:v>#N/A</c:v>
                </c:pt>
                <c:pt idx="23">
                  <c:v>#N/A</c:v>
                </c:pt>
                <c:pt idx="24">
                  <c:v>#N/A</c:v>
                </c:pt>
                <c:pt idx="25">
                  <c:v>#N/A</c:v>
                </c:pt>
                <c:pt idx="26">
                  <c:v>121310</c:v>
                </c:pt>
                <c:pt idx="27">
                  <c:v>#N/A</c:v>
                </c:pt>
                <c:pt idx="28">
                  <c:v>#N/A</c:v>
                </c:pt>
                <c:pt idx="29">
                  <c:v>#N/A</c:v>
                </c:pt>
                <c:pt idx="30">
                  <c:v>#N/A</c:v>
                </c:pt>
                <c:pt idx="31">
                  <c:v>#N/A</c:v>
                </c:pt>
                <c:pt idx="32">
                  <c:v>#N/A</c:v>
                </c:pt>
                <c:pt idx="33">
                  <c:v>110510</c:v>
                </c:pt>
                <c:pt idx="34">
                  <c:v>#N/A</c:v>
                </c:pt>
                <c:pt idx="35">
                  <c:v>#N/A</c:v>
                </c:pt>
                <c:pt idx="36">
                  <c:v>#N/A</c:v>
                </c:pt>
                <c:pt idx="37">
                  <c:v>#N/A</c:v>
                </c:pt>
                <c:pt idx="38">
                  <c:v>#N/A</c:v>
                </c:pt>
                <c:pt idx="39">
                  <c:v>#N/A</c:v>
                </c:pt>
                <c:pt idx="40">
                  <c:v>110610</c:v>
                </c:pt>
                <c:pt idx="41">
                  <c:v>#N/A</c:v>
                </c:pt>
                <c:pt idx="42">
                  <c:v>#N/A</c:v>
                </c:pt>
                <c:pt idx="43">
                  <c:v>#N/A</c:v>
                </c:pt>
                <c:pt idx="44">
                  <c:v>#N/A</c:v>
                </c:pt>
                <c:pt idx="45">
                  <c:v>#N/A</c:v>
                </c:pt>
                <c:pt idx="46">
                  <c:v>#N/A</c:v>
                </c:pt>
                <c:pt idx="47">
                  <c:v>111010</c:v>
                </c:pt>
                <c:pt idx="48">
                  <c:v>#N/A</c:v>
                </c:pt>
                <c:pt idx="49">
                  <c:v>#N/A</c:v>
                </c:pt>
                <c:pt idx="50">
                  <c:v>#N/A</c:v>
                </c:pt>
                <c:pt idx="51">
                  <c:v>#N/A</c:v>
                </c:pt>
                <c:pt idx="52">
                  <c:v>#N/A</c:v>
                </c:pt>
                <c:pt idx="53">
                  <c:v>#N/A</c:v>
                </c:pt>
                <c:pt idx="54">
                  <c:v>113010</c:v>
                </c:pt>
                <c:pt idx="55">
                  <c:v>#N/A</c:v>
                </c:pt>
                <c:pt idx="56">
                  <c:v>#N/A</c:v>
                </c:pt>
                <c:pt idx="57">
                  <c:v>#N/A</c:v>
                </c:pt>
                <c:pt idx="58">
                  <c:v>#N/A</c:v>
                </c:pt>
                <c:pt idx="60">
                  <c:v>#N/A</c:v>
                </c:pt>
                <c:pt idx="61">
                  <c:v>#N/A</c:v>
                </c:pt>
                <c:pt idx="62">
                  <c:v>109710</c:v>
                </c:pt>
                <c:pt idx="63">
                  <c:v>#N/A</c:v>
                </c:pt>
                <c:pt idx="64">
                  <c:v>#N/A</c:v>
                </c:pt>
                <c:pt idx="65">
                  <c:v>#N/A</c:v>
                </c:pt>
                <c:pt idx="66">
                  <c:v>#N/A</c:v>
                </c:pt>
                <c:pt idx="67">
                  <c:v>#N/A</c:v>
                </c:pt>
                <c:pt idx="68">
                  <c:v>#N/A</c:v>
                </c:pt>
                <c:pt idx="69">
                  <c:v>109710</c:v>
                </c:pt>
                <c:pt idx="70">
                  <c:v>#N/A</c:v>
                </c:pt>
                <c:pt idx="71">
                  <c:v>#N/A</c:v>
                </c:pt>
                <c:pt idx="72">
                  <c:v>#N/A</c:v>
                </c:pt>
                <c:pt idx="73">
                  <c:v>#N/A</c:v>
                </c:pt>
                <c:pt idx="74">
                  <c:v>#N/A</c:v>
                </c:pt>
                <c:pt idx="75">
                  <c:v>#N/A</c:v>
                </c:pt>
                <c:pt idx="76">
                  <c:v>110810</c:v>
                </c:pt>
                <c:pt idx="77">
                  <c:v>#N/A</c:v>
                </c:pt>
                <c:pt idx="78">
                  <c:v>#N/A</c:v>
                </c:pt>
                <c:pt idx="79">
                  <c:v>#N/A</c:v>
                </c:pt>
                <c:pt idx="80">
                  <c:v>#N/A</c:v>
                </c:pt>
                <c:pt idx="81">
                  <c:v>#N/A</c:v>
                </c:pt>
                <c:pt idx="82">
                  <c:v>#N/A</c:v>
                </c:pt>
                <c:pt idx="83">
                  <c:v>113510</c:v>
                </c:pt>
                <c:pt idx="84">
                  <c:v>#N/A</c:v>
                </c:pt>
                <c:pt idx="85">
                  <c:v>#N/A</c:v>
                </c:pt>
                <c:pt idx="86">
                  <c:v>#N/A</c:v>
                </c:pt>
                <c:pt idx="87">
                  <c:v>#N/A</c:v>
                </c:pt>
                <c:pt idx="88">
                  <c:v>#N/A</c:v>
                </c:pt>
                <c:pt idx="89">
                  <c:v>#N/A</c:v>
                </c:pt>
                <c:pt idx="90">
                  <c:v>113510</c:v>
                </c:pt>
                <c:pt idx="91">
                  <c:v>#N/A</c:v>
                </c:pt>
                <c:pt idx="92">
                  <c:v>#N/A</c:v>
                </c:pt>
                <c:pt idx="93">
                  <c:v>#N/A</c:v>
                </c:pt>
                <c:pt idx="94">
                  <c:v>#N/A</c:v>
                </c:pt>
                <c:pt idx="95">
                  <c:v>#N/A</c:v>
                </c:pt>
                <c:pt idx="96">
                  <c:v>#N/A</c:v>
                </c:pt>
                <c:pt idx="97">
                  <c:v>114250</c:v>
                </c:pt>
                <c:pt idx="98">
                  <c:v>#N/A</c:v>
                </c:pt>
                <c:pt idx="99">
                  <c:v>#N/A</c:v>
                </c:pt>
                <c:pt idx="100">
                  <c:v>#N/A</c:v>
                </c:pt>
                <c:pt idx="101">
                  <c:v>#N/A</c:v>
                </c:pt>
                <c:pt idx="102">
                  <c:v>#N/A</c:v>
                </c:pt>
                <c:pt idx="103">
                  <c:v>#N/A</c:v>
                </c:pt>
                <c:pt idx="104">
                  <c:v>114050</c:v>
                </c:pt>
                <c:pt idx="105">
                  <c:v>#N/A</c:v>
                </c:pt>
                <c:pt idx="106">
                  <c:v>#N/A</c:v>
                </c:pt>
                <c:pt idx="107">
                  <c:v>#N/A</c:v>
                </c:pt>
                <c:pt idx="108">
                  <c:v>#N/A</c:v>
                </c:pt>
                <c:pt idx="109">
                  <c:v>#N/A</c:v>
                </c:pt>
                <c:pt idx="110">
                  <c:v>#N/A</c:v>
                </c:pt>
                <c:pt idx="111">
                  <c:v>105650</c:v>
                </c:pt>
                <c:pt idx="112">
                  <c:v>#N/A</c:v>
                </c:pt>
                <c:pt idx="113">
                  <c:v>#N/A</c:v>
                </c:pt>
                <c:pt idx="114">
                  <c:v>#N/A</c:v>
                </c:pt>
                <c:pt idx="115">
                  <c:v>#N/A</c:v>
                </c:pt>
                <c:pt idx="116">
                  <c:v>#N/A</c:v>
                </c:pt>
                <c:pt idx="117">
                  <c:v>#N/A</c:v>
                </c:pt>
                <c:pt idx="118">
                  <c:v>104950</c:v>
                </c:pt>
                <c:pt idx="119">
                  <c:v>#N/A</c:v>
                </c:pt>
                <c:pt idx="120">
                  <c:v>#N/A</c:v>
                </c:pt>
                <c:pt idx="121">
                  <c:v>#N/A</c:v>
                </c:pt>
                <c:pt idx="122">
                  <c:v>#N/A</c:v>
                </c:pt>
                <c:pt idx="123">
                  <c:v>#N/A</c:v>
                </c:pt>
                <c:pt idx="124">
                  <c:v>#N/A</c:v>
                </c:pt>
                <c:pt idx="125">
                  <c:v>104750</c:v>
                </c:pt>
                <c:pt idx="126">
                  <c:v>#N/A</c:v>
                </c:pt>
                <c:pt idx="127">
                  <c:v>#N/A</c:v>
                </c:pt>
                <c:pt idx="128">
                  <c:v>#N/A</c:v>
                </c:pt>
                <c:pt idx="129">
                  <c:v>#N/A</c:v>
                </c:pt>
                <c:pt idx="130">
                  <c:v>#N/A</c:v>
                </c:pt>
                <c:pt idx="131">
                  <c:v>#N/A</c:v>
                </c:pt>
                <c:pt idx="132">
                  <c:v>107350</c:v>
                </c:pt>
                <c:pt idx="133">
                  <c:v>#N/A</c:v>
                </c:pt>
                <c:pt idx="134">
                  <c:v>#N/A</c:v>
                </c:pt>
                <c:pt idx="135">
                  <c:v>#N/A</c:v>
                </c:pt>
                <c:pt idx="136">
                  <c:v>#N/A</c:v>
                </c:pt>
                <c:pt idx="137">
                  <c:v>#N/A</c:v>
                </c:pt>
                <c:pt idx="138">
                  <c:v>#N/A</c:v>
                </c:pt>
                <c:pt idx="139">
                  <c:v>112350</c:v>
                </c:pt>
                <c:pt idx="140">
                  <c:v>#N/A</c:v>
                </c:pt>
                <c:pt idx="141">
                  <c:v>#N/A</c:v>
                </c:pt>
                <c:pt idx="142">
                  <c:v>#N/A</c:v>
                </c:pt>
                <c:pt idx="143">
                  <c:v>#N/A</c:v>
                </c:pt>
                <c:pt idx="144">
                  <c:v>#N/A</c:v>
                </c:pt>
                <c:pt idx="145">
                  <c:v>#N/A</c:v>
                </c:pt>
                <c:pt idx="146">
                  <c:v>112950</c:v>
                </c:pt>
                <c:pt idx="147">
                  <c:v>#N/A</c:v>
                </c:pt>
                <c:pt idx="148">
                  <c:v>#N/A</c:v>
                </c:pt>
                <c:pt idx="149">
                  <c:v>#N/A</c:v>
                </c:pt>
                <c:pt idx="150">
                  <c:v>#N/A</c:v>
                </c:pt>
                <c:pt idx="151">
                  <c:v>#N/A</c:v>
                </c:pt>
                <c:pt idx="152">
                  <c:v>#N/A</c:v>
                </c:pt>
                <c:pt idx="153">
                  <c:v>118150</c:v>
                </c:pt>
                <c:pt idx="154">
                  <c:v>#N/A</c:v>
                </c:pt>
                <c:pt idx="155">
                  <c:v>#N/A</c:v>
                </c:pt>
                <c:pt idx="156">
                  <c:v>#N/A</c:v>
                </c:pt>
                <c:pt idx="157">
                  <c:v>#N/A</c:v>
                </c:pt>
                <c:pt idx="158">
                  <c:v>#N/A</c:v>
                </c:pt>
                <c:pt idx="159">
                  <c:v>#N/A</c:v>
                </c:pt>
                <c:pt idx="160">
                  <c:v>121450</c:v>
                </c:pt>
                <c:pt idx="161">
                  <c:v>#N/A</c:v>
                </c:pt>
                <c:pt idx="162">
                  <c:v>#N/A</c:v>
                </c:pt>
                <c:pt idx="163">
                  <c:v>#N/A</c:v>
                </c:pt>
                <c:pt idx="164">
                  <c:v>#N/A</c:v>
                </c:pt>
                <c:pt idx="165">
                  <c:v>#N/A</c:v>
                </c:pt>
                <c:pt idx="166">
                  <c:v>#N/A</c:v>
                </c:pt>
                <c:pt idx="167">
                  <c:v>125050</c:v>
                </c:pt>
                <c:pt idx="168">
                  <c:v>#N/A</c:v>
                </c:pt>
                <c:pt idx="169">
                  <c:v>#N/A</c:v>
                </c:pt>
                <c:pt idx="170">
                  <c:v>#N/A</c:v>
                </c:pt>
                <c:pt idx="171">
                  <c:v>#N/A</c:v>
                </c:pt>
                <c:pt idx="172">
                  <c:v>#N/A</c:v>
                </c:pt>
                <c:pt idx="173">
                  <c:v>#N/A</c:v>
                </c:pt>
                <c:pt idx="174">
                  <c:v>128750</c:v>
                </c:pt>
                <c:pt idx="175">
                  <c:v>#N/A</c:v>
                </c:pt>
                <c:pt idx="176">
                  <c:v>#N/A</c:v>
                </c:pt>
                <c:pt idx="177">
                  <c:v>#N/A</c:v>
                </c:pt>
                <c:pt idx="178">
                  <c:v>#N/A</c:v>
                </c:pt>
                <c:pt idx="179">
                  <c:v>#N/A</c:v>
                </c:pt>
                <c:pt idx="180">
                  <c:v>#N/A</c:v>
                </c:pt>
                <c:pt idx="181">
                  <c:v>128150</c:v>
                </c:pt>
                <c:pt idx="182">
                  <c:v>#N/A</c:v>
                </c:pt>
                <c:pt idx="183">
                  <c:v>#N/A</c:v>
                </c:pt>
                <c:pt idx="184">
                  <c:v>#N/A</c:v>
                </c:pt>
                <c:pt idx="185">
                  <c:v>#N/A</c:v>
                </c:pt>
                <c:pt idx="186">
                  <c:v>#N/A</c:v>
                </c:pt>
                <c:pt idx="187">
                  <c:v>#N/A</c:v>
                </c:pt>
                <c:pt idx="188">
                  <c:v>130650</c:v>
                </c:pt>
                <c:pt idx="189">
                  <c:v>#N/A</c:v>
                </c:pt>
                <c:pt idx="190">
                  <c:v>#N/A</c:v>
                </c:pt>
                <c:pt idx="191">
                  <c:v>#N/A</c:v>
                </c:pt>
                <c:pt idx="192">
                  <c:v>#N/A</c:v>
                </c:pt>
                <c:pt idx="193">
                  <c:v>#N/A</c:v>
                </c:pt>
                <c:pt idx="194">
                  <c:v>#N/A</c:v>
                </c:pt>
                <c:pt idx="195">
                  <c:v>131100</c:v>
                </c:pt>
                <c:pt idx="196">
                  <c:v>#N/A</c:v>
                </c:pt>
                <c:pt idx="197">
                  <c:v>#N/A</c:v>
                </c:pt>
                <c:pt idx="198">
                  <c:v>#N/A</c:v>
                </c:pt>
                <c:pt idx="199">
                  <c:v>#N/A</c:v>
                </c:pt>
                <c:pt idx="200">
                  <c:v>#N/A</c:v>
                </c:pt>
                <c:pt idx="201">
                  <c:v>#N/A</c:v>
                </c:pt>
                <c:pt idx="202">
                  <c:v>131200</c:v>
                </c:pt>
                <c:pt idx="203">
                  <c:v>#N/A</c:v>
                </c:pt>
                <c:pt idx="204">
                  <c:v>#N/A</c:v>
                </c:pt>
                <c:pt idx="205">
                  <c:v>#N/A</c:v>
                </c:pt>
                <c:pt idx="206">
                  <c:v>#N/A</c:v>
                </c:pt>
                <c:pt idx="207">
                  <c:v>#N/A</c:v>
                </c:pt>
                <c:pt idx="208">
                  <c:v>#N/A</c:v>
                </c:pt>
                <c:pt idx="209">
                  <c:v>130000</c:v>
                </c:pt>
                <c:pt idx="210">
                  <c:v>#N/A</c:v>
                </c:pt>
                <c:pt idx="211">
                  <c:v>#N/A</c:v>
                </c:pt>
                <c:pt idx="212">
                  <c:v>#N/A</c:v>
                </c:pt>
                <c:pt idx="213">
                  <c:v>#N/A</c:v>
                </c:pt>
                <c:pt idx="214">
                  <c:v>#N/A</c:v>
                </c:pt>
                <c:pt idx="215">
                  <c:v>#N/A</c:v>
                </c:pt>
                <c:pt idx="216">
                  <c:v>128500</c:v>
                </c:pt>
                <c:pt idx="217">
                  <c:v>#N/A</c:v>
                </c:pt>
                <c:pt idx="218">
                  <c:v>#N/A</c:v>
                </c:pt>
                <c:pt idx="219">
                  <c:v>#N/A</c:v>
                </c:pt>
                <c:pt idx="220">
                  <c:v>#N/A</c:v>
                </c:pt>
                <c:pt idx="221">
                  <c:v>#N/A</c:v>
                </c:pt>
                <c:pt idx="222">
                  <c:v>#N/A</c:v>
                </c:pt>
                <c:pt idx="223">
                  <c:v>127800</c:v>
                </c:pt>
                <c:pt idx="224">
                  <c:v>#N/A</c:v>
                </c:pt>
                <c:pt idx="225">
                  <c:v>#N/A</c:v>
                </c:pt>
                <c:pt idx="226">
                  <c:v>#N/A</c:v>
                </c:pt>
                <c:pt idx="227">
                  <c:v>#N/A</c:v>
                </c:pt>
                <c:pt idx="228">
                  <c:v>#N/A</c:v>
                </c:pt>
                <c:pt idx="229">
                  <c:v>#N/A</c:v>
                </c:pt>
                <c:pt idx="230">
                  <c:v>123300</c:v>
                </c:pt>
                <c:pt idx="231">
                  <c:v>#N/A</c:v>
                </c:pt>
                <c:pt idx="232">
                  <c:v>#N/A</c:v>
                </c:pt>
                <c:pt idx="233">
                  <c:v>#N/A</c:v>
                </c:pt>
                <c:pt idx="234">
                  <c:v>#N/A</c:v>
                </c:pt>
                <c:pt idx="235">
                  <c:v>#N/A</c:v>
                </c:pt>
                <c:pt idx="236">
                  <c:v>#N/A</c:v>
                </c:pt>
                <c:pt idx="237">
                  <c:v>84160</c:v>
                </c:pt>
                <c:pt idx="238">
                  <c:v>#N/A</c:v>
                </c:pt>
                <c:pt idx="239">
                  <c:v>#N/A</c:v>
                </c:pt>
                <c:pt idx="240">
                  <c:v>#N/A</c:v>
                </c:pt>
                <c:pt idx="241">
                  <c:v>#N/A</c:v>
                </c:pt>
                <c:pt idx="242">
                  <c:v>#N/A</c:v>
                </c:pt>
                <c:pt idx="243">
                  <c:v>#N/A</c:v>
                </c:pt>
                <c:pt idx="244">
                  <c:v>74020</c:v>
                </c:pt>
                <c:pt idx="245">
                  <c:v>#N/A</c:v>
                </c:pt>
                <c:pt idx="246">
                  <c:v>#N/A</c:v>
                </c:pt>
                <c:pt idx="247">
                  <c:v>#N/A</c:v>
                </c:pt>
                <c:pt idx="248">
                  <c:v>#N/A</c:v>
                </c:pt>
                <c:pt idx="249">
                  <c:v>#N/A</c:v>
                </c:pt>
                <c:pt idx="250">
                  <c:v>#N/A</c:v>
                </c:pt>
                <c:pt idx="251">
                  <c:v>68300</c:v>
                </c:pt>
                <c:pt idx="252">
                  <c:v>#N/A</c:v>
                </c:pt>
                <c:pt idx="253">
                  <c:v>#N/A</c:v>
                </c:pt>
                <c:pt idx="254">
                  <c:v>#N/A</c:v>
                </c:pt>
                <c:pt idx="255">
                  <c:v>#N/A</c:v>
                </c:pt>
                <c:pt idx="256">
                  <c:v>#N/A</c:v>
                </c:pt>
                <c:pt idx="257">
                  <c:v>#N/A</c:v>
                </c:pt>
                <c:pt idx="258">
                  <c:v>61440</c:v>
                </c:pt>
                <c:pt idx="259">
                  <c:v>#N/A</c:v>
                </c:pt>
                <c:pt idx="260">
                  <c:v>#N/A</c:v>
                </c:pt>
                <c:pt idx="261">
                  <c:v>#N/A</c:v>
                </c:pt>
                <c:pt idx="262">
                  <c:v>#N/A</c:v>
                </c:pt>
                <c:pt idx="263">
                  <c:v>#N/A</c:v>
                </c:pt>
                <c:pt idx="264">
                  <c:v>#N/A</c:v>
                </c:pt>
                <c:pt idx="265">
                  <c:v>53240</c:v>
                </c:pt>
                <c:pt idx="266">
                  <c:v>#N/A</c:v>
                </c:pt>
                <c:pt idx="267">
                  <c:v>#N/A</c:v>
                </c:pt>
                <c:pt idx="268">
                  <c:v>#N/A</c:v>
                </c:pt>
                <c:pt idx="269">
                  <c:v>#N/A</c:v>
                </c:pt>
                <c:pt idx="270">
                  <c:v>#N/A</c:v>
                </c:pt>
                <c:pt idx="271">
                  <c:v>#N/A</c:v>
                </c:pt>
                <c:pt idx="272">
                  <c:v>50640</c:v>
                </c:pt>
                <c:pt idx="273">
                  <c:v>#N/A</c:v>
                </c:pt>
                <c:pt idx="274">
                  <c:v>#N/A</c:v>
                </c:pt>
                <c:pt idx="275">
                  <c:v>#N/A</c:v>
                </c:pt>
                <c:pt idx="276">
                  <c:v>#N/A</c:v>
                </c:pt>
                <c:pt idx="277">
                  <c:v>#N/A</c:v>
                </c:pt>
                <c:pt idx="278">
                  <c:v>#N/A</c:v>
                </c:pt>
                <c:pt idx="279">
                  <c:v>57100</c:v>
                </c:pt>
                <c:pt idx="280">
                  <c:v>#N/A</c:v>
                </c:pt>
                <c:pt idx="281">
                  <c:v>#N/A</c:v>
                </c:pt>
                <c:pt idx="282">
                  <c:v>#N/A</c:v>
                </c:pt>
                <c:pt idx="283">
                  <c:v>#N/A</c:v>
                </c:pt>
                <c:pt idx="284">
                  <c:v>#N/A</c:v>
                </c:pt>
                <c:pt idx="285">
                  <c:v>#N/A</c:v>
                </c:pt>
                <c:pt idx="286">
                  <c:v>59700</c:v>
                </c:pt>
                <c:pt idx="287">
                  <c:v>#N/A</c:v>
                </c:pt>
                <c:pt idx="288">
                  <c:v>#N/A</c:v>
                </c:pt>
                <c:pt idx="289">
                  <c:v>#N/A</c:v>
                </c:pt>
                <c:pt idx="290">
                  <c:v>#N/A</c:v>
                </c:pt>
                <c:pt idx="291">
                  <c:v>#N/A</c:v>
                </c:pt>
                <c:pt idx="292">
                  <c:v>#N/A</c:v>
                </c:pt>
                <c:pt idx="293">
                  <c:v>59200</c:v>
                </c:pt>
                <c:pt idx="294">
                  <c:v>#N/A</c:v>
                </c:pt>
                <c:pt idx="295">
                  <c:v>#N/A</c:v>
                </c:pt>
                <c:pt idx="296">
                  <c:v>#N/A</c:v>
                </c:pt>
                <c:pt idx="297">
                  <c:v>#N/A</c:v>
                </c:pt>
                <c:pt idx="298">
                  <c:v>#N/A</c:v>
                </c:pt>
                <c:pt idx="299">
                  <c:v>#N/A</c:v>
                </c:pt>
                <c:pt idx="300">
                  <c:v>61800</c:v>
                </c:pt>
                <c:pt idx="301">
                  <c:v>#N/A</c:v>
                </c:pt>
                <c:pt idx="302">
                  <c:v>#N/A</c:v>
                </c:pt>
                <c:pt idx="303">
                  <c:v>#N/A</c:v>
                </c:pt>
                <c:pt idx="304">
                  <c:v>#N/A</c:v>
                </c:pt>
                <c:pt idx="305">
                  <c:v>#N/A</c:v>
                </c:pt>
                <c:pt idx="306">
                  <c:v>#N/A</c:v>
                </c:pt>
                <c:pt idx="307">
                  <c:v>65300</c:v>
                </c:pt>
                <c:pt idx="308">
                  <c:v>#N/A</c:v>
                </c:pt>
                <c:pt idx="309">
                  <c:v>#N/A</c:v>
                </c:pt>
                <c:pt idx="310">
                  <c:v>#N/A</c:v>
                </c:pt>
                <c:pt idx="311">
                  <c:v>#N/A</c:v>
                </c:pt>
                <c:pt idx="312">
                  <c:v>#N/A</c:v>
                </c:pt>
                <c:pt idx="313">
                  <c:v>#N/A</c:v>
                </c:pt>
                <c:pt idx="314">
                  <c:v>67100</c:v>
                </c:pt>
                <c:pt idx="315">
                  <c:v>#N/A</c:v>
                </c:pt>
                <c:pt idx="316">
                  <c:v>#N/A</c:v>
                </c:pt>
                <c:pt idx="317">
                  <c:v>#N/A</c:v>
                </c:pt>
                <c:pt idx="318">
                  <c:v>#N/A</c:v>
                </c:pt>
                <c:pt idx="319">
                  <c:v>#N/A</c:v>
                </c:pt>
                <c:pt idx="320">
                  <c:v>#N/A</c:v>
                </c:pt>
                <c:pt idx="321">
                  <c:v>68400</c:v>
                </c:pt>
                <c:pt idx="322">
                  <c:v>#N/A</c:v>
                </c:pt>
                <c:pt idx="323">
                  <c:v>#N/A</c:v>
                </c:pt>
                <c:pt idx="324">
                  <c:v>#N/A</c:v>
                </c:pt>
                <c:pt idx="325">
                  <c:v>#N/A</c:v>
                </c:pt>
                <c:pt idx="326">
                  <c:v>#N/A</c:v>
                </c:pt>
                <c:pt idx="327">
                  <c:v>#N/A</c:v>
                </c:pt>
                <c:pt idx="328">
                  <c:v>68400</c:v>
                </c:pt>
                <c:pt idx="329">
                  <c:v>#N/A</c:v>
                </c:pt>
                <c:pt idx="330">
                  <c:v>#N/A</c:v>
                </c:pt>
                <c:pt idx="331">
                  <c:v>#N/A</c:v>
                </c:pt>
                <c:pt idx="332">
                  <c:v>#N/A</c:v>
                </c:pt>
                <c:pt idx="333">
                  <c:v>#N/A</c:v>
                </c:pt>
                <c:pt idx="334">
                  <c:v>#N/A</c:v>
                </c:pt>
                <c:pt idx="335">
                  <c:v>69200</c:v>
                </c:pt>
                <c:pt idx="336">
                  <c:v>#N/A</c:v>
                </c:pt>
                <c:pt idx="337">
                  <c:v>#N/A</c:v>
                </c:pt>
                <c:pt idx="338">
                  <c:v>#N/A</c:v>
                </c:pt>
                <c:pt idx="339">
                  <c:v>#N/A</c:v>
                </c:pt>
                <c:pt idx="340">
                  <c:v>#N/A</c:v>
                </c:pt>
                <c:pt idx="341">
                  <c:v>#N/A</c:v>
                </c:pt>
                <c:pt idx="342">
                  <c:v>69400</c:v>
                </c:pt>
                <c:pt idx="343">
                  <c:v>#N/A</c:v>
                </c:pt>
                <c:pt idx="344">
                  <c:v>#N/A</c:v>
                </c:pt>
                <c:pt idx="345">
                  <c:v>#N/A</c:v>
                </c:pt>
                <c:pt idx="346">
                  <c:v>#N/A</c:v>
                </c:pt>
                <c:pt idx="347">
                  <c:v>#N/A</c:v>
                </c:pt>
                <c:pt idx="348">
                  <c:v>#N/A</c:v>
                </c:pt>
                <c:pt idx="349">
                  <c:v>67200</c:v>
                </c:pt>
                <c:pt idx="350">
                  <c:v>#N/A</c:v>
                </c:pt>
                <c:pt idx="351">
                  <c:v>#N/A</c:v>
                </c:pt>
                <c:pt idx="352">
                  <c:v>#N/A</c:v>
                </c:pt>
                <c:pt idx="353">
                  <c:v>#N/A</c:v>
                </c:pt>
                <c:pt idx="354">
                  <c:v>#N/A</c:v>
                </c:pt>
                <c:pt idx="355">
                  <c:v>#N/A</c:v>
                </c:pt>
                <c:pt idx="356">
                  <c:v>66360</c:v>
                </c:pt>
                <c:pt idx="357">
                  <c:v>#N/A</c:v>
                </c:pt>
                <c:pt idx="358">
                  <c:v>#N/A</c:v>
                </c:pt>
                <c:pt idx="359">
                  <c:v>#N/A</c:v>
                </c:pt>
                <c:pt idx="360">
                  <c:v>#N/A</c:v>
                </c:pt>
                <c:pt idx="361">
                  <c:v>#N/A</c:v>
                </c:pt>
                <c:pt idx="362">
                  <c:v>#N/A</c:v>
                </c:pt>
                <c:pt idx="363">
                  <c:v>59860</c:v>
                </c:pt>
                <c:pt idx="364">
                  <c:v>#N/A</c:v>
                </c:pt>
                <c:pt idx="365">
                  <c:v>#N/A</c:v>
                </c:pt>
              </c:numCache>
            </c:numRef>
          </c:val>
          <c:smooth val="0"/>
          <c:extLst>
            <c:ext xmlns:c16="http://schemas.microsoft.com/office/drawing/2014/chart" uri="{C3380CC4-5D6E-409C-BE32-E72D297353CC}">
              <c16:uniqueId val="{00000002-2111-4D88-9BA6-ED274B7CC3B8}"/>
            </c:ext>
          </c:extLst>
        </c:ser>
        <c:ser>
          <c:idx val="3"/>
          <c:order val="3"/>
          <c:tx>
            <c:strRef>
              <c:f>工业硅库存!$Y$2</c:f>
              <c:strCache>
                <c:ptCount val="1"/>
                <c:pt idx="0">
                  <c:v>2024</c:v>
                </c:pt>
              </c:strCache>
            </c:strRef>
          </c:tx>
          <c:spPr>
            <a:ln w="28575" cap="rnd">
              <a:solidFill>
                <a:schemeClr val="tx1"/>
              </a:solidFill>
              <a:round/>
            </a:ln>
            <a:effectLst/>
          </c:spPr>
          <c:marker>
            <c:symbol val="none"/>
          </c:marker>
          <c:cat>
            <c:strRef>
              <c:f>工业硅库存!$U$3:$U$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Y$3:$Y$368</c:f>
              <c:numCache>
                <c:formatCode>General</c:formatCode>
                <c:ptCount val="366"/>
                <c:pt idx="0">
                  <c:v>#N/A</c:v>
                </c:pt>
                <c:pt idx="1">
                  <c:v>#N/A</c:v>
                </c:pt>
                <c:pt idx="2">
                  <c:v>#N/A</c:v>
                </c:pt>
                <c:pt idx="3">
                  <c:v>#N/A</c:v>
                </c:pt>
                <c:pt idx="4">
                  <c:v>58760</c:v>
                </c:pt>
                <c:pt idx="5">
                  <c:v>#N/A</c:v>
                </c:pt>
                <c:pt idx="6">
                  <c:v>#N/A</c:v>
                </c:pt>
                <c:pt idx="7">
                  <c:v>#N/A</c:v>
                </c:pt>
                <c:pt idx="8">
                  <c:v>#N/A</c:v>
                </c:pt>
                <c:pt idx="9">
                  <c:v>#N/A</c:v>
                </c:pt>
                <c:pt idx="10">
                  <c:v>#N/A</c:v>
                </c:pt>
                <c:pt idx="11">
                  <c:v>60060</c:v>
                </c:pt>
                <c:pt idx="12">
                  <c:v>#N/A</c:v>
                </c:pt>
                <c:pt idx="13">
                  <c:v>#N/A</c:v>
                </c:pt>
                <c:pt idx="14">
                  <c:v>#N/A</c:v>
                </c:pt>
                <c:pt idx="15">
                  <c:v>#N/A</c:v>
                </c:pt>
                <c:pt idx="16">
                  <c:v>#N/A</c:v>
                </c:pt>
                <c:pt idx="17">
                  <c:v>#N/A</c:v>
                </c:pt>
                <c:pt idx="18">
                  <c:v>59960</c:v>
                </c:pt>
                <c:pt idx="19">
                  <c:v>#N/A</c:v>
                </c:pt>
                <c:pt idx="20">
                  <c:v>#N/A</c:v>
                </c:pt>
                <c:pt idx="21">
                  <c:v>#N/A</c:v>
                </c:pt>
                <c:pt idx="22">
                  <c:v>#N/A</c:v>
                </c:pt>
                <c:pt idx="23">
                  <c:v>#N/A</c:v>
                </c:pt>
                <c:pt idx="24">
                  <c:v>#N/A</c:v>
                </c:pt>
                <c:pt idx="25">
                  <c:v>62660</c:v>
                </c:pt>
                <c:pt idx="26">
                  <c:v>#N/A</c:v>
                </c:pt>
                <c:pt idx="27">
                  <c:v>#N/A</c:v>
                </c:pt>
                <c:pt idx="28">
                  <c:v>#N/A</c:v>
                </c:pt>
                <c:pt idx="29">
                  <c:v>#N/A</c:v>
                </c:pt>
                <c:pt idx="30">
                  <c:v>#N/A</c:v>
                </c:pt>
                <c:pt idx="31">
                  <c:v>#N/A</c:v>
                </c:pt>
                <c:pt idx="32">
                  <c:v>64160</c:v>
                </c:pt>
                <c:pt idx="33">
                  <c:v>#N/A</c:v>
                </c:pt>
                <c:pt idx="34">
                  <c:v>#N/A</c:v>
                </c:pt>
                <c:pt idx="35">
                  <c:v>#N/A</c:v>
                </c:pt>
                <c:pt idx="36">
                  <c:v>#N/A</c:v>
                </c:pt>
                <c:pt idx="37">
                  <c:v>#N/A</c:v>
                </c:pt>
                <c:pt idx="38">
                  <c:v>#N/A</c:v>
                </c:pt>
                <c:pt idx="39">
                  <c:v>72310</c:v>
                </c:pt>
                <c:pt idx="40">
                  <c:v>#N/A</c:v>
                </c:pt>
                <c:pt idx="41">
                  <c:v>#N/A</c:v>
                </c:pt>
                <c:pt idx="42">
                  <c:v>#N/A</c:v>
                </c:pt>
                <c:pt idx="43">
                  <c:v>#N/A</c:v>
                </c:pt>
                <c:pt idx="44">
                  <c:v>#N/A</c:v>
                </c:pt>
                <c:pt idx="45">
                  <c:v>#N/A</c:v>
                </c:pt>
                <c:pt idx="46">
                  <c:v>82660</c:v>
                </c:pt>
                <c:pt idx="47">
                  <c:v>#N/A</c:v>
                </c:pt>
                <c:pt idx="48">
                  <c:v>#N/A</c:v>
                </c:pt>
                <c:pt idx="49">
                  <c:v>#N/A</c:v>
                </c:pt>
                <c:pt idx="50">
                  <c:v>#N/A</c:v>
                </c:pt>
                <c:pt idx="51">
                  <c:v>#N/A</c:v>
                </c:pt>
                <c:pt idx="52">
                  <c:v>#N/A</c:v>
                </c:pt>
                <c:pt idx="53">
                  <c:v>88950</c:v>
                </c:pt>
                <c:pt idx="54">
                  <c:v>#N/A</c:v>
                </c:pt>
                <c:pt idx="55">
                  <c:v>#N/A</c:v>
                </c:pt>
                <c:pt idx="56">
                  <c:v>#N/A</c:v>
                </c:pt>
                <c:pt idx="57">
                  <c:v>#N/A</c:v>
                </c:pt>
                <c:pt idx="58">
                  <c:v>#N/A</c:v>
                </c:pt>
                <c:pt idx="59">
                  <c:v>#N/A</c:v>
                </c:pt>
                <c:pt idx="60">
                  <c:v>86270</c:v>
                </c:pt>
                <c:pt idx="61">
                  <c:v>#N/A</c:v>
                </c:pt>
                <c:pt idx="62">
                  <c:v>#N/A</c:v>
                </c:pt>
                <c:pt idx="63">
                  <c:v>#N/A</c:v>
                </c:pt>
                <c:pt idx="64">
                  <c:v>#N/A</c:v>
                </c:pt>
                <c:pt idx="65">
                  <c:v>#N/A</c:v>
                </c:pt>
                <c:pt idx="66">
                  <c:v>#N/A</c:v>
                </c:pt>
                <c:pt idx="67">
                  <c:v>83370</c:v>
                </c:pt>
                <c:pt idx="68">
                  <c:v>#N/A</c:v>
                </c:pt>
                <c:pt idx="69">
                  <c:v>#N/A</c:v>
                </c:pt>
                <c:pt idx="70">
                  <c:v>#N/A</c:v>
                </c:pt>
                <c:pt idx="71">
                  <c:v>#N/A</c:v>
                </c:pt>
                <c:pt idx="72">
                  <c:v>#N/A</c:v>
                </c:pt>
                <c:pt idx="73">
                  <c:v>#N/A</c:v>
                </c:pt>
                <c:pt idx="74">
                  <c:v>81070</c:v>
                </c:pt>
                <c:pt idx="75">
                  <c:v>#N/A</c:v>
                </c:pt>
                <c:pt idx="76">
                  <c:v>#N/A</c:v>
                </c:pt>
                <c:pt idx="77">
                  <c:v>#N/A</c:v>
                </c:pt>
                <c:pt idx="78">
                  <c:v>#N/A</c:v>
                </c:pt>
                <c:pt idx="79">
                  <c:v>#N/A</c:v>
                </c:pt>
                <c:pt idx="80">
                  <c:v>#N/A</c:v>
                </c:pt>
                <c:pt idx="81">
                  <c:v>86770</c:v>
                </c:pt>
                <c:pt idx="82">
                  <c:v>#N/A</c:v>
                </c:pt>
                <c:pt idx="83">
                  <c:v>#N/A</c:v>
                </c:pt>
                <c:pt idx="84">
                  <c:v>#N/A</c:v>
                </c:pt>
                <c:pt idx="85">
                  <c:v>#N/A</c:v>
                </c:pt>
                <c:pt idx="86">
                  <c:v>#N/A</c:v>
                </c:pt>
                <c:pt idx="87">
                  <c:v>#N/A</c:v>
                </c:pt>
                <c:pt idx="88">
                  <c:v>87420</c:v>
                </c:pt>
                <c:pt idx="89">
                  <c:v>#N/A</c:v>
                </c:pt>
                <c:pt idx="90">
                  <c:v>#N/A</c:v>
                </c:pt>
                <c:pt idx="91">
                  <c:v>#N/A</c:v>
                </c:pt>
                <c:pt idx="92">
                  <c:v>#N/A</c:v>
                </c:pt>
                <c:pt idx="93">
                  <c:v>#N/A</c:v>
                </c:pt>
                <c:pt idx="94">
                  <c:v>#N/A</c:v>
                </c:pt>
                <c:pt idx="95">
                  <c:v>90320</c:v>
                </c:pt>
                <c:pt idx="96">
                  <c:v>#N/A</c:v>
                </c:pt>
                <c:pt idx="97">
                  <c:v>#N/A</c:v>
                </c:pt>
                <c:pt idx="98">
                  <c:v>#N/A</c:v>
                </c:pt>
                <c:pt idx="99">
                  <c:v>#N/A</c:v>
                </c:pt>
                <c:pt idx="100">
                  <c:v>#N/A</c:v>
                </c:pt>
                <c:pt idx="101">
                  <c:v>#N/A</c:v>
                </c:pt>
                <c:pt idx="102">
                  <c:v>90320</c:v>
                </c:pt>
                <c:pt idx="103">
                  <c:v>#N/A</c:v>
                </c:pt>
                <c:pt idx="104">
                  <c:v>#N/A</c:v>
                </c:pt>
                <c:pt idx="105">
                  <c:v>#N/A</c:v>
                </c:pt>
                <c:pt idx="106">
                  <c:v>#N/A</c:v>
                </c:pt>
                <c:pt idx="107">
                  <c:v>#N/A</c:v>
                </c:pt>
                <c:pt idx="108">
                  <c:v>#N/A</c:v>
                </c:pt>
                <c:pt idx="109">
                  <c:v>88320</c:v>
                </c:pt>
                <c:pt idx="110">
                  <c:v>#N/A</c:v>
                </c:pt>
                <c:pt idx="111">
                  <c:v>#N/A</c:v>
                </c:pt>
                <c:pt idx="112">
                  <c:v>#N/A</c:v>
                </c:pt>
                <c:pt idx="113">
                  <c:v>#N/A</c:v>
                </c:pt>
                <c:pt idx="114">
                  <c:v>#N/A</c:v>
                </c:pt>
                <c:pt idx="115">
                  <c:v>#N/A</c:v>
                </c:pt>
                <c:pt idx="116">
                  <c:v>87820</c:v>
                </c:pt>
                <c:pt idx="117">
                  <c:v>#N/A</c:v>
                </c:pt>
                <c:pt idx="118">
                  <c:v>#N/A</c:v>
                </c:pt>
                <c:pt idx="119">
                  <c:v>#N/A</c:v>
                </c:pt>
                <c:pt idx="120">
                  <c:v>#N/A</c:v>
                </c:pt>
                <c:pt idx="121">
                  <c:v>#N/A</c:v>
                </c:pt>
                <c:pt idx="122">
                  <c:v>#N/A</c:v>
                </c:pt>
                <c:pt idx="123">
                  <c:v>87620</c:v>
                </c:pt>
                <c:pt idx="124">
                  <c:v>#N/A</c:v>
                </c:pt>
                <c:pt idx="125">
                  <c:v>#N/A</c:v>
                </c:pt>
                <c:pt idx="126">
                  <c:v>#N/A</c:v>
                </c:pt>
                <c:pt idx="127">
                  <c:v>#N/A</c:v>
                </c:pt>
                <c:pt idx="128">
                  <c:v>#N/A</c:v>
                </c:pt>
                <c:pt idx="129">
                  <c:v>#N/A</c:v>
                </c:pt>
                <c:pt idx="130">
                  <c:v>88270</c:v>
                </c:pt>
                <c:pt idx="131">
                  <c:v>#N/A</c:v>
                </c:pt>
                <c:pt idx="132">
                  <c:v>#N/A</c:v>
                </c:pt>
                <c:pt idx="133">
                  <c:v>#N/A</c:v>
                </c:pt>
                <c:pt idx="134">
                  <c:v>#N/A</c:v>
                </c:pt>
                <c:pt idx="135">
                  <c:v>#N/A</c:v>
                </c:pt>
                <c:pt idx="136">
                  <c:v>#N/A</c:v>
                </c:pt>
                <c:pt idx="137">
                  <c:v>90290</c:v>
                </c:pt>
                <c:pt idx="138">
                  <c:v>#N/A</c:v>
                </c:pt>
                <c:pt idx="139">
                  <c:v>#N/A</c:v>
                </c:pt>
                <c:pt idx="140">
                  <c:v>#N/A</c:v>
                </c:pt>
                <c:pt idx="141">
                  <c:v>#N/A</c:v>
                </c:pt>
                <c:pt idx="142">
                  <c:v>#N/A</c:v>
                </c:pt>
                <c:pt idx="143">
                  <c:v>#N/A</c:v>
                </c:pt>
                <c:pt idx="144">
                  <c:v>92640</c:v>
                </c:pt>
                <c:pt idx="145">
                  <c:v>#N/A</c:v>
                </c:pt>
                <c:pt idx="146">
                  <c:v>#N/A</c:v>
                </c:pt>
                <c:pt idx="147">
                  <c:v>#N/A</c:v>
                </c:pt>
                <c:pt idx="148">
                  <c:v>#N/A</c:v>
                </c:pt>
                <c:pt idx="149">
                  <c:v>#N/A</c:v>
                </c:pt>
                <c:pt idx="150">
                  <c:v>#N/A</c:v>
                </c:pt>
                <c:pt idx="151">
                  <c:v>88140</c:v>
                </c:pt>
                <c:pt idx="152">
                  <c:v>#N/A</c:v>
                </c:pt>
                <c:pt idx="153">
                  <c:v>#N/A</c:v>
                </c:pt>
                <c:pt idx="154">
                  <c:v>#N/A</c:v>
                </c:pt>
                <c:pt idx="155">
                  <c:v>#N/A</c:v>
                </c:pt>
                <c:pt idx="156">
                  <c:v>#N/A</c:v>
                </c:pt>
                <c:pt idx="157">
                  <c:v>#N/A</c:v>
                </c:pt>
                <c:pt idx="158">
                  <c:v>87840</c:v>
                </c:pt>
                <c:pt idx="159">
                  <c:v>#N/A</c:v>
                </c:pt>
                <c:pt idx="160">
                  <c:v>#N/A</c:v>
                </c:pt>
                <c:pt idx="161">
                  <c:v>#N/A</c:v>
                </c:pt>
                <c:pt idx="162">
                  <c:v>#N/A</c:v>
                </c:pt>
                <c:pt idx="163">
                  <c:v>#N/A</c:v>
                </c:pt>
                <c:pt idx="164">
                  <c:v>#N/A</c:v>
                </c:pt>
                <c:pt idx="165">
                  <c:v>89290</c:v>
                </c:pt>
                <c:pt idx="166">
                  <c:v>#N/A</c:v>
                </c:pt>
                <c:pt idx="167">
                  <c:v>#N/A</c:v>
                </c:pt>
                <c:pt idx="168">
                  <c:v>#N/A</c:v>
                </c:pt>
                <c:pt idx="169">
                  <c:v>#N/A</c:v>
                </c:pt>
                <c:pt idx="170">
                  <c:v>#N/A</c:v>
                </c:pt>
                <c:pt idx="171">
                  <c:v>#N/A</c:v>
                </c:pt>
                <c:pt idx="172">
                  <c:v>94460</c:v>
                </c:pt>
                <c:pt idx="173">
                  <c:v>#N/A</c:v>
                </c:pt>
                <c:pt idx="174">
                  <c:v>#N/A</c:v>
                </c:pt>
                <c:pt idx="175">
                  <c:v>#N/A</c:v>
                </c:pt>
                <c:pt idx="176">
                  <c:v>#N/A</c:v>
                </c:pt>
                <c:pt idx="177">
                  <c:v>#N/A</c:v>
                </c:pt>
                <c:pt idx="178">
                  <c:v>#N/A</c:v>
                </c:pt>
                <c:pt idx="179">
                  <c:v>99490</c:v>
                </c:pt>
                <c:pt idx="180">
                  <c:v>#N/A</c:v>
                </c:pt>
                <c:pt idx="181">
                  <c:v>#N/A</c:v>
                </c:pt>
                <c:pt idx="182">
                  <c:v>#N/A</c:v>
                </c:pt>
                <c:pt idx="183">
                  <c:v>#N/A</c:v>
                </c:pt>
                <c:pt idx="184">
                  <c:v>#N/A</c:v>
                </c:pt>
                <c:pt idx="185">
                  <c:v>#N/A</c:v>
                </c:pt>
                <c:pt idx="186">
                  <c:v>10730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3-2111-4D88-9BA6-ED274B7CC3B8}"/>
            </c:ext>
          </c:extLst>
        </c:ser>
        <c:dLbls>
          <c:showLegendKey val="0"/>
          <c:showVal val="0"/>
          <c:showCatName val="0"/>
          <c:showSerName val="0"/>
          <c:showPercent val="0"/>
          <c:showBubbleSize val="0"/>
        </c:dLbls>
        <c:smooth val="0"/>
        <c:axId val="1345555727"/>
        <c:axId val="1370404159"/>
      </c:lineChart>
      <c:catAx>
        <c:axId val="13455557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ea"/>
                <a:sym typeface="+mn-lt"/>
              </a:defRPr>
            </a:pPr>
            <a:endParaRPr lang="zh-CN"/>
          </a:p>
        </c:txPr>
        <c:crossAx val="1370404159"/>
        <c:crosses val="autoZero"/>
        <c:auto val="1"/>
        <c:lblAlgn val="ctr"/>
        <c:lblOffset val="100"/>
        <c:noMultiLvlLbl val="0"/>
      </c:catAx>
      <c:valAx>
        <c:axId val="1370404159"/>
        <c:scaling>
          <c:orientation val="minMax"/>
          <c:min val="30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ea"/>
                <a:sym typeface="+mn-lt"/>
              </a:defRPr>
            </a:pPr>
            <a:endParaRPr lang="zh-CN"/>
          </a:p>
        </c:txPr>
        <c:crossAx val="134555572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mn-lt"/>
          <a:ea typeface="+mn-ea"/>
          <a:cs typeface="+mn-ea"/>
          <a:sym typeface="+mn-lt"/>
        </a:defRPr>
      </a:pPr>
      <a:endParaRPr lang="zh-CN"/>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工业硅库存!$AA$1</c:f>
          <c:strCache>
            <c:ptCount val="1"/>
            <c:pt idx="0">
              <c:v>市场库存</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ea"/>
              <a:sym typeface="+mn-lt"/>
            </a:defRPr>
          </a:pPr>
          <a:endParaRPr lang="zh-CN"/>
        </a:p>
      </c:txPr>
    </c:title>
    <c:autoTitleDeleted val="0"/>
    <c:plotArea>
      <c:layout>
        <c:manualLayout>
          <c:layoutTarget val="inner"/>
          <c:xMode val="edge"/>
          <c:yMode val="edge"/>
          <c:x val="0.11487551588674476"/>
          <c:y val="0.17685185185185184"/>
          <c:w val="0.86495918511726833"/>
          <c:h val="0.55974701079031786"/>
        </c:manualLayout>
      </c:layout>
      <c:lineChart>
        <c:grouping val="standard"/>
        <c:varyColors val="0"/>
        <c:ser>
          <c:idx val="0"/>
          <c:order val="0"/>
          <c:tx>
            <c:strRef>
              <c:f>工业硅库存!$AB$2</c:f>
              <c:strCache>
                <c:ptCount val="1"/>
                <c:pt idx="0">
                  <c:v>2021</c:v>
                </c:pt>
              </c:strCache>
            </c:strRef>
          </c:tx>
          <c:spPr>
            <a:ln w="19050" cap="rnd">
              <a:solidFill>
                <a:srgbClr val="B57222">
                  <a:alpha val="60000"/>
                </a:srgbClr>
              </a:solidFill>
              <a:round/>
            </a:ln>
            <a:effectLst/>
          </c:spPr>
          <c:marker>
            <c:symbol val="none"/>
          </c:marker>
          <c:cat>
            <c:strRef>
              <c:f>工业硅库存!$AA$3:$AA$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AB$3:$AB$368</c:f>
              <c:numCache>
                <c:formatCode>General</c:formatCode>
                <c:ptCount val="366"/>
                <c:pt idx="0">
                  <c:v>104000</c:v>
                </c:pt>
                <c:pt idx="1">
                  <c:v>#N/A</c:v>
                </c:pt>
                <c:pt idx="2">
                  <c:v>#N/A</c:v>
                </c:pt>
                <c:pt idx="3">
                  <c:v>#N/A</c:v>
                </c:pt>
                <c:pt idx="4">
                  <c:v>#N/A</c:v>
                </c:pt>
                <c:pt idx="5">
                  <c:v>#N/A</c:v>
                </c:pt>
                <c:pt idx="6">
                  <c:v>#N/A</c:v>
                </c:pt>
                <c:pt idx="7">
                  <c:v>106000</c:v>
                </c:pt>
                <c:pt idx="8">
                  <c:v>#N/A</c:v>
                </c:pt>
                <c:pt idx="9">
                  <c:v>#N/A</c:v>
                </c:pt>
                <c:pt idx="10">
                  <c:v>#N/A</c:v>
                </c:pt>
                <c:pt idx="11">
                  <c:v>#N/A</c:v>
                </c:pt>
                <c:pt idx="12">
                  <c:v>#N/A</c:v>
                </c:pt>
                <c:pt idx="13">
                  <c:v>#N/A</c:v>
                </c:pt>
                <c:pt idx="14">
                  <c:v>105000</c:v>
                </c:pt>
                <c:pt idx="15">
                  <c:v>#N/A</c:v>
                </c:pt>
                <c:pt idx="16">
                  <c:v>#N/A</c:v>
                </c:pt>
                <c:pt idx="17">
                  <c:v>#N/A</c:v>
                </c:pt>
                <c:pt idx="18">
                  <c:v>#N/A</c:v>
                </c:pt>
                <c:pt idx="19">
                  <c:v>#N/A</c:v>
                </c:pt>
                <c:pt idx="20">
                  <c:v>#N/A</c:v>
                </c:pt>
                <c:pt idx="21">
                  <c:v>95000</c:v>
                </c:pt>
                <c:pt idx="22">
                  <c:v>#N/A</c:v>
                </c:pt>
                <c:pt idx="23">
                  <c:v>#N/A</c:v>
                </c:pt>
                <c:pt idx="24">
                  <c:v>#N/A</c:v>
                </c:pt>
                <c:pt idx="25">
                  <c:v>#N/A</c:v>
                </c:pt>
                <c:pt idx="26">
                  <c:v>#N/A</c:v>
                </c:pt>
                <c:pt idx="27">
                  <c:v>#N/A</c:v>
                </c:pt>
                <c:pt idx="28">
                  <c:v>95000</c:v>
                </c:pt>
                <c:pt idx="29">
                  <c:v>#N/A</c:v>
                </c:pt>
                <c:pt idx="30">
                  <c:v>#N/A</c:v>
                </c:pt>
                <c:pt idx="31">
                  <c:v>#N/A</c:v>
                </c:pt>
                <c:pt idx="32">
                  <c:v>#N/A</c:v>
                </c:pt>
                <c:pt idx="33">
                  <c:v>#N/A</c:v>
                </c:pt>
                <c:pt idx="34">
                  <c:v>#N/A</c:v>
                </c:pt>
                <c:pt idx="35">
                  <c:v>94000</c:v>
                </c:pt>
                <c:pt idx="36">
                  <c:v>#N/A</c:v>
                </c:pt>
                <c:pt idx="37">
                  <c:v>#N/A</c:v>
                </c:pt>
                <c:pt idx="38">
                  <c:v>#N/A</c:v>
                </c:pt>
                <c:pt idx="39">
                  <c:v>#N/A</c:v>
                </c:pt>
                <c:pt idx="40">
                  <c:v>#N/A</c:v>
                </c:pt>
                <c:pt idx="41">
                  <c:v>#N/A</c:v>
                </c:pt>
                <c:pt idx="42">
                  <c:v>91000</c:v>
                </c:pt>
                <c:pt idx="43">
                  <c:v>#N/A</c:v>
                </c:pt>
                <c:pt idx="44">
                  <c:v>#N/A</c:v>
                </c:pt>
                <c:pt idx="45">
                  <c:v>#N/A</c:v>
                </c:pt>
                <c:pt idx="46">
                  <c:v>#N/A</c:v>
                </c:pt>
                <c:pt idx="47">
                  <c:v>#N/A</c:v>
                </c:pt>
                <c:pt idx="48">
                  <c:v>#N/A</c:v>
                </c:pt>
                <c:pt idx="49">
                  <c:v>87000</c:v>
                </c:pt>
                <c:pt idx="50">
                  <c:v>#N/A</c:v>
                </c:pt>
                <c:pt idx="51">
                  <c:v>#N/A</c:v>
                </c:pt>
                <c:pt idx="52">
                  <c:v>#N/A</c:v>
                </c:pt>
                <c:pt idx="53">
                  <c:v>#N/A</c:v>
                </c:pt>
                <c:pt idx="54">
                  <c:v>#N/A</c:v>
                </c:pt>
                <c:pt idx="55">
                  <c:v>#N/A</c:v>
                </c:pt>
                <c:pt idx="56">
                  <c:v>86000</c:v>
                </c:pt>
                <c:pt idx="57">
                  <c:v>#N/A</c:v>
                </c:pt>
                <c:pt idx="58">
                  <c:v>#N/A</c:v>
                </c:pt>
                <c:pt idx="60">
                  <c:v>#N/A</c:v>
                </c:pt>
                <c:pt idx="61">
                  <c:v>#N/A</c:v>
                </c:pt>
                <c:pt idx="62">
                  <c:v>#N/A</c:v>
                </c:pt>
                <c:pt idx="63">
                  <c:v>#N/A</c:v>
                </c:pt>
                <c:pt idx="64">
                  <c:v>82000</c:v>
                </c:pt>
                <c:pt idx="65">
                  <c:v>#N/A</c:v>
                </c:pt>
                <c:pt idx="66">
                  <c:v>#N/A</c:v>
                </c:pt>
                <c:pt idx="67">
                  <c:v>#N/A</c:v>
                </c:pt>
                <c:pt idx="68">
                  <c:v>#N/A</c:v>
                </c:pt>
                <c:pt idx="69">
                  <c:v>#N/A</c:v>
                </c:pt>
                <c:pt idx="70">
                  <c:v>#N/A</c:v>
                </c:pt>
                <c:pt idx="71">
                  <c:v>71000</c:v>
                </c:pt>
                <c:pt idx="72">
                  <c:v>#N/A</c:v>
                </c:pt>
                <c:pt idx="73">
                  <c:v>#N/A</c:v>
                </c:pt>
                <c:pt idx="74">
                  <c:v>#N/A</c:v>
                </c:pt>
                <c:pt idx="75">
                  <c:v>#N/A</c:v>
                </c:pt>
                <c:pt idx="76">
                  <c:v>#N/A</c:v>
                </c:pt>
                <c:pt idx="77">
                  <c:v>#N/A</c:v>
                </c:pt>
                <c:pt idx="78">
                  <c:v>71000</c:v>
                </c:pt>
                <c:pt idx="79">
                  <c:v>#N/A</c:v>
                </c:pt>
                <c:pt idx="80">
                  <c:v>#N/A</c:v>
                </c:pt>
                <c:pt idx="81">
                  <c:v>#N/A</c:v>
                </c:pt>
                <c:pt idx="82">
                  <c:v>#N/A</c:v>
                </c:pt>
                <c:pt idx="83">
                  <c:v>#N/A</c:v>
                </c:pt>
                <c:pt idx="84">
                  <c:v>#N/A</c:v>
                </c:pt>
                <c:pt idx="85">
                  <c:v>71000</c:v>
                </c:pt>
                <c:pt idx="86">
                  <c:v>#N/A</c:v>
                </c:pt>
                <c:pt idx="87">
                  <c:v>#N/A</c:v>
                </c:pt>
                <c:pt idx="88">
                  <c:v>#N/A</c:v>
                </c:pt>
                <c:pt idx="89">
                  <c:v>#N/A</c:v>
                </c:pt>
                <c:pt idx="90">
                  <c:v>#N/A</c:v>
                </c:pt>
                <c:pt idx="91">
                  <c:v>#N/A</c:v>
                </c:pt>
                <c:pt idx="92">
                  <c:v>71000</c:v>
                </c:pt>
                <c:pt idx="93">
                  <c:v>#N/A</c:v>
                </c:pt>
                <c:pt idx="94">
                  <c:v>#N/A</c:v>
                </c:pt>
                <c:pt idx="95">
                  <c:v>#N/A</c:v>
                </c:pt>
                <c:pt idx="96">
                  <c:v>#N/A</c:v>
                </c:pt>
                <c:pt idx="97">
                  <c:v>#N/A</c:v>
                </c:pt>
                <c:pt idx="98">
                  <c:v>#N/A</c:v>
                </c:pt>
                <c:pt idx="99">
                  <c:v>70000</c:v>
                </c:pt>
                <c:pt idx="100">
                  <c:v>#N/A</c:v>
                </c:pt>
                <c:pt idx="101">
                  <c:v>#N/A</c:v>
                </c:pt>
                <c:pt idx="102">
                  <c:v>#N/A</c:v>
                </c:pt>
                <c:pt idx="103">
                  <c:v>#N/A</c:v>
                </c:pt>
                <c:pt idx="104">
                  <c:v>#N/A</c:v>
                </c:pt>
                <c:pt idx="105">
                  <c:v>#N/A</c:v>
                </c:pt>
                <c:pt idx="106">
                  <c:v>69000</c:v>
                </c:pt>
                <c:pt idx="107">
                  <c:v>#N/A</c:v>
                </c:pt>
                <c:pt idx="108">
                  <c:v>#N/A</c:v>
                </c:pt>
                <c:pt idx="109">
                  <c:v>#N/A</c:v>
                </c:pt>
                <c:pt idx="110">
                  <c:v>#N/A</c:v>
                </c:pt>
                <c:pt idx="111">
                  <c:v>#N/A</c:v>
                </c:pt>
                <c:pt idx="112">
                  <c:v>#N/A</c:v>
                </c:pt>
                <c:pt idx="113">
                  <c:v>68000</c:v>
                </c:pt>
                <c:pt idx="114">
                  <c:v>#N/A</c:v>
                </c:pt>
                <c:pt idx="115">
                  <c:v>#N/A</c:v>
                </c:pt>
                <c:pt idx="116">
                  <c:v>#N/A</c:v>
                </c:pt>
                <c:pt idx="117">
                  <c:v>#N/A</c:v>
                </c:pt>
                <c:pt idx="118">
                  <c:v>#N/A</c:v>
                </c:pt>
                <c:pt idx="119">
                  <c:v>#N/A</c:v>
                </c:pt>
                <c:pt idx="120">
                  <c:v>67000</c:v>
                </c:pt>
                <c:pt idx="121">
                  <c:v>#N/A</c:v>
                </c:pt>
                <c:pt idx="122">
                  <c:v>#N/A</c:v>
                </c:pt>
                <c:pt idx="123">
                  <c:v>#N/A</c:v>
                </c:pt>
                <c:pt idx="124">
                  <c:v>#N/A</c:v>
                </c:pt>
                <c:pt idx="125">
                  <c:v>#N/A</c:v>
                </c:pt>
                <c:pt idx="126">
                  <c:v>#N/A</c:v>
                </c:pt>
                <c:pt idx="127">
                  <c:v>67000</c:v>
                </c:pt>
                <c:pt idx="128">
                  <c:v>#N/A</c:v>
                </c:pt>
                <c:pt idx="129">
                  <c:v>#N/A</c:v>
                </c:pt>
                <c:pt idx="130">
                  <c:v>#N/A</c:v>
                </c:pt>
                <c:pt idx="131">
                  <c:v>#N/A</c:v>
                </c:pt>
                <c:pt idx="132">
                  <c:v>#N/A</c:v>
                </c:pt>
                <c:pt idx="133">
                  <c:v>#N/A</c:v>
                </c:pt>
                <c:pt idx="134">
                  <c:v>41000</c:v>
                </c:pt>
                <c:pt idx="135">
                  <c:v>#N/A</c:v>
                </c:pt>
                <c:pt idx="136">
                  <c:v>#N/A</c:v>
                </c:pt>
                <c:pt idx="137">
                  <c:v>#N/A</c:v>
                </c:pt>
                <c:pt idx="138">
                  <c:v>#N/A</c:v>
                </c:pt>
                <c:pt idx="139">
                  <c:v>#N/A</c:v>
                </c:pt>
                <c:pt idx="140">
                  <c:v>#N/A</c:v>
                </c:pt>
                <c:pt idx="141">
                  <c:v>47000</c:v>
                </c:pt>
                <c:pt idx="142">
                  <c:v>#N/A</c:v>
                </c:pt>
                <c:pt idx="143">
                  <c:v>#N/A</c:v>
                </c:pt>
                <c:pt idx="144">
                  <c:v>#N/A</c:v>
                </c:pt>
                <c:pt idx="145">
                  <c:v>#N/A</c:v>
                </c:pt>
                <c:pt idx="146">
                  <c:v>#N/A</c:v>
                </c:pt>
                <c:pt idx="147">
                  <c:v>#N/A</c:v>
                </c:pt>
                <c:pt idx="148">
                  <c:v>38000</c:v>
                </c:pt>
                <c:pt idx="149">
                  <c:v>#N/A</c:v>
                </c:pt>
                <c:pt idx="150">
                  <c:v>#N/A</c:v>
                </c:pt>
                <c:pt idx="151">
                  <c:v>#N/A</c:v>
                </c:pt>
                <c:pt idx="152">
                  <c:v>#N/A</c:v>
                </c:pt>
                <c:pt idx="153">
                  <c:v>#N/A</c:v>
                </c:pt>
                <c:pt idx="154">
                  <c:v>#N/A</c:v>
                </c:pt>
                <c:pt idx="155">
                  <c:v>35000</c:v>
                </c:pt>
                <c:pt idx="156">
                  <c:v>#N/A</c:v>
                </c:pt>
                <c:pt idx="157">
                  <c:v>#N/A</c:v>
                </c:pt>
                <c:pt idx="158">
                  <c:v>#N/A</c:v>
                </c:pt>
                <c:pt idx="159">
                  <c:v>#N/A</c:v>
                </c:pt>
                <c:pt idx="160">
                  <c:v>#N/A</c:v>
                </c:pt>
                <c:pt idx="161">
                  <c:v>#N/A</c:v>
                </c:pt>
                <c:pt idx="162">
                  <c:v>33000</c:v>
                </c:pt>
                <c:pt idx="163">
                  <c:v>#N/A</c:v>
                </c:pt>
                <c:pt idx="164">
                  <c:v>#N/A</c:v>
                </c:pt>
                <c:pt idx="165">
                  <c:v>#N/A</c:v>
                </c:pt>
                <c:pt idx="166">
                  <c:v>#N/A</c:v>
                </c:pt>
                <c:pt idx="167">
                  <c:v>#N/A</c:v>
                </c:pt>
                <c:pt idx="168">
                  <c:v>#N/A</c:v>
                </c:pt>
                <c:pt idx="169">
                  <c:v>30000</c:v>
                </c:pt>
                <c:pt idx="170">
                  <c:v>#N/A</c:v>
                </c:pt>
                <c:pt idx="171">
                  <c:v>#N/A</c:v>
                </c:pt>
                <c:pt idx="172">
                  <c:v>#N/A</c:v>
                </c:pt>
                <c:pt idx="173">
                  <c:v>#N/A</c:v>
                </c:pt>
                <c:pt idx="174">
                  <c:v>#N/A</c:v>
                </c:pt>
                <c:pt idx="175">
                  <c:v>#N/A</c:v>
                </c:pt>
                <c:pt idx="176">
                  <c:v>30000</c:v>
                </c:pt>
                <c:pt idx="177">
                  <c:v>#N/A</c:v>
                </c:pt>
                <c:pt idx="178">
                  <c:v>#N/A</c:v>
                </c:pt>
                <c:pt idx="179">
                  <c:v>#N/A</c:v>
                </c:pt>
                <c:pt idx="180">
                  <c:v>#N/A</c:v>
                </c:pt>
                <c:pt idx="181">
                  <c:v>#N/A</c:v>
                </c:pt>
                <c:pt idx="182">
                  <c:v>#N/A</c:v>
                </c:pt>
                <c:pt idx="183">
                  <c:v>30500</c:v>
                </c:pt>
                <c:pt idx="184">
                  <c:v>#N/A</c:v>
                </c:pt>
                <c:pt idx="185">
                  <c:v>#N/A</c:v>
                </c:pt>
                <c:pt idx="186">
                  <c:v>#N/A</c:v>
                </c:pt>
                <c:pt idx="187">
                  <c:v>#N/A</c:v>
                </c:pt>
                <c:pt idx="188">
                  <c:v>#N/A</c:v>
                </c:pt>
                <c:pt idx="189">
                  <c:v>#N/A</c:v>
                </c:pt>
                <c:pt idx="190">
                  <c:v>33000</c:v>
                </c:pt>
                <c:pt idx="191">
                  <c:v>#N/A</c:v>
                </c:pt>
                <c:pt idx="192">
                  <c:v>#N/A</c:v>
                </c:pt>
                <c:pt idx="193">
                  <c:v>#N/A</c:v>
                </c:pt>
                <c:pt idx="194">
                  <c:v>#N/A</c:v>
                </c:pt>
                <c:pt idx="195">
                  <c:v>#N/A</c:v>
                </c:pt>
                <c:pt idx="196">
                  <c:v>#N/A</c:v>
                </c:pt>
                <c:pt idx="197">
                  <c:v>34000</c:v>
                </c:pt>
                <c:pt idx="198">
                  <c:v>#N/A</c:v>
                </c:pt>
                <c:pt idx="199">
                  <c:v>#N/A</c:v>
                </c:pt>
                <c:pt idx="200">
                  <c:v>#N/A</c:v>
                </c:pt>
                <c:pt idx="201">
                  <c:v>#N/A</c:v>
                </c:pt>
                <c:pt idx="202">
                  <c:v>#N/A</c:v>
                </c:pt>
                <c:pt idx="203">
                  <c:v>#N/A</c:v>
                </c:pt>
                <c:pt idx="204">
                  <c:v>35000</c:v>
                </c:pt>
                <c:pt idx="205">
                  <c:v>#N/A</c:v>
                </c:pt>
                <c:pt idx="206">
                  <c:v>#N/A</c:v>
                </c:pt>
                <c:pt idx="207">
                  <c:v>#N/A</c:v>
                </c:pt>
                <c:pt idx="208">
                  <c:v>#N/A</c:v>
                </c:pt>
                <c:pt idx="209">
                  <c:v>#N/A</c:v>
                </c:pt>
                <c:pt idx="210">
                  <c:v>#N/A</c:v>
                </c:pt>
                <c:pt idx="211">
                  <c:v>38000</c:v>
                </c:pt>
                <c:pt idx="212">
                  <c:v>#N/A</c:v>
                </c:pt>
                <c:pt idx="213">
                  <c:v>#N/A</c:v>
                </c:pt>
                <c:pt idx="214">
                  <c:v>#N/A</c:v>
                </c:pt>
                <c:pt idx="215">
                  <c:v>#N/A</c:v>
                </c:pt>
                <c:pt idx="216">
                  <c:v>#N/A</c:v>
                </c:pt>
                <c:pt idx="217">
                  <c:v>#N/A</c:v>
                </c:pt>
                <c:pt idx="218">
                  <c:v>40000</c:v>
                </c:pt>
                <c:pt idx="219">
                  <c:v>#N/A</c:v>
                </c:pt>
                <c:pt idx="220">
                  <c:v>#N/A</c:v>
                </c:pt>
                <c:pt idx="221">
                  <c:v>#N/A</c:v>
                </c:pt>
                <c:pt idx="222">
                  <c:v>#N/A</c:v>
                </c:pt>
                <c:pt idx="223">
                  <c:v>#N/A</c:v>
                </c:pt>
                <c:pt idx="224">
                  <c:v>#N/A</c:v>
                </c:pt>
                <c:pt idx="225">
                  <c:v>46000</c:v>
                </c:pt>
                <c:pt idx="226">
                  <c:v>#N/A</c:v>
                </c:pt>
                <c:pt idx="227">
                  <c:v>#N/A</c:v>
                </c:pt>
                <c:pt idx="228">
                  <c:v>#N/A</c:v>
                </c:pt>
                <c:pt idx="229">
                  <c:v>#N/A</c:v>
                </c:pt>
                <c:pt idx="230">
                  <c:v>#N/A</c:v>
                </c:pt>
                <c:pt idx="231">
                  <c:v>#N/A</c:v>
                </c:pt>
                <c:pt idx="232">
                  <c:v>52000</c:v>
                </c:pt>
                <c:pt idx="233">
                  <c:v>#N/A</c:v>
                </c:pt>
                <c:pt idx="234">
                  <c:v>#N/A</c:v>
                </c:pt>
                <c:pt idx="235">
                  <c:v>#N/A</c:v>
                </c:pt>
                <c:pt idx="236">
                  <c:v>#N/A</c:v>
                </c:pt>
                <c:pt idx="237">
                  <c:v>#N/A</c:v>
                </c:pt>
                <c:pt idx="238">
                  <c:v>#N/A</c:v>
                </c:pt>
                <c:pt idx="239">
                  <c:v>54000</c:v>
                </c:pt>
                <c:pt idx="240">
                  <c:v>#N/A</c:v>
                </c:pt>
                <c:pt idx="241">
                  <c:v>#N/A</c:v>
                </c:pt>
                <c:pt idx="242">
                  <c:v>#N/A</c:v>
                </c:pt>
                <c:pt idx="243">
                  <c:v>#N/A</c:v>
                </c:pt>
                <c:pt idx="244">
                  <c:v>#N/A</c:v>
                </c:pt>
                <c:pt idx="245">
                  <c:v>#N/A</c:v>
                </c:pt>
                <c:pt idx="246">
                  <c:v>58000</c:v>
                </c:pt>
                <c:pt idx="247">
                  <c:v>#N/A</c:v>
                </c:pt>
                <c:pt idx="248">
                  <c:v>#N/A</c:v>
                </c:pt>
                <c:pt idx="249">
                  <c:v>#N/A</c:v>
                </c:pt>
                <c:pt idx="250">
                  <c:v>#N/A</c:v>
                </c:pt>
                <c:pt idx="251">
                  <c:v>#N/A</c:v>
                </c:pt>
                <c:pt idx="252">
                  <c:v>#N/A</c:v>
                </c:pt>
                <c:pt idx="253">
                  <c:v>64000</c:v>
                </c:pt>
                <c:pt idx="254">
                  <c:v>#N/A</c:v>
                </c:pt>
                <c:pt idx="255">
                  <c:v>#N/A</c:v>
                </c:pt>
                <c:pt idx="256">
                  <c:v>#N/A</c:v>
                </c:pt>
                <c:pt idx="257">
                  <c:v>#N/A</c:v>
                </c:pt>
                <c:pt idx="258">
                  <c:v>#N/A</c:v>
                </c:pt>
                <c:pt idx="259">
                  <c:v>#N/A</c:v>
                </c:pt>
                <c:pt idx="260">
                  <c:v>64000</c:v>
                </c:pt>
                <c:pt idx="261">
                  <c:v>#N/A</c:v>
                </c:pt>
                <c:pt idx="262">
                  <c:v>#N/A</c:v>
                </c:pt>
                <c:pt idx="263">
                  <c:v>#N/A</c:v>
                </c:pt>
                <c:pt idx="264">
                  <c:v>#N/A</c:v>
                </c:pt>
                <c:pt idx="265">
                  <c:v>#N/A</c:v>
                </c:pt>
                <c:pt idx="266">
                  <c:v>#N/A</c:v>
                </c:pt>
                <c:pt idx="267">
                  <c:v>69000</c:v>
                </c:pt>
                <c:pt idx="268">
                  <c:v>#N/A</c:v>
                </c:pt>
                <c:pt idx="269">
                  <c:v>#N/A</c:v>
                </c:pt>
                <c:pt idx="270">
                  <c:v>#N/A</c:v>
                </c:pt>
                <c:pt idx="271">
                  <c:v>#N/A</c:v>
                </c:pt>
                <c:pt idx="272">
                  <c:v>#N/A</c:v>
                </c:pt>
                <c:pt idx="273">
                  <c:v>#N/A</c:v>
                </c:pt>
                <c:pt idx="274">
                  <c:v>74000</c:v>
                </c:pt>
                <c:pt idx="275">
                  <c:v>#N/A</c:v>
                </c:pt>
                <c:pt idx="276">
                  <c:v>#N/A</c:v>
                </c:pt>
                <c:pt idx="277">
                  <c:v>#N/A</c:v>
                </c:pt>
                <c:pt idx="278">
                  <c:v>#N/A</c:v>
                </c:pt>
                <c:pt idx="279">
                  <c:v>#N/A</c:v>
                </c:pt>
                <c:pt idx="280">
                  <c:v>#N/A</c:v>
                </c:pt>
                <c:pt idx="281">
                  <c:v>78000</c:v>
                </c:pt>
                <c:pt idx="282">
                  <c:v>#N/A</c:v>
                </c:pt>
                <c:pt idx="283">
                  <c:v>#N/A</c:v>
                </c:pt>
                <c:pt idx="284">
                  <c:v>#N/A</c:v>
                </c:pt>
                <c:pt idx="285">
                  <c:v>#N/A</c:v>
                </c:pt>
                <c:pt idx="286">
                  <c:v>#N/A</c:v>
                </c:pt>
                <c:pt idx="287">
                  <c:v>#N/A</c:v>
                </c:pt>
                <c:pt idx="288">
                  <c:v>85000</c:v>
                </c:pt>
                <c:pt idx="289">
                  <c:v>#N/A</c:v>
                </c:pt>
                <c:pt idx="290">
                  <c:v>#N/A</c:v>
                </c:pt>
                <c:pt idx="291">
                  <c:v>#N/A</c:v>
                </c:pt>
                <c:pt idx="292">
                  <c:v>#N/A</c:v>
                </c:pt>
                <c:pt idx="293">
                  <c:v>#N/A</c:v>
                </c:pt>
                <c:pt idx="294">
                  <c:v>#N/A</c:v>
                </c:pt>
                <c:pt idx="295">
                  <c:v>91000</c:v>
                </c:pt>
                <c:pt idx="296">
                  <c:v>#N/A</c:v>
                </c:pt>
                <c:pt idx="297">
                  <c:v>#N/A</c:v>
                </c:pt>
                <c:pt idx="298">
                  <c:v>#N/A</c:v>
                </c:pt>
                <c:pt idx="299">
                  <c:v>#N/A</c:v>
                </c:pt>
                <c:pt idx="300">
                  <c:v>#N/A</c:v>
                </c:pt>
                <c:pt idx="301">
                  <c:v>#N/A</c:v>
                </c:pt>
                <c:pt idx="302">
                  <c:v>96000</c:v>
                </c:pt>
                <c:pt idx="303">
                  <c:v>#N/A</c:v>
                </c:pt>
                <c:pt idx="304">
                  <c:v>#N/A</c:v>
                </c:pt>
                <c:pt idx="305">
                  <c:v>#N/A</c:v>
                </c:pt>
                <c:pt idx="306">
                  <c:v>#N/A</c:v>
                </c:pt>
                <c:pt idx="307">
                  <c:v>#N/A</c:v>
                </c:pt>
                <c:pt idx="308">
                  <c:v>#N/A</c:v>
                </c:pt>
                <c:pt idx="309">
                  <c:v>97000</c:v>
                </c:pt>
                <c:pt idx="310">
                  <c:v>#N/A</c:v>
                </c:pt>
                <c:pt idx="311">
                  <c:v>#N/A</c:v>
                </c:pt>
                <c:pt idx="312">
                  <c:v>#N/A</c:v>
                </c:pt>
                <c:pt idx="313">
                  <c:v>#N/A</c:v>
                </c:pt>
                <c:pt idx="314">
                  <c:v>#N/A</c:v>
                </c:pt>
                <c:pt idx="315">
                  <c:v>#N/A</c:v>
                </c:pt>
                <c:pt idx="316">
                  <c:v>96000</c:v>
                </c:pt>
                <c:pt idx="317">
                  <c:v>#N/A</c:v>
                </c:pt>
                <c:pt idx="318">
                  <c:v>#N/A</c:v>
                </c:pt>
                <c:pt idx="319">
                  <c:v>#N/A</c:v>
                </c:pt>
                <c:pt idx="320">
                  <c:v>#N/A</c:v>
                </c:pt>
                <c:pt idx="321">
                  <c:v>#N/A</c:v>
                </c:pt>
                <c:pt idx="322">
                  <c:v>#N/A</c:v>
                </c:pt>
                <c:pt idx="323">
                  <c:v>97000</c:v>
                </c:pt>
                <c:pt idx="324">
                  <c:v>#N/A</c:v>
                </c:pt>
                <c:pt idx="325">
                  <c:v>#N/A</c:v>
                </c:pt>
                <c:pt idx="326">
                  <c:v>#N/A</c:v>
                </c:pt>
                <c:pt idx="327">
                  <c:v>#N/A</c:v>
                </c:pt>
                <c:pt idx="328">
                  <c:v>#N/A</c:v>
                </c:pt>
                <c:pt idx="329">
                  <c:v>#N/A</c:v>
                </c:pt>
                <c:pt idx="330">
                  <c:v>100000</c:v>
                </c:pt>
                <c:pt idx="331">
                  <c:v>#N/A</c:v>
                </c:pt>
                <c:pt idx="332">
                  <c:v>#N/A</c:v>
                </c:pt>
                <c:pt idx="333">
                  <c:v>#N/A</c:v>
                </c:pt>
                <c:pt idx="334">
                  <c:v>#N/A</c:v>
                </c:pt>
                <c:pt idx="335">
                  <c:v>#N/A</c:v>
                </c:pt>
                <c:pt idx="336">
                  <c:v>#N/A</c:v>
                </c:pt>
                <c:pt idx="337">
                  <c:v>102000</c:v>
                </c:pt>
                <c:pt idx="338">
                  <c:v>#N/A</c:v>
                </c:pt>
                <c:pt idx="339">
                  <c:v>#N/A</c:v>
                </c:pt>
                <c:pt idx="340">
                  <c:v>#N/A</c:v>
                </c:pt>
                <c:pt idx="341">
                  <c:v>#N/A</c:v>
                </c:pt>
                <c:pt idx="342">
                  <c:v>#N/A</c:v>
                </c:pt>
                <c:pt idx="343">
                  <c:v>#N/A</c:v>
                </c:pt>
                <c:pt idx="344">
                  <c:v>102000</c:v>
                </c:pt>
                <c:pt idx="345">
                  <c:v>#N/A</c:v>
                </c:pt>
                <c:pt idx="346">
                  <c:v>#N/A</c:v>
                </c:pt>
                <c:pt idx="347">
                  <c:v>#N/A</c:v>
                </c:pt>
                <c:pt idx="348">
                  <c:v>#N/A</c:v>
                </c:pt>
                <c:pt idx="349">
                  <c:v>#N/A</c:v>
                </c:pt>
                <c:pt idx="350">
                  <c:v>#N/A</c:v>
                </c:pt>
                <c:pt idx="351">
                  <c:v>106000</c:v>
                </c:pt>
                <c:pt idx="352">
                  <c:v>#N/A</c:v>
                </c:pt>
                <c:pt idx="353">
                  <c:v>#N/A</c:v>
                </c:pt>
                <c:pt idx="354">
                  <c:v>#N/A</c:v>
                </c:pt>
                <c:pt idx="355">
                  <c:v>#N/A</c:v>
                </c:pt>
                <c:pt idx="356">
                  <c:v>#N/A</c:v>
                </c:pt>
                <c:pt idx="357">
                  <c:v>#N/A</c:v>
                </c:pt>
                <c:pt idx="358">
                  <c:v>107000</c:v>
                </c:pt>
                <c:pt idx="359">
                  <c:v>#N/A</c:v>
                </c:pt>
                <c:pt idx="360">
                  <c:v>#N/A</c:v>
                </c:pt>
                <c:pt idx="361">
                  <c:v>#N/A</c:v>
                </c:pt>
                <c:pt idx="362">
                  <c:v>#N/A</c:v>
                </c:pt>
                <c:pt idx="363">
                  <c:v>#N/A</c:v>
                </c:pt>
                <c:pt idx="364">
                  <c:v>#N/A</c:v>
                </c:pt>
                <c:pt idx="365">
                  <c:v>112000</c:v>
                </c:pt>
              </c:numCache>
            </c:numRef>
          </c:val>
          <c:smooth val="0"/>
          <c:extLst>
            <c:ext xmlns:c16="http://schemas.microsoft.com/office/drawing/2014/chart" uri="{C3380CC4-5D6E-409C-BE32-E72D297353CC}">
              <c16:uniqueId val="{00000000-80B1-4CBA-A7D7-5D4AA8FACA48}"/>
            </c:ext>
          </c:extLst>
        </c:ser>
        <c:ser>
          <c:idx val="1"/>
          <c:order val="1"/>
          <c:tx>
            <c:strRef>
              <c:f>工业硅库存!$AC$2</c:f>
              <c:strCache>
                <c:ptCount val="1"/>
                <c:pt idx="0">
                  <c:v>2022</c:v>
                </c:pt>
              </c:strCache>
            </c:strRef>
          </c:tx>
          <c:spPr>
            <a:ln w="19050" cap="rnd">
              <a:solidFill>
                <a:srgbClr val="A6A6A6">
                  <a:alpha val="80000"/>
                </a:srgbClr>
              </a:solidFill>
              <a:round/>
            </a:ln>
            <a:effectLst/>
          </c:spPr>
          <c:marker>
            <c:symbol val="none"/>
          </c:marker>
          <c:cat>
            <c:strRef>
              <c:f>工业硅库存!$AA$3:$AA$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AC$3:$AC$368</c:f>
              <c:numCache>
                <c:formatCode>General</c:formatCode>
                <c:ptCount val="366"/>
                <c:pt idx="0">
                  <c:v>#N/A</c:v>
                </c:pt>
                <c:pt idx="1">
                  <c:v>#N/A</c:v>
                </c:pt>
                <c:pt idx="2">
                  <c:v>#N/A</c:v>
                </c:pt>
                <c:pt idx="3">
                  <c:v>#N/A</c:v>
                </c:pt>
                <c:pt idx="4">
                  <c:v>#N/A</c:v>
                </c:pt>
                <c:pt idx="5">
                  <c:v>#N/A</c:v>
                </c:pt>
                <c:pt idx="6">
                  <c:v>110000</c:v>
                </c:pt>
                <c:pt idx="7">
                  <c:v>#N/A</c:v>
                </c:pt>
                <c:pt idx="8">
                  <c:v>#N/A</c:v>
                </c:pt>
                <c:pt idx="9">
                  <c:v>#N/A</c:v>
                </c:pt>
                <c:pt idx="10">
                  <c:v>#N/A</c:v>
                </c:pt>
                <c:pt idx="11">
                  <c:v>#N/A</c:v>
                </c:pt>
                <c:pt idx="12">
                  <c:v>#N/A</c:v>
                </c:pt>
                <c:pt idx="13">
                  <c:v>107000</c:v>
                </c:pt>
                <c:pt idx="14">
                  <c:v>#N/A</c:v>
                </c:pt>
                <c:pt idx="15">
                  <c:v>#N/A</c:v>
                </c:pt>
                <c:pt idx="16">
                  <c:v>#N/A</c:v>
                </c:pt>
                <c:pt idx="17">
                  <c:v>#N/A</c:v>
                </c:pt>
                <c:pt idx="18">
                  <c:v>#N/A</c:v>
                </c:pt>
                <c:pt idx="19">
                  <c:v>#N/A</c:v>
                </c:pt>
                <c:pt idx="20">
                  <c:v>105000</c:v>
                </c:pt>
                <c:pt idx="21">
                  <c:v>#N/A</c:v>
                </c:pt>
                <c:pt idx="22">
                  <c:v>#N/A</c:v>
                </c:pt>
                <c:pt idx="23">
                  <c:v>#N/A</c:v>
                </c:pt>
                <c:pt idx="24">
                  <c:v>#N/A</c:v>
                </c:pt>
                <c:pt idx="25">
                  <c:v>#N/A</c:v>
                </c:pt>
                <c:pt idx="26">
                  <c:v>#N/A</c:v>
                </c:pt>
                <c:pt idx="27">
                  <c:v>104000</c:v>
                </c:pt>
                <c:pt idx="28">
                  <c:v>#N/A</c:v>
                </c:pt>
                <c:pt idx="29">
                  <c:v>#N/A</c:v>
                </c:pt>
                <c:pt idx="30">
                  <c:v>#N/A</c:v>
                </c:pt>
                <c:pt idx="31">
                  <c:v>#N/A</c:v>
                </c:pt>
                <c:pt idx="32">
                  <c:v>#N/A</c:v>
                </c:pt>
                <c:pt idx="33">
                  <c:v>#N/A</c:v>
                </c:pt>
                <c:pt idx="34">
                  <c:v>104000</c:v>
                </c:pt>
                <c:pt idx="35">
                  <c:v>#N/A</c:v>
                </c:pt>
                <c:pt idx="36">
                  <c:v>#N/A</c:v>
                </c:pt>
                <c:pt idx="37">
                  <c:v>#N/A</c:v>
                </c:pt>
                <c:pt idx="38">
                  <c:v>#N/A</c:v>
                </c:pt>
                <c:pt idx="39">
                  <c:v>#N/A</c:v>
                </c:pt>
                <c:pt idx="40">
                  <c:v>#N/A</c:v>
                </c:pt>
                <c:pt idx="41">
                  <c:v>100000</c:v>
                </c:pt>
                <c:pt idx="42">
                  <c:v>#N/A</c:v>
                </c:pt>
                <c:pt idx="43">
                  <c:v>#N/A</c:v>
                </c:pt>
                <c:pt idx="44">
                  <c:v>#N/A</c:v>
                </c:pt>
                <c:pt idx="45">
                  <c:v>#N/A</c:v>
                </c:pt>
                <c:pt idx="46">
                  <c:v>#N/A</c:v>
                </c:pt>
                <c:pt idx="47">
                  <c:v>#N/A</c:v>
                </c:pt>
                <c:pt idx="48">
                  <c:v>98000</c:v>
                </c:pt>
                <c:pt idx="49">
                  <c:v>#N/A</c:v>
                </c:pt>
                <c:pt idx="50">
                  <c:v>#N/A</c:v>
                </c:pt>
                <c:pt idx="51">
                  <c:v>#N/A</c:v>
                </c:pt>
                <c:pt idx="52">
                  <c:v>#N/A</c:v>
                </c:pt>
                <c:pt idx="53">
                  <c:v>#N/A</c:v>
                </c:pt>
                <c:pt idx="54">
                  <c:v>#N/A</c:v>
                </c:pt>
                <c:pt idx="55">
                  <c:v>96000</c:v>
                </c:pt>
                <c:pt idx="56">
                  <c:v>#N/A</c:v>
                </c:pt>
                <c:pt idx="57">
                  <c:v>#N/A</c:v>
                </c:pt>
                <c:pt idx="58">
                  <c:v>#N/A</c:v>
                </c:pt>
                <c:pt idx="60">
                  <c:v>#N/A</c:v>
                </c:pt>
                <c:pt idx="61">
                  <c:v>#N/A</c:v>
                </c:pt>
                <c:pt idx="62">
                  <c:v>#N/A</c:v>
                </c:pt>
                <c:pt idx="63">
                  <c:v>92000</c:v>
                </c:pt>
                <c:pt idx="64">
                  <c:v>#N/A</c:v>
                </c:pt>
                <c:pt idx="65">
                  <c:v>#N/A</c:v>
                </c:pt>
                <c:pt idx="66">
                  <c:v>#N/A</c:v>
                </c:pt>
                <c:pt idx="67">
                  <c:v>#N/A</c:v>
                </c:pt>
                <c:pt idx="68">
                  <c:v>#N/A</c:v>
                </c:pt>
                <c:pt idx="69">
                  <c:v>#N/A</c:v>
                </c:pt>
                <c:pt idx="70">
                  <c:v>92000</c:v>
                </c:pt>
                <c:pt idx="71">
                  <c:v>#N/A</c:v>
                </c:pt>
                <c:pt idx="72">
                  <c:v>#N/A</c:v>
                </c:pt>
                <c:pt idx="73">
                  <c:v>#N/A</c:v>
                </c:pt>
                <c:pt idx="74">
                  <c:v>#N/A</c:v>
                </c:pt>
                <c:pt idx="75">
                  <c:v>#N/A</c:v>
                </c:pt>
                <c:pt idx="76">
                  <c:v>#N/A</c:v>
                </c:pt>
                <c:pt idx="77">
                  <c:v>91000</c:v>
                </c:pt>
                <c:pt idx="78">
                  <c:v>#N/A</c:v>
                </c:pt>
                <c:pt idx="79">
                  <c:v>#N/A</c:v>
                </c:pt>
                <c:pt idx="80">
                  <c:v>#N/A</c:v>
                </c:pt>
                <c:pt idx="81">
                  <c:v>#N/A</c:v>
                </c:pt>
                <c:pt idx="82">
                  <c:v>#N/A</c:v>
                </c:pt>
                <c:pt idx="83">
                  <c:v>#N/A</c:v>
                </c:pt>
                <c:pt idx="84">
                  <c:v>91000</c:v>
                </c:pt>
                <c:pt idx="85">
                  <c:v>#N/A</c:v>
                </c:pt>
                <c:pt idx="86">
                  <c:v>#N/A</c:v>
                </c:pt>
                <c:pt idx="87">
                  <c:v>#N/A</c:v>
                </c:pt>
                <c:pt idx="88">
                  <c:v>#N/A</c:v>
                </c:pt>
                <c:pt idx="89">
                  <c:v>#N/A</c:v>
                </c:pt>
                <c:pt idx="90">
                  <c:v>#N/A</c:v>
                </c:pt>
                <c:pt idx="91">
                  <c:v>92000</c:v>
                </c:pt>
                <c:pt idx="92">
                  <c:v>#N/A</c:v>
                </c:pt>
                <c:pt idx="93">
                  <c:v>#N/A</c:v>
                </c:pt>
                <c:pt idx="94">
                  <c:v>#N/A</c:v>
                </c:pt>
                <c:pt idx="95">
                  <c:v>#N/A</c:v>
                </c:pt>
                <c:pt idx="96">
                  <c:v>#N/A</c:v>
                </c:pt>
                <c:pt idx="97">
                  <c:v>#N/A</c:v>
                </c:pt>
                <c:pt idx="98">
                  <c:v>90000</c:v>
                </c:pt>
                <c:pt idx="99">
                  <c:v>#N/A</c:v>
                </c:pt>
                <c:pt idx="100">
                  <c:v>#N/A</c:v>
                </c:pt>
                <c:pt idx="101">
                  <c:v>#N/A</c:v>
                </c:pt>
                <c:pt idx="102">
                  <c:v>#N/A</c:v>
                </c:pt>
                <c:pt idx="103">
                  <c:v>#N/A</c:v>
                </c:pt>
                <c:pt idx="104">
                  <c:v>#N/A</c:v>
                </c:pt>
                <c:pt idx="105">
                  <c:v>86000</c:v>
                </c:pt>
                <c:pt idx="106">
                  <c:v>#N/A</c:v>
                </c:pt>
                <c:pt idx="107">
                  <c:v>#N/A</c:v>
                </c:pt>
                <c:pt idx="108">
                  <c:v>#N/A</c:v>
                </c:pt>
                <c:pt idx="109">
                  <c:v>#N/A</c:v>
                </c:pt>
                <c:pt idx="110">
                  <c:v>#N/A</c:v>
                </c:pt>
                <c:pt idx="111">
                  <c:v>#N/A</c:v>
                </c:pt>
                <c:pt idx="112">
                  <c:v>86000</c:v>
                </c:pt>
                <c:pt idx="113">
                  <c:v>#N/A</c:v>
                </c:pt>
                <c:pt idx="114">
                  <c:v>#N/A</c:v>
                </c:pt>
                <c:pt idx="115">
                  <c:v>#N/A</c:v>
                </c:pt>
                <c:pt idx="116">
                  <c:v>#N/A</c:v>
                </c:pt>
                <c:pt idx="117">
                  <c:v>#N/A</c:v>
                </c:pt>
                <c:pt idx="118">
                  <c:v>#N/A</c:v>
                </c:pt>
                <c:pt idx="119">
                  <c:v>85000</c:v>
                </c:pt>
                <c:pt idx="120">
                  <c:v>#N/A</c:v>
                </c:pt>
                <c:pt idx="121">
                  <c:v>#N/A</c:v>
                </c:pt>
                <c:pt idx="122">
                  <c:v>#N/A</c:v>
                </c:pt>
                <c:pt idx="123">
                  <c:v>#N/A</c:v>
                </c:pt>
                <c:pt idx="124">
                  <c:v>#N/A</c:v>
                </c:pt>
                <c:pt idx="125">
                  <c:v>#N/A</c:v>
                </c:pt>
                <c:pt idx="126">
                  <c:v>85000</c:v>
                </c:pt>
                <c:pt idx="127">
                  <c:v>#N/A</c:v>
                </c:pt>
                <c:pt idx="128">
                  <c:v>#N/A</c:v>
                </c:pt>
                <c:pt idx="129">
                  <c:v>#N/A</c:v>
                </c:pt>
                <c:pt idx="130">
                  <c:v>#N/A</c:v>
                </c:pt>
                <c:pt idx="131">
                  <c:v>#N/A</c:v>
                </c:pt>
                <c:pt idx="132">
                  <c:v>#N/A</c:v>
                </c:pt>
                <c:pt idx="133">
                  <c:v>84000</c:v>
                </c:pt>
                <c:pt idx="134">
                  <c:v>#N/A</c:v>
                </c:pt>
                <c:pt idx="135">
                  <c:v>#N/A</c:v>
                </c:pt>
                <c:pt idx="136">
                  <c:v>#N/A</c:v>
                </c:pt>
                <c:pt idx="137">
                  <c:v>#N/A</c:v>
                </c:pt>
                <c:pt idx="138">
                  <c:v>#N/A</c:v>
                </c:pt>
                <c:pt idx="139">
                  <c:v>#N/A</c:v>
                </c:pt>
                <c:pt idx="140">
                  <c:v>77000</c:v>
                </c:pt>
                <c:pt idx="141">
                  <c:v>#N/A</c:v>
                </c:pt>
                <c:pt idx="142">
                  <c:v>#N/A</c:v>
                </c:pt>
                <c:pt idx="143">
                  <c:v>#N/A</c:v>
                </c:pt>
                <c:pt idx="144">
                  <c:v>#N/A</c:v>
                </c:pt>
                <c:pt idx="145">
                  <c:v>#N/A</c:v>
                </c:pt>
                <c:pt idx="146">
                  <c:v>#N/A</c:v>
                </c:pt>
                <c:pt idx="147">
                  <c:v>74000</c:v>
                </c:pt>
                <c:pt idx="148">
                  <c:v>#N/A</c:v>
                </c:pt>
                <c:pt idx="149">
                  <c:v>#N/A</c:v>
                </c:pt>
                <c:pt idx="150">
                  <c:v>#N/A</c:v>
                </c:pt>
                <c:pt idx="151">
                  <c:v>#N/A</c:v>
                </c:pt>
                <c:pt idx="152">
                  <c:v>#N/A</c:v>
                </c:pt>
                <c:pt idx="153">
                  <c:v>#N/A</c:v>
                </c:pt>
                <c:pt idx="154">
                  <c:v>72000</c:v>
                </c:pt>
                <c:pt idx="155">
                  <c:v>#N/A</c:v>
                </c:pt>
                <c:pt idx="156">
                  <c:v>#N/A</c:v>
                </c:pt>
                <c:pt idx="157">
                  <c:v>#N/A</c:v>
                </c:pt>
                <c:pt idx="158">
                  <c:v>#N/A</c:v>
                </c:pt>
                <c:pt idx="159">
                  <c:v>#N/A</c:v>
                </c:pt>
                <c:pt idx="160">
                  <c:v>#N/A</c:v>
                </c:pt>
                <c:pt idx="161">
                  <c:v>67000</c:v>
                </c:pt>
                <c:pt idx="162">
                  <c:v>#N/A</c:v>
                </c:pt>
                <c:pt idx="163">
                  <c:v>#N/A</c:v>
                </c:pt>
                <c:pt idx="164">
                  <c:v>#N/A</c:v>
                </c:pt>
                <c:pt idx="165">
                  <c:v>#N/A</c:v>
                </c:pt>
                <c:pt idx="166">
                  <c:v>#N/A</c:v>
                </c:pt>
                <c:pt idx="167">
                  <c:v>#N/A</c:v>
                </c:pt>
                <c:pt idx="168">
                  <c:v>73000</c:v>
                </c:pt>
                <c:pt idx="169">
                  <c:v>#N/A</c:v>
                </c:pt>
                <c:pt idx="170">
                  <c:v>#N/A</c:v>
                </c:pt>
                <c:pt idx="171">
                  <c:v>#N/A</c:v>
                </c:pt>
                <c:pt idx="172">
                  <c:v>#N/A</c:v>
                </c:pt>
                <c:pt idx="173">
                  <c:v>#N/A</c:v>
                </c:pt>
                <c:pt idx="174">
                  <c:v>#N/A</c:v>
                </c:pt>
                <c:pt idx="175">
                  <c:v>73000</c:v>
                </c:pt>
                <c:pt idx="176">
                  <c:v>#N/A</c:v>
                </c:pt>
                <c:pt idx="177">
                  <c:v>#N/A</c:v>
                </c:pt>
                <c:pt idx="178">
                  <c:v>#N/A</c:v>
                </c:pt>
                <c:pt idx="179">
                  <c:v>#N/A</c:v>
                </c:pt>
                <c:pt idx="180">
                  <c:v>#N/A</c:v>
                </c:pt>
                <c:pt idx="181">
                  <c:v>#N/A</c:v>
                </c:pt>
                <c:pt idx="182">
                  <c:v>73000</c:v>
                </c:pt>
                <c:pt idx="183">
                  <c:v>#N/A</c:v>
                </c:pt>
                <c:pt idx="184">
                  <c:v>#N/A</c:v>
                </c:pt>
                <c:pt idx="185">
                  <c:v>#N/A</c:v>
                </c:pt>
                <c:pt idx="186">
                  <c:v>#N/A</c:v>
                </c:pt>
                <c:pt idx="187">
                  <c:v>#N/A</c:v>
                </c:pt>
                <c:pt idx="188">
                  <c:v>#N/A</c:v>
                </c:pt>
                <c:pt idx="189">
                  <c:v>73000</c:v>
                </c:pt>
                <c:pt idx="190">
                  <c:v>#N/A</c:v>
                </c:pt>
                <c:pt idx="191">
                  <c:v>#N/A</c:v>
                </c:pt>
                <c:pt idx="192">
                  <c:v>#N/A</c:v>
                </c:pt>
                <c:pt idx="193">
                  <c:v>#N/A</c:v>
                </c:pt>
                <c:pt idx="194">
                  <c:v>#N/A</c:v>
                </c:pt>
                <c:pt idx="195">
                  <c:v>#N/A</c:v>
                </c:pt>
                <c:pt idx="196">
                  <c:v>71000</c:v>
                </c:pt>
                <c:pt idx="197">
                  <c:v>#N/A</c:v>
                </c:pt>
                <c:pt idx="198">
                  <c:v>#N/A</c:v>
                </c:pt>
                <c:pt idx="199">
                  <c:v>#N/A</c:v>
                </c:pt>
                <c:pt idx="200">
                  <c:v>#N/A</c:v>
                </c:pt>
                <c:pt idx="201">
                  <c:v>#N/A</c:v>
                </c:pt>
                <c:pt idx="202">
                  <c:v>#N/A</c:v>
                </c:pt>
                <c:pt idx="203">
                  <c:v>72500</c:v>
                </c:pt>
                <c:pt idx="204">
                  <c:v>#N/A</c:v>
                </c:pt>
                <c:pt idx="205">
                  <c:v>#N/A</c:v>
                </c:pt>
                <c:pt idx="206">
                  <c:v>#N/A</c:v>
                </c:pt>
                <c:pt idx="207">
                  <c:v>#N/A</c:v>
                </c:pt>
                <c:pt idx="208">
                  <c:v>#N/A</c:v>
                </c:pt>
                <c:pt idx="209">
                  <c:v>#N/A</c:v>
                </c:pt>
                <c:pt idx="210">
                  <c:v>78000</c:v>
                </c:pt>
                <c:pt idx="211">
                  <c:v>#N/A</c:v>
                </c:pt>
                <c:pt idx="212">
                  <c:v>#N/A</c:v>
                </c:pt>
                <c:pt idx="213">
                  <c:v>#N/A</c:v>
                </c:pt>
                <c:pt idx="214">
                  <c:v>#N/A</c:v>
                </c:pt>
                <c:pt idx="215">
                  <c:v>#N/A</c:v>
                </c:pt>
                <c:pt idx="216">
                  <c:v>#N/A</c:v>
                </c:pt>
                <c:pt idx="217">
                  <c:v>97000</c:v>
                </c:pt>
                <c:pt idx="218">
                  <c:v>#N/A</c:v>
                </c:pt>
                <c:pt idx="219">
                  <c:v>#N/A</c:v>
                </c:pt>
                <c:pt idx="220">
                  <c:v>#N/A</c:v>
                </c:pt>
                <c:pt idx="221">
                  <c:v>#N/A</c:v>
                </c:pt>
                <c:pt idx="222">
                  <c:v>#N/A</c:v>
                </c:pt>
                <c:pt idx="223">
                  <c:v>#N/A</c:v>
                </c:pt>
                <c:pt idx="224">
                  <c:v>100000</c:v>
                </c:pt>
                <c:pt idx="225">
                  <c:v>#N/A</c:v>
                </c:pt>
                <c:pt idx="226">
                  <c:v>#N/A</c:v>
                </c:pt>
                <c:pt idx="227">
                  <c:v>#N/A</c:v>
                </c:pt>
                <c:pt idx="228">
                  <c:v>#N/A</c:v>
                </c:pt>
                <c:pt idx="229">
                  <c:v>#N/A</c:v>
                </c:pt>
                <c:pt idx="230">
                  <c:v>#N/A</c:v>
                </c:pt>
                <c:pt idx="231">
                  <c:v>100000</c:v>
                </c:pt>
                <c:pt idx="232">
                  <c:v>#N/A</c:v>
                </c:pt>
                <c:pt idx="233">
                  <c:v>#N/A</c:v>
                </c:pt>
                <c:pt idx="234">
                  <c:v>#N/A</c:v>
                </c:pt>
                <c:pt idx="235">
                  <c:v>#N/A</c:v>
                </c:pt>
                <c:pt idx="236">
                  <c:v>#N/A</c:v>
                </c:pt>
                <c:pt idx="237">
                  <c:v>#N/A</c:v>
                </c:pt>
                <c:pt idx="238">
                  <c:v>98000</c:v>
                </c:pt>
                <c:pt idx="239">
                  <c:v>#N/A</c:v>
                </c:pt>
                <c:pt idx="240">
                  <c:v>#N/A</c:v>
                </c:pt>
                <c:pt idx="241">
                  <c:v>#N/A</c:v>
                </c:pt>
                <c:pt idx="242">
                  <c:v>#N/A</c:v>
                </c:pt>
                <c:pt idx="243">
                  <c:v>#N/A</c:v>
                </c:pt>
                <c:pt idx="244">
                  <c:v>#N/A</c:v>
                </c:pt>
                <c:pt idx="245">
                  <c:v>98000</c:v>
                </c:pt>
                <c:pt idx="246">
                  <c:v>#N/A</c:v>
                </c:pt>
                <c:pt idx="247">
                  <c:v>#N/A</c:v>
                </c:pt>
                <c:pt idx="248">
                  <c:v>#N/A</c:v>
                </c:pt>
                <c:pt idx="249">
                  <c:v>#N/A</c:v>
                </c:pt>
                <c:pt idx="250">
                  <c:v>#N/A</c:v>
                </c:pt>
                <c:pt idx="251">
                  <c:v>#N/A</c:v>
                </c:pt>
                <c:pt idx="252">
                  <c:v>99000</c:v>
                </c:pt>
                <c:pt idx="253">
                  <c:v>#N/A</c:v>
                </c:pt>
                <c:pt idx="254">
                  <c:v>#N/A</c:v>
                </c:pt>
                <c:pt idx="255">
                  <c:v>#N/A</c:v>
                </c:pt>
                <c:pt idx="256">
                  <c:v>#N/A</c:v>
                </c:pt>
                <c:pt idx="257">
                  <c:v>#N/A</c:v>
                </c:pt>
                <c:pt idx="258">
                  <c:v>#N/A</c:v>
                </c:pt>
                <c:pt idx="259">
                  <c:v>99000</c:v>
                </c:pt>
                <c:pt idx="260">
                  <c:v>#N/A</c:v>
                </c:pt>
                <c:pt idx="261">
                  <c:v>#N/A</c:v>
                </c:pt>
                <c:pt idx="262">
                  <c:v>#N/A</c:v>
                </c:pt>
                <c:pt idx="263">
                  <c:v>#N/A</c:v>
                </c:pt>
                <c:pt idx="264">
                  <c:v>#N/A</c:v>
                </c:pt>
                <c:pt idx="265">
                  <c:v>#N/A</c:v>
                </c:pt>
                <c:pt idx="266">
                  <c:v>101000</c:v>
                </c:pt>
                <c:pt idx="267">
                  <c:v>#N/A</c:v>
                </c:pt>
                <c:pt idx="268">
                  <c:v>#N/A</c:v>
                </c:pt>
                <c:pt idx="269">
                  <c:v>#N/A</c:v>
                </c:pt>
                <c:pt idx="270">
                  <c:v>#N/A</c:v>
                </c:pt>
                <c:pt idx="271">
                  <c:v>#N/A</c:v>
                </c:pt>
                <c:pt idx="272">
                  <c:v>#N/A</c:v>
                </c:pt>
                <c:pt idx="273">
                  <c:v>104000</c:v>
                </c:pt>
                <c:pt idx="274">
                  <c:v>#N/A</c:v>
                </c:pt>
                <c:pt idx="275">
                  <c:v>#N/A</c:v>
                </c:pt>
                <c:pt idx="276">
                  <c:v>#N/A</c:v>
                </c:pt>
                <c:pt idx="277">
                  <c:v>#N/A</c:v>
                </c:pt>
                <c:pt idx="278">
                  <c:v>#N/A</c:v>
                </c:pt>
                <c:pt idx="279">
                  <c:v>#N/A</c:v>
                </c:pt>
                <c:pt idx="280">
                  <c:v>104000</c:v>
                </c:pt>
                <c:pt idx="281">
                  <c:v>#N/A</c:v>
                </c:pt>
                <c:pt idx="282">
                  <c:v>#N/A</c:v>
                </c:pt>
                <c:pt idx="283">
                  <c:v>#N/A</c:v>
                </c:pt>
                <c:pt idx="284">
                  <c:v>#N/A</c:v>
                </c:pt>
                <c:pt idx="285">
                  <c:v>#N/A</c:v>
                </c:pt>
                <c:pt idx="286">
                  <c:v>#N/A</c:v>
                </c:pt>
                <c:pt idx="287">
                  <c:v>104000</c:v>
                </c:pt>
                <c:pt idx="288">
                  <c:v>#N/A</c:v>
                </c:pt>
                <c:pt idx="289">
                  <c:v>#N/A</c:v>
                </c:pt>
                <c:pt idx="290">
                  <c:v>#N/A</c:v>
                </c:pt>
                <c:pt idx="291">
                  <c:v>#N/A</c:v>
                </c:pt>
                <c:pt idx="292">
                  <c:v>#N/A</c:v>
                </c:pt>
                <c:pt idx="293">
                  <c:v>#N/A</c:v>
                </c:pt>
                <c:pt idx="294">
                  <c:v>104000</c:v>
                </c:pt>
                <c:pt idx="295">
                  <c:v>#N/A</c:v>
                </c:pt>
                <c:pt idx="296">
                  <c:v>#N/A</c:v>
                </c:pt>
                <c:pt idx="297">
                  <c:v>#N/A</c:v>
                </c:pt>
                <c:pt idx="298">
                  <c:v>#N/A</c:v>
                </c:pt>
                <c:pt idx="299">
                  <c:v>#N/A</c:v>
                </c:pt>
                <c:pt idx="300">
                  <c:v>#N/A</c:v>
                </c:pt>
                <c:pt idx="301">
                  <c:v>105000</c:v>
                </c:pt>
                <c:pt idx="302">
                  <c:v>#N/A</c:v>
                </c:pt>
                <c:pt idx="303">
                  <c:v>#N/A</c:v>
                </c:pt>
                <c:pt idx="304">
                  <c:v>#N/A</c:v>
                </c:pt>
                <c:pt idx="305">
                  <c:v>#N/A</c:v>
                </c:pt>
                <c:pt idx="306">
                  <c:v>#N/A</c:v>
                </c:pt>
                <c:pt idx="307">
                  <c:v>#N/A</c:v>
                </c:pt>
                <c:pt idx="308">
                  <c:v>109000</c:v>
                </c:pt>
                <c:pt idx="309">
                  <c:v>#N/A</c:v>
                </c:pt>
                <c:pt idx="310">
                  <c:v>#N/A</c:v>
                </c:pt>
                <c:pt idx="311">
                  <c:v>#N/A</c:v>
                </c:pt>
                <c:pt idx="312">
                  <c:v>#N/A</c:v>
                </c:pt>
                <c:pt idx="313">
                  <c:v>#N/A</c:v>
                </c:pt>
                <c:pt idx="314">
                  <c:v>#N/A</c:v>
                </c:pt>
                <c:pt idx="315">
                  <c:v>111000</c:v>
                </c:pt>
                <c:pt idx="316">
                  <c:v>#N/A</c:v>
                </c:pt>
                <c:pt idx="317">
                  <c:v>#N/A</c:v>
                </c:pt>
                <c:pt idx="318">
                  <c:v>#N/A</c:v>
                </c:pt>
                <c:pt idx="319">
                  <c:v>#N/A</c:v>
                </c:pt>
                <c:pt idx="320">
                  <c:v>#N/A</c:v>
                </c:pt>
                <c:pt idx="321">
                  <c:v>#N/A</c:v>
                </c:pt>
                <c:pt idx="322">
                  <c:v>111000</c:v>
                </c:pt>
                <c:pt idx="323">
                  <c:v>#N/A</c:v>
                </c:pt>
                <c:pt idx="324">
                  <c:v>#N/A</c:v>
                </c:pt>
                <c:pt idx="325">
                  <c:v>#N/A</c:v>
                </c:pt>
                <c:pt idx="326">
                  <c:v>#N/A</c:v>
                </c:pt>
                <c:pt idx="327">
                  <c:v>#N/A</c:v>
                </c:pt>
                <c:pt idx="328">
                  <c:v>#N/A</c:v>
                </c:pt>
                <c:pt idx="329">
                  <c:v>111000</c:v>
                </c:pt>
                <c:pt idx="330">
                  <c:v>#N/A</c:v>
                </c:pt>
                <c:pt idx="331">
                  <c:v>#N/A</c:v>
                </c:pt>
                <c:pt idx="332">
                  <c:v>#N/A</c:v>
                </c:pt>
                <c:pt idx="333">
                  <c:v>#N/A</c:v>
                </c:pt>
                <c:pt idx="334">
                  <c:v>#N/A</c:v>
                </c:pt>
                <c:pt idx="335">
                  <c:v>#N/A</c:v>
                </c:pt>
                <c:pt idx="336">
                  <c:v>113000</c:v>
                </c:pt>
                <c:pt idx="337">
                  <c:v>#N/A</c:v>
                </c:pt>
                <c:pt idx="338">
                  <c:v>#N/A</c:v>
                </c:pt>
                <c:pt idx="339">
                  <c:v>#N/A</c:v>
                </c:pt>
                <c:pt idx="340">
                  <c:v>#N/A</c:v>
                </c:pt>
                <c:pt idx="341">
                  <c:v>#N/A</c:v>
                </c:pt>
                <c:pt idx="342">
                  <c:v>#N/A</c:v>
                </c:pt>
                <c:pt idx="343">
                  <c:v>113000</c:v>
                </c:pt>
                <c:pt idx="344">
                  <c:v>#N/A</c:v>
                </c:pt>
                <c:pt idx="345">
                  <c:v>#N/A</c:v>
                </c:pt>
                <c:pt idx="346">
                  <c:v>#N/A</c:v>
                </c:pt>
                <c:pt idx="347">
                  <c:v>#N/A</c:v>
                </c:pt>
                <c:pt idx="348">
                  <c:v>#N/A</c:v>
                </c:pt>
                <c:pt idx="349">
                  <c:v>#N/A</c:v>
                </c:pt>
                <c:pt idx="350">
                  <c:v>113000</c:v>
                </c:pt>
                <c:pt idx="351">
                  <c:v>#N/A</c:v>
                </c:pt>
                <c:pt idx="352">
                  <c:v>#N/A</c:v>
                </c:pt>
                <c:pt idx="353">
                  <c:v>#N/A</c:v>
                </c:pt>
                <c:pt idx="354">
                  <c:v>#N/A</c:v>
                </c:pt>
                <c:pt idx="355">
                  <c:v>#N/A</c:v>
                </c:pt>
                <c:pt idx="356">
                  <c:v>#N/A</c:v>
                </c:pt>
                <c:pt idx="357">
                  <c:v>116000</c:v>
                </c:pt>
                <c:pt idx="358">
                  <c:v>#N/A</c:v>
                </c:pt>
                <c:pt idx="359">
                  <c:v>#N/A</c:v>
                </c:pt>
                <c:pt idx="360">
                  <c:v>#N/A</c:v>
                </c:pt>
                <c:pt idx="361">
                  <c:v>#N/A</c:v>
                </c:pt>
                <c:pt idx="362">
                  <c:v>#N/A</c:v>
                </c:pt>
                <c:pt idx="363">
                  <c:v>#N/A</c:v>
                </c:pt>
                <c:pt idx="364">
                  <c:v>118000</c:v>
                </c:pt>
                <c:pt idx="365">
                  <c:v>#N/A</c:v>
                </c:pt>
              </c:numCache>
            </c:numRef>
          </c:val>
          <c:smooth val="0"/>
          <c:extLst>
            <c:ext xmlns:c16="http://schemas.microsoft.com/office/drawing/2014/chart" uri="{C3380CC4-5D6E-409C-BE32-E72D297353CC}">
              <c16:uniqueId val="{00000001-80B1-4CBA-A7D7-5D4AA8FACA48}"/>
            </c:ext>
          </c:extLst>
        </c:ser>
        <c:ser>
          <c:idx val="2"/>
          <c:order val="2"/>
          <c:tx>
            <c:strRef>
              <c:f>工业硅库存!$AD$2</c:f>
              <c:strCache>
                <c:ptCount val="1"/>
                <c:pt idx="0">
                  <c:v>2023</c:v>
                </c:pt>
              </c:strCache>
            </c:strRef>
          </c:tx>
          <c:spPr>
            <a:ln w="19050" cap="rnd">
              <a:solidFill>
                <a:srgbClr val="308D94">
                  <a:alpha val="60000"/>
                </a:srgbClr>
              </a:solidFill>
              <a:round/>
            </a:ln>
            <a:effectLst/>
          </c:spPr>
          <c:marker>
            <c:symbol val="none"/>
          </c:marker>
          <c:cat>
            <c:strRef>
              <c:f>工业硅库存!$AA$3:$AA$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AD$3:$AD$368</c:f>
              <c:numCache>
                <c:formatCode>General</c:formatCode>
                <c:ptCount val="366"/>
                <c:pt idx="0">
                  <c:v>#N/A</c:v>
                </c:pt>
                <c:pt idx="1">
                  <c:v>#N/A</c:v>
                </c:pt>
                <c:pt idx="2">
                  <c:v>#N/A</c:v>
                </c:pt>
                <c:pt idx="3">
                  <c:v>#N/A</c:v>
                </c:pt>
                <c:pt idx="4">
                  <c:v>#N/A</c:v>
                </c:pt>
                <c:pt idx="5">
                  <c:v>118000</c:v>
                </c:pt>
                <c:pt idx="6">
                  <c:v>#N/A</c:v>
                </c:pt>
                <c:pt idx="7">
                  <c:v>#N/A</c:v>
                </c:pt>
                <c:pt idx="8">
                  <c:v>#N/A</c:v>
                </c:pt>
                <c:pt idx="9">
                  <c:v>#N/A</c:v>
                </c:pt>
                <c:pt idx="10">
                  <c:v>#N/A</c:v>
                </c:pt>
                <c:pt idx="11">
                  <c:v>#N/A</c:v>
                </c:pt>
                <c:pt idx="12">
                  <c:v>118000</c:v>
                </c:pt>
                <c:pt idx="13">
                  <c:v>#N/A</c:v>
                </c:pt>
                <c:pt idx="14">
                  <c:v>#N/A</c:v>
                </c:pt>
                <c:pt idx="15">
                  <c:v>#N/A</c:v>
                </c:pt>
                <c:pt idx="16">
                  <c:v>#N/A</c:v>
                </c:pt>
                <c:pt idx="17">
                  <c:v>#N/A</c:v>
                </c:pt>
                <c:pt idx="18">
                  <c:v>#N/A</c:v>
                </c:pt>
                <c:pt idx="19">
                  <c:v>118000</c:v>
                </c:pt>
                <c:pt idx="20">
                  <c:v>#N/A</c:v>
                </c:pt>
                <c:pt idx="21">
                  <c:v>#N/A</c:v>
                </c:pt>
                <c:pt idx="22">
                  <c:v>#N/A</c:v>
                </c:pt>
                <c:pt idx="23">
                  <c:v>#N/A</c:v>
                </c:pt>
                <c:pt idx="24">
                  <c:v>#N/A</c:v>
                </c:pt>
                <c:pt idx="25">
                  <c:v>#N/A</c:v>
                </c:pt>
                <c:pt idx="26">
                  <c:v>118000</c:v>
                </c:pt>
                <c:pt idx="27">
                  <c:v>#N/A</c:v>
                </c:pt>
                <c:pt idx="28">
                  <c:v>#N/A</c:v>
                </c:pt>
                <c:pt idx="29">
                  <c:v>#N/A</c:v>
                </c:pt>
                <c:pt idx="30">
                  <c:v>#N/A</c:v>
                </c:pt>
                <c:pt idx="31">
                  <c:v>#N/A</c:v>
                </c:pt>
                <c:pt idx="32">
                  <c:v>#N/A</c:v>
                </c:pt>
                <c:pt idx="33">
                  <c:v>115000</c:v>
                </c:pt>
                <c:pt idx="34">
                  <c:v>#N/A</c:v>
                </c:pt>
                <c:pt idx="35">
                  <c:v>#N/A</c:v>
                </c:pt>
                <c:pt idx="36">
                  <c:v>#N/A</c:v>
                </c:pt>
                <c:pt idx="37">
                  <c:v>#N/A</c:v>
                </c:pt>
                <c:pt idx="38">
                  <c:v>#N/A</c:v>
                </c:pt>
                <c:pt idx="39">
                  <c:v>#N/A</c:v>
                </c:pt>
                <c:pt idx="40">
                  <c:v>112000</c:v>
                </c:pt>
                <c:pt idx="41">
                  <c:v>#N/A</c:v>
                </c:pt>
                <c:pt idx="42">
                  <c:v>#N/A</c:v>
                </c:pt>
                <c:pt idx="43">
                  <c:v>#N/A</c:v>
                </c:pt>
                <c:pt idx="44">
                  <c:v>#N/A</c:v>
                </c:pt>
                <c:pt idx="45">
                  <c:v>#N/A</c:v>
                </c:pt>
                <c:pt idx="46">
                  <c:v>#N/A</c:v>
                </c:pt>
                <c:pt idx="47">
                  <c:v>112000</c:v>
                </c:pt>
                <c:pt idx="48">
                  <c:v>#N/A</c:v>
                </c:pt>
                <c:pt idx="49">
                  <c:v>#N/A</c:v>
                </c:pt>
                <c:pt idx="50">
                  <c:v>#N/A</c:v>
                </c:pt>
                <c:pt idx="51">
                  <c:v>#N/A</c:v>
                </c:pt>
                <c:pt idx="52">
                  <c:v>#N/A</c:v>
                </c:pt>
                <c:pt idx="53">
                  <c:v>#N/A</c:v>
                </c:pt>
                <c:pt idx="54">
                  <c:v>112000</c:v>
                </c:pt>
                <c:pt idx="55">
                  <c:v>#N/A</c:v>
                </c:pt>
                <c:pt idx="56">
                  <c:v>#N/A</c:v>
                </c:pt>
                <c:pt idx="57">
                  <c:v>#N/A</c:v>
                </c:pt>
                <c:pt idx="58">
                  <c:v>#N/A</c:v>
                </c:pt>
                <c:pt idx="60">
                  <c:v>#N/A</c:v>
                </c:pt>
                <c:pt idx="61">
                  <c:v>#N/A</c:v>
                </c:pt>
                <c:pt idx="62">
                  <c:v>117000</c:v>
                </c:pt>
                <c:pt idx="63">
                  <c:v>#N/A</c:v>
                </c:pt>
                <c:pt idx="64">
                  <c:v>#N/A</c:v>
                </c:pt>
                <c:pt idx="65">
                  <c:v>#N/A</c:v>
                </c:pt>
                <c:pt idx="66">
                  <c:v>#N/A</c:v>
                </c:pt>
                <c:pt idx="67">
                  <c:v>#N/A</c:v>
                </c:pt>
                <c:pt idx="68">
                  <c:v>#N/A</c:v>
                </c:pt>
                <c:pt idx="69">
                  <c:v>117000</c:v>
                </c:pt>
                <c:pt idx="70">
                  <c:v>#N/A</c:v>
                </c:pt>
                <c:pt idx="71">
                  <c:v>#N/A</c:v>
                </c:pt>
                <c:pt idx="72">
                  <c:v>#N/A</c:v>
                </c:pt>
                <c:pt idx="73">
                  <c:v>#N/A</c:v>
                </c:pt>
                <c:pt idx="74">
                  <c:v>#N/A</c:v>
                </c:pt>
                <c:pt idx="75">
                  <c:v>#N/A</c:v>
                </c:pt>
                <c:pt idx="76">
                  <c:v>117000</c:v>
                </c:pt>
                <c:pt idx="77">
                  <c:v>#N/A</c:v>
                </c:pt>
                <c:pt idx="78">
                  <c:v>#N/A</c:v>
                </c:pt>
                <c:pt idx="79">
                  <c:v>#N/A</c:v>
                </c:pt>
                <c:pt idx="80">
                  <c:v>#N/A</c:v>
                </c:pt>
                <c:pt idx="81">
                  <c:v>#N/A</c:v>
                </c:pt>
                <c:pt idx="82">
                  <c:v>#N/A</c:v>
                </c:pt>
                <c:pt idx="83">
                  <c:v>115000</c:v>
                </c:pt>
                <c:pt idx="84">
                  <c:v>#N/A</c:v>
                </c:pt>
                <c:pt idx="85">
                  <c:v>#N/A</c:v>
                </c:pt>
                <c:pt idx="86">
                  <c:v>#N/A</c:v>
                </c:pt>
                <c:pt idx="87">
                  <c:v>#N/A</c:v>
                </c:pt>
                <c:pt idx="88">
                  <c:v>#N/A</c:v>
                </c:pt>
                <c:pt idx="89">
                  <c:v>#N/A</c:v>
                </c:pt>
                <c:pt idx="90">
                  <c:v>115000</c:v>
                </c:pt>
                <c:pt idx="91">
                  <c:v>#N/A</c:v>
                </c:pt>
                <c:pt idx="92">
                  <c:v>#N/A</c:v>
                </c:pt>
                <c:pt idx="93">
                  <c:v>#N/A</c:v>
                </c:pt>
                <c:pt idx="94">
                  <c:v>#N/A</c:v>
                </c:pt>
                <c:pt idx="95">
                  <c:v>#N/A</c:v>
                </c:pt>
                <c:pt idx="96">
                  <c:v>#N/A</c:v>
                </c:pt>
                <c:pt idx="97">
                  <c:v>115000</c:v>
                </c:pt>
                <c:pt idx="98">
                  <c:v>#N/A</c:v>
                </c:pt>
                <c:pt idx="99">
                  <c:v>#N/A</c:v>
                </c:pt>
                <c:pt idx="100">
                  <c:v>#N/A</c:v>
                </c:pt>
                <c:pt idx="101">
                  <c:v>#N/A</c:v>
                </c:pt>
                <c:pt idx="102">
                  <c:v>#N/A</c:v>
                </c:pt>
                <c:pt idx="103">
                  <c:v>#N/A</c:v>
                </c:pt>
                <c:pt idx="104">
                  <c:v>115000</c:v>
                </c:pt>
                <c:pt idx="105">
                  <c:v>#N/A</c:v>
                </c:pt>
                <c:pt idx="106">
                  <c:v>#N/A</c:v>
                </c:pt>
                <c:pt idx="107">
                  <c:v>#N/A</c:v>
                </c:pt>
                <c:pt idx="108">
                  <c:v>#N/A</c:v>
                </c:pt>
                <c:pt idx="109">
                  <c:v>#N/A</c:v>
                </c:pt>
                <c:pt idx="110">
                  <c:v>#N/A</c:v>
                </c:pt>
                <c:pt idx="111">
                  <c:v>115000</c:v>
                </c:pt>
                <c:pt idx="112">
                  <c:v>#N/A</c:v>
                </c:pt>
                <c:pt idx="113">
                  <c:v>#N/A</c:v>
                </c:pt>
                <c:pt idx="114">
                  <c:v>#N/A</c:v>
                </c:pt>
                <c:pt idx="115">
                  <c:v>#N/A</c:v>
                </c:pt>
                <c:pt idx="116">
                  <c:v>#N/A</c:v>
                </c:pt>
                <c:pt idx="117">
                  <c:v>#N/A</c:v>
                </c:pt>
                <c:pt idx="118">
                  <c:v>115000</c:v>
                </c:pt>
                <c:pt idx="119">
                  <c:v>#N/A</c:v>
                </c:pt>
                <c:pt idx="120">
                  <c:v>#N/A</c:v>
                </c:pt>
                <c:pt idx="121">
                  <c:v>#N/A</c:v>
                </c:pt>
                <c:pt idx="122">
                  <c:v>#N/A</c:v>
                </c:pt>
                <c:pt idx="123">
                  <c:v>#N/A</c:v>
                </c:pt>
                <c:pt idx="124">
                  <c:v>#N/A</c:v>
                </c:pt>
                <c:pt idx="125">
                  <c:v>115000</c:v>
                </c:pt>
                <c:pt idx="126">
                  <c:v>#N/A</c:v>
                </c:pt>
                <c:pt idx="127">
                  <c:v>#N/A</c:v>
                </c:pt>
                <c:pt idx="128">
                  <c:v>#N/A</c:v>
                </c:pt>
                <c:pt idx="129">
                  <c:v>#N/A</c:v>
                </c:pt>
                <c:pt idx="130">
                  <c:v>#N/A</c:v>
                </c:pt>
                <c:pt idx="131">
                  <c:v>#N/A</c:v>
                </c:pt>
                <c:pt idx="132">
                  <c:v>123000</c:v>
                </c:pt>
                <c:pt idx="133">
                  <c:v>#N/A</c:v>
                </c:pt>
                <c:pt idx="134">
                  <c:v>#N/A</c:v>
                </c:pt>
                <c:pt idx="135">
                  <c:v>#N/A</c:v>
                </c:pt>
                <c:pt idx="136">
                  <c:v>#N/A</c:v>
                </c:pt>
                <c:pt idx="137">
                  <c:v>#N/A</c:v>
                </c:pt>
                <c:pt idx="138">
                  <c:v>#N/A</c:v>
                </c:pt>
                <c:pt idx="139">
                  <c:v>125000</c:v>
                </c:pt>
                <c:pt idx="140">
                  <c:v>#N/A</c:v>
                </c:pt>
                <c:pt idx="141">
                  <c:v>#N/A</c:v>
                </c:pt>
                <c:pt idx="142">
                  <c:v>#N/A</c:v>
                </c:pt>
                <c:pt idx="143">
                  <c:v>#N/A</c:v>
                </c:pt>
                <c:pt idx="144">
                  <c:v>#N/A</c:v>
                </c:pt>
                <c:pt idx="145">
                  <c:v>#N/A</c:v>
                </c:pt>
                <c:pt idx="146">
                  <c:v>125000</c:v>
                </c:pt>
                <c:pt idx="147">
                  <c:v>#N/A</c:v>
                </c:pt>
                <c:pt idx="148">
                  <c:v>#N/A</c:v>
                </c:pt>
                <c:pt idx="149">
                  <c:v>#N/A</c:v>
                </c:pt>
                <c:pt idx="150">
                  <c:v>#N/A</c:v>
                </c:pt>
                <c:pt idx="151">
                  <c:v>#N/A</c:v>
                </c:pt>
                <c:pt idx="152">
                  <c:v>#N/A</c:v>
                </c:pt>
                <c:pt idx="153">
                  <c:v>128000</c:v>
                </c:pt>
                <c:pt idx="154">
                  <c:v>#N/A</c:v>
                </c:pt>
                <c:pt idx="155">
                  <c:v>#N/A</c:v>
                </c:pt>
                <c:pt idx="156">
                  <c:v>#N/A</c:v>
                </c:pt>
                <c:pt idx="157">
                  <c:v>#N/A</c:v>
                </c:pt>
                <c:pt idx="158">
                  <c:v>#N/A</c:v>
                </c:pt>
                <c:pt idx="159">
                  <c:v>#N/A</c:v>
                </c:pt>
                <c:pt idx="160">
                  <c:v>127500</c:v>
                </c:pt>
                <c:pt idx="161">
                  <c:v>#N/A</c:v>
                </c:pt>
                <c:pt idx="162">
                  <c:v>#N/A</c:v>
                </c:pt>
                <c:pt idx="163">
                  <c:v>#N/A</c:v>
                </c:pt>
                <c:pt idx="164">
                  <c:v>#N/A</c:v>
                </c:pt>
                <c:pt idx="165">
                  <c:v>#N/A</c:v>
                </c:pt>
                <c:pt idx="166">
                  <c:v>#N/A</c:v>
                </c:pt>
                <c:pt idx="167">
                  <c:v>128500</c:v>
                </c:pt>
                <c:pt idx="168">
                  <c:v>#N/A</c:v>
                </c:pt>
                <c:pt idx="169">
                  <c:v>#N/A</c:v>
                </c:pt>
                <c:pt idx="170">
                  <c:v>#N/A</c:v>
                </c:pt>
                <c:pt idx="171">
                  <c:v>#N/A</c:v>
                </c:pt>
                <c:pt idx="172">
                  <c:v>#N/A</c:v>
                </c:pt>
                <c:pt idx="173">
                  <c:v>#N/A</c:v>
                </c:pt>
                <c:pt idx="174">
                  <c:v>128500</c:v>
                </c:pt>
                <c:pt idx="175">
                  <c:v>#N/A</c:v>
                </c:pt>
                <c:pt idx="176">
                  <c:v>#N/A</c:v>
                </c:pt>
                <c:pt idx="177">
                  <c:v>#N/A</c:v>
                </c:pt>
                <c:pt idx="178">
                  <c:v>#N/A</c:v>
                </c:pt>
                <c:pt idx="179">
                  <c:v>#N/A</c:v>
                </c:pt>
                <c:pt idx="180">
                  <c:v>#N/A</c:v>
                </c:pt>
                <c:pt idx="181">
                  <c:v>128500</c:v>
                </c:pt>
                <c:pt idx="182">
                  <c:v>#N/A</c:v>
                </c:pt>
                <c:pt idx="183">
                  <c:v>#N/A</c:v>
                </c:pt>
                <c:pt idx="184">
                  <c:v>#N/A</c:v>
                </c:pt>
                <c:pt idx="185">
                  <c:v>#N/A</c:v>
                </c:pt>
                <c:pt idx="186">
                  <c:v>#N/A</c:v>
                </c:pt>
                <c:pt idx="187">
                  <c:v>#N/A</c:v>
                </c:pt>
                <c:pt idx="188">
                  <c:v>128750</c:v>
                </c:pt>
                <c:pt idx="189">
                  <c:v>#N/A</c:v>
                </c:pt>
                <c:pt idx="190">
                  <c:v>#N/A</c:v>
                </c:pt>
                <c:pt idx="191">
                  <c:v>#N/A</c:v>
                </c:pt>
                <c:pt idx="192">
                  <c:v>#N/A</c:v>
                </c:pt>
                <c:pt idx="193">
                  <c:v>#N/A</c:v>
                </c:pt>
                <c:pt idx="194">
                  <c:v>#N/A</c:v>
                </c:pt>
                <c:pt idx="195">
                  <c:v>129000</c:v>
                </c:pt>
                <c:pt idx="196">
                  <c:v>#N/A</c:v>
                </c:pt>
                <c:pt idx="197">
                  <c:v>#N/A</c:v>
                </c:pt>
                <c:pt idx="198">
                  <c:v>#N/A</c:v>
                </c:pt>
                <c:pt idx="199">
                  <c:v>#N/A</c:v>
                </c:pt>
                <c:pt idx="200">
                  <c:v>#N/A</c:v>
                </c:pt>
                <c:pt idx="201">
                  <c:v>#N/A</c:v>
                </c:pt>
                <c:pt idx="202">
                  <c:v>129000</c:v>
                </c:pt>
                <c:pt idx="203">
                  <c:v>#N/A</c:v>
                </c:pt>
                <c:pt idx="204">
                  <c:v>#N/A</c:v>
                </c:pt>
                <c:pt idx="205">
                  <c:v>#N/A</c:v>
                </c:pt>
                <c:pt idx="206">
                  <c:v>#N/A</c:v>
                </c:pt>
                <c:pt idx="207">
                  <c:v>#N/A</c:v>
                </c:pt>
                <c:pt idx="208">
                  <c:v>#N/A</c:v>
                </c:pt>
                <c:pt idx="209">
                  <c:v>127000</c:v>
                </c:pt>
                <c:pt idx="210">
                  <c:v>#N/A</c:v>
                </c:pt>
                <c:pt idx="211">
                  <c:v>#N/A</c:v>
                </c:pt>
                <c:pt idx="212">
                  <c:v>#N/A</c:v>
                </c:pt>
                <c:pt idx="213">
                  <c:v>#N/A</c:v>
                </c:pt>
                <c:pt idx="214">
                  <c:v>#N/A</c:v>
                </c:pt>
                <c:pt idx="215">
                  <c:v>#N/A</c:v>
                </c:pt>
                <c:pt idx="216">
                  <c:v>120000</c:v>
                </c:pt>
                <c:pt idx="217">
                  <c:v>#N/A</c:v>
                </c:pt>
                <c:pt idx="218">
                  <c:v>#N/A</c:v>
                </c:pt>
                <c:pt idx="219">
                  <c:v>#N/A</c:v>
                </c:pt>
                <c:pt idx="220">
                  <c:v>#N/A</c:v>
                </c:pt>
                <c:pt idx="221">
                  <c:v>#N/A</c:v>
                </c:pt>
                <c:pt idx="222">
                  <c:v>#N/A</c:v>
                </c:pt>
                <c:pt idx="223">
                  <c:v>115000</c:v>
                </c:pt>
                <c:pt idx="224">
                  <c:v>#N/A</c:v>
                </c:pt>
                <c:pt idx="225">
                  <c:v>#N/A</c:v>
                </c:pt>
                <c:pt idx="226">
                  <c:v>#N/A</c:v>
                </c:pt>
                <c:pt idx="227">
                  <c:v>#N/A</c:v>
                </c:pt>
                <c:pt idx="228">
                  <c:v>#N/A</c:v>
                </c:pt>
                <c:pt idx="229">
                  <c:v>#N/A</c:v>
                </c:pt>
                <c:pt idx="230">
                  <c:v>109000</c:v>
                </c:pt>
                <c:pt idx="231">
                  <c:v>#N/A</c:v>
                </c:pt>
                <c:pt idx="232">
                  <c:v>#N/A</c:v>
                </c:pt>
                <c:pt idx="233">
                  <c:v>#N/A</c:v>
                </c:pt>
                <c:pt idx="234">
                  <c:v>#N/A</c:v>
                </c:pt>
                <c:pt idx="235">
                  <c:v>#N/A</c:v>
                </c:pt>
                <c:pt idx="236">
                  <c:v>#N/A</c:v>
                </c:pt>
                <c:pt idx="237">
                  <c:v>106000</c:v>
                </c:pt>
                <c:pt idx="238">
                  <c:v>#N/A</c:v>
                </c:pt>
                <c:pt idx="239">
                  <c:v>#N/A</c:v>
                </c:pt>
                <c:pt idx="240">
                  <c:v>#N/A</c:v>
                </c:pt>
                <c:pt idx="241">
                  <c:v>#N/A</c:v>
                </c:pt>
                <c:pt idx="242">
                  <c:v>#N/A</c:v>
                </c:pt>
                <c:pt idx="243">
                  <c:v>#N/A</c:v>
                </c:pt>
                <c:pt idx="244">
                  <c:v>98000</c:v>
                </c:pt>
                <c:pt idx="245">
                  <c:v>#N/A</c:v>
                </c:pt>
                <c:pt idx="246">
                  <c:v>#N/A</c:v>
                </c:pt>
                <c:pt idx="247">
                  <c:v>#N/A</c:v>
                </c:pt>
                <c:pt idx="248">
                  <c:v>#N/A</c:v>
                </c:pt>
                <c:pt idx="249">
                  <c:v>#N/A</c:v>
                </c:pt>
                <c:pt idx="250">
                  <c:v>#N/A</c:v>
                </c:pt>
                <c:pt idx="251">
                  <c:v>89000</c:v>
                </c:pt>
                <c:pt idx="252">
                  <c:v>#N/A</c:v>
                </c:pt>
                <c:pt idx="253">
                  <c:v>#N/A</c:v>
                </c:pt>
                <c:pt idx="254">
                  <c:v>#N/A</c:v>
                </c:pt>
                <c:pt idx="255">
                  <c:v>#N/A</c:v>
                </c:pt>
                <c:pt idx="256">
                  <c:v>#N/A</c:v>
                </c:pt>
                <c:pt idx="257">
                  <c:v>#N/A</c:v>
                </c:pt>
                <c:pt idx="258">
                  <c:v>82000</c:v>
                </c:pt>
                <c:pt idx="259">
                  <c:v>#N/A</c:v>
                </c:pt>
                <c:pt idx="260">
                  <c:v>#N/A</c:v>
                </c:pt>
                <c:pt idx="261">
                  <c:v>#N/A</c:v>
                </c:pt>
                <c:pt idx="262">
                  <c:v>#N/A</c:v>
                </c:pt>
                <c:pt idx="263">
                  <c:v>#N/A</c:v>
                </c:pt>
                <c:pt idx="264">
                  <c:v>#N/A</c:v>
                </c:pt>
                <c:pt idx="265">
                  <c:v>79000</c:v>
                </c:pt>
                <c:pt idx="266">
                  <c:v>#N/A</c:v>
                </c:pt>
                <c:pt idx="267">
                  <c:v>#N/A</c:v>
                </c:pt>
                <c:pt idx="268">
                  <c:v>#N/A</c:v>
                </c:pt>
                <c:pt idx="269">
                  <c:v>#N/A</c:v>
                </c:pt>
                <c:pt idx="270">
                  <c:v>#N/A</c:v>
                </c:pt>
                <c:pt idx="271">
                  <c:v>#N/A</c:v>
                </c:pt>
                <c:pt idx="272">
                  <c:v>73000</c:v>
                </c:pt>
                <c:pt idx="273">
                  <c:v>#N/A</c:v>
                </c:pt>
                <c:pt idx="274">
                  <c:v>#N/A</c:v>
                </c:pt>
                <c:pt idx="275">
                  <c:v>#N/A</c:v>
                </c:pt>
                <c:pt idx="276">
                  <c:v>#N/A</c:v>
                </c:pt>
                <c:pt idx="277">
                  <c:v>#N/A</c:v>
                </c:pt>
                <c:pt idx="278">
                  <c:v>#N/A</c:v>
                </c:pt>
                <c:pt idx="279">
                  <c:v>73000</c:v>
                </c:pt>
                <c:pt idx="280">
                  <c:v>#N/A</c:v>
                </c:pt>
                <c:pt idx="281">
                  <c:v>#N/A</c:v>
                </c:pt>
                <c:pt idx="282">
                  <c:v>#N/A</c:v>
                </c:pt>
                <c:pt idx="283">
                  <c:v>#N/A</c:v>
                </c:pt>
                <c:pt idx="284">
                  <c:v>#N/A</c:v>
                </c:pt>
                <c:pt idx="285">
                  <c:v>#N/A</c:v>
                </c:pt>
                <c:pt idx="286">
                  <c:v>73000</c:v>
                </c:pt>
                <c:pt idx="287">
                  <c:v>#N/A</c:v>
                </c:pt>
                <c:pt idx="288">
                  <c:v>#N/A</c:v>
                </c:pt>
                <c:pt idx="289">
                  <c:v>#N/A</c:v>
                </c:pt>
                <c:pt idx="290">
                  <c:v>#N/A</c:v>
                </c:pt>
                <c:pt idx="291">
                  <c:v>#N/A</c:v>
                </c:pt>
                <c:pt idx="292">
                  <c:v>#N/A</c:v>
                </c:pt>
                <c:pt idx="293">
                  <c:v>71000</c:v>
                </c:pt>
                <c:pt idx="294">
                  <c:v>#N/A</c:v>
                </c:pt>
                <c:pt idx="295">
                  <c:v>#N/A</c:v>
                </c:pt>
                <c:pt idx="296">
                  <c:v>#N/A</c:v>
                </c:pt>
                <c:pt idx="297">
                  <c:v>#N/A</c:v>
                </c:pt>
                <c:pt idx="298">
                  <c:v>#N/A</c:v>
                </c:pt>
                <c:pt idx="299">
                  <c:v>#N/A</c:v>
                </c:pt>
                <c:pt idx="300">
                  <c:v>72000</c:v>
                </c:pt>
                <c:pt idx="301">
                  <c:v>#N/A</c:v>
                </c:pt>
                <c:pt idx="302">
                  <c:v>#N/A</c:v>
                </c:pt>
                <c:pt idx="303">
                  <c:v>#N/A</c:v>
                </c:pt>
                <c:pt idx="304">
                  <c:v>#N/A</c:v>
                </c:pt>
                <c:pt idx="305">
                  <c:v>#N/A</c:v>
                </c:pt>
                <c:pt idx="306">
                  <c:v>#N/A</c:v>
                </c:pt>
                <c:pt idx="307">
                  <c:v>79000</c:v>
                </c:pt>
                <c:pt idx="308">
                  <c:v>#N/A</c:v>
                </c:pt>
                <c:pt idx="309">
                  <c:v>#N/A</c:v>
                </c:pt>
                <c:pt idx="310">
                  <c:v>#N/A</c:v>
                </c:pt>
                <c:pt idx="311">
                  <c:v>#N/A</c:v>
                </c:pt>
                <c:pt idx="312">
                  <c:v>#N/A</c:v>
                </c:pt>
                <c:pt idx="313">
                  <c:v>#N/A</c:v>
                </c:pt>
                <c:pt idx="314">
                  <c:v>86000</c:v>
                </c:pt>
                <c:pt idx="315">
                  <c:v>#N/A</c:v>
                </c:pt>
                <c:pt idx="316">
                  <c:v>#N/A</c:v>
                </c:pt>
                <c:pt idx="317">
                  <c:v>#N/A</c:v>
                </c:pt>
                <c:pt idx="318">
                  <c:v>#N/A</c:v>
                </c:pt>
                <c:pt idx="319">
                  <c:v>#N/A</c:v>
                </c:pt>
                <c:pt idx="320">
                  <c:v>#N/A</c:v>
                </c:pt>
                <c:pt idx="321">
                  <c:v>88000</c:v>
                </c:pt>
                <c:pt idx="322">
                  <c:v>#N/A</c:v>
                </c:pt>
                <c:pt idx="323">
                  <c:v>#N/A</c:v>
                </c:pt>
                <c:pt idx="324">
                  <c:v>#N/A</c:v>
                </c:pt>
                <c:pt idx="325">
                  <c:v>#N/A</c:v>
                </c:pt>
                <c:pt idx="326">
                  <c:v>#N/A</c:v>
                </c:pt>
                <c:pt idx="327">
                  <c:v>#N/A</c:v>
                </c:pt>
                <c:pt idx="328">
                  <c:v>88000</c:v>
                </c:pt>
                <c:pt idx="329">
                  <c:v>#N/A</c:v>
                </c:pt>
                <c:pt idx="330">
                  <c:v>#N/A</c:v>
                </c:pt>
                <c:pt idx="331">
                  <c:v>#N/A</c:v>
                </c:pt>
                <c:pt idx="332">
                  <c:v>#N/A</c:v>
                </c:pt>
                <c:pt idx="333">
                  <c:v>#N/A</c:v>
                </c:pt>
                <c:pt idx="334">
                  <c:v>#N/A</c:v>
                </c:pt>
                <c:pt idx="335">
                  <c:v>100000</c:v>
                </c:pt>
                <c:pt idx="336">
                  <c:v>#N/A</c:v>
                </c:pt>
                <c:pt idx="337">
                  <c:v>#N/A</c:v>
                </c:pt>
                <c:pt idx="338">
                  <c:v>#N/A</c:v>
                </c:pt>
                <c:pt idx="339">
                  <c:v>#N/A</c:v>
                </c:pt>
                <c:pt idx="340">
                  <c:v>#N/A</c:v>
                </c:pt>
                <c:pt idx="341">
                  <c:v>#N/A</c:v>
                </c:pt>
                <c:pt idx="342">
                  <c:v>100000</c:v>
                </c:pt>
                <c:pt idx="343">
                  <c:v>#N/A</c:v>
                </c:pt>
                <c:pt idx="344">
                  <c:v>#N/A</c:v>
                </c:pt>
                <c:pt idx="345">
                  <c:v>#N/A</c:v>
                </c:pt>
                <c:pt idx="346">
                  <c:v>#N/A</c:v>
                </c:pt>
                <c:pt idx="347">
                  <c:v>#N/A</c:v>
                </c:pt>
                <c:pt idx="348">
                  <c:v>#N/A</c:v>
                </c:pt>
                <c:pt idx="349">
                  <c:v>100000</c:v>
                </c:pt>
                <c:pt idx="350">
                  <c:v>#N/A</c:v>
                </c:pt>
                <c:pt idx="351">
                  <c:v>#N/A</c:v>
                </c:pt>
                <c:pt idx="352">
                  <c:v>#N/A</c:v>
                </c:pt>
                <c:pt idx="353">
                  <c:v>#N/A</c:v>
                </c:pt>
                <c:pt idx="354">
                  <c:v>#N/A</c:v>
                </c:pt>
                <c:pt idx="355">
                  <c:v>#N/A</c:v>
                </c:pt>
                <c:pt idx="356">
                  <c:v>99000</c:v>
                </c:pt>
                <c:pt idx="357">
                  <c:v>#N/A</c:v>
                </c:pt>
                <c:pt idx="358">
                  <c:v>#N/A</c:v>
                </c:pt>
                <c:pt idx="359">
                  <c:v>#N/A</c:v>
                </c:pt>
                <c:pt idx="360">
                  <c:v>#N/A</c:v>
                </c:pt>
                <c:pt idx="361">
                  <c:v>#N/A</c:v>
                </c:pt>
                <c:pt idx="362">
                  <c:v>#N/A</c:v>
                </c:pt>
                <c:pt idx="363">
                  <c:v>99000</c:v>
                </c:pt>
                <c:pt idx="364">
                  <c:v>#N/A</c:v>
                </c:pt>
                <c:pt idx="365">
                  <c:v>#N/A</c:v>
                </c:pt>
              </c:numCache>
            </c:numRef>
          </c:val>
          <c:smooth val="0"/>
          <c:extLst>
            <c:ext xmlns:c16="http://schemas.microsoft.com/office/drawing/2014/chart" uri="{C3380CC4-5D6E-409C-BE32-E72D297353CC}">
              <c16:uniqueId val="{00000002-80B1-4CBA-A7D7-5D4AA8FACA48}"/>
            </c:ext>
          </c:extLst>
        </c:ser>
        <c:ser>
          <c:idx val="3"/>
          <c:order val="3"/>
          <c:tx>
            <c:strRef>
              <c:f>工业硅库存!$AE$2</c:f>
              <c:strCache>
                <c:ptCount val="1"/>
                <c:pt idx="0">
                  <c:v>2024</c:v>
                </c:pt>
              </c:strCache>
            </c:strRef>
          </c:tx>
          <c:spPr>
            <a:ln w="28575" cap="rnd">
              <a:solidFill>
                <a:schemeClr val="tx1"/>
              </a:solidFill>
              <a:round/>
            </a:ln>
            <a:effectLst/>
          </c:spPr>
          <c:marker>
            <c:symbol val="none"/>
          </c:marker>
          <c:cat>
            <c:strRef>
              <c:f>工业硅库存!$AA$3:$AA$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AE$3:$AE$368</c:f>
              <c:numCache>
                <c:formatCode>General</c:formatCode>
                <c:ptCount val="366"/>
                <c:pt idx="0">
                  <c:v>#N/A</c:v>
                </c:pt>
                <c:pt idx="1">
                  <c:v>#N/A</c:v>
                </c:pt>
                <c:pt idx="2">
                  <c:v>#N/A</c:v>
                </c:pt>
                <c:pt idx="3">
                  <c:v>#N/A</c:v>
                </c:pt>
                <c:pt idx="4">
                  <c:v>99000</c:v>
                </c:pt>
                <c:pt idx="5">
                  <c:v>#N/A</c:v>
                </c:pt>
                <c:pt idx="6">
                  <c:v>#N/A</c:v>
                </c:pt>
                <c:pt idx="7">
                  <c:v>#N/A</c:v>
                </c:pt>
                <c:pt idx="8">
                  <c:v>#N/A</c:v>
                </c:pt>
                <c:pt idx="9">
                  <c:v>#N/A</c:v>
                </c:pt>
                <c:pt idx="10">
                  <c:v>#N/A</c:v>
                </c:pt>
                <c:pt idx="11">
                  <c:v>98000</c:v>
                </c:pt>
                <c:pt idx="12">
                  <c:v>#N/A</c:v>
                </c:pt>
                <c:pt idx="13">
                  <c:v>#N/A</c:v>
                </c:pt>
                <c:pt idx="14">
                  <c:v>#N/A</c:v>
                </c:pt>
                <c:pt idx="15">
                  <c:v>#N/A</c:v>
                </c:pt>
                <c:pt idx="16">
                  <c:v>#N/A</c:v>
                </c:pt>
                <c:pt idx="17">
                  <c:v>#N/A</c:v>
                </c:pt>
                <c:pt idx="18">
                  <c:v>97000</c:v>
                </c:pt>
                <c:pt idx="19">
                  <c:v>#N/A</c:v>
                </c:pt>
                <c:pt idx="20">
                  <c:v>#N/A</c:v>
                </c:pt>
                <c:pt idx="21">
                  <c:v>#N/A</c:v>
                </c:pt>
                <c:pt idx="22">
                  <c:v>#N/A</c:v>
                </c:pt>
                <c:pt idx="23">
                  <c:v>#N/A</c:v>
                </c:pt>
                <c:pt idx="24">
                  <c:v>#N/A</c:v>
                </c:pt>
                <c:pt idx="25">
                  <c:v>97000</c:v>
                </c:pt>
                <c:pt idx="26">
                  <c:v>#N/A</c:v>
                </c:pt>
                <c:pt idx="27">
                  <c:v>#N/A</c:v>
                </c:pt>
                <c:pt idx="28">
                  <c:v>#N/A</c:v>
                </c:pt>
                <c:pt idx="29">
                  <c:v>#N/A</c:v>
                </c:pt>
                <c:pt idx="30">
                  <c:v>#N/A</c:v>
                </c:pt>
                <c:pt idx="31">
                  <c:v>#N/A</c:v>
                </c:pt>
                <c:pt idx="32">
                  <c:v>98000</c:v>
                </c:pt>
                <c:pt idx="33">
                  <c:v>#N/A</c:v>
                </c:pt>
                <c:pt idx="34">
                  <c:v>#N/A</c:v>
                </c:pt>
                <c:pt idx="35">
                  <c:v>#N/A</c:v>
                </c:pt>
                <c:pt idx="36">
                  <c:v>#N/A</c:v>
                </c:pt>
                <c:pt idx="37">
                  <c:v>#N/A</c:v>
                </c:pt>
                <c:pt idx="38">
                  <c:v>#N/A</c:v>
                </c:pt>
                <c:pt idx="39">
                  <c:v>98000</c:v>
                </c:pt>
                <c:pt idx="40">
                  <c:v>#N/A</c:v>
                </c:pt>
                <c:pt idx="41">
                  <c:v>#N/A</c:v>
                </c:pt>
                <c:pt idx="42">
                  <c:v>#N/A</c:v>
                </c:pt>
                <c:pt idx="43">
                  <c:v>#N/A</c:v>
                </c:pt>
                <c:pt idx="44">
                  <c:v>#N/A</c:v>
                </c:pt>
                <c:pt idx="45">
                  <c:v>#N/A</c:v>
                </c:pt>
                <c:pt idx="46">
                  <c:v>98000</c:v>
                </c:pt>
                <c:pt idx="47">
                  <c:v>#N/A</c:v>
                </c:pt>
                <c:pt idx="48">
                  <c:v>#N/A</c:v>
                </c:pt>
                <c:pt idx="49">
                  <c:v>#N/A</c:v>
                </c:pt>
                <c:pt idx="50">
                  <c:v>#N/A</c:v>
                </c:pt>
                <c:pt idx="51">
                  <c:v>#N/A</c:v>
                </c:pt>
                <c:pt idx="52">
                  <c:v>#N/A</c:v>
                </c:pt>
                <c:pt idx="53">
                  <c:v>99000</c:v>
                </c:pt>
                <c:pt idx="54">
                  <c:v>#N/A</c:v>
                </c:pt>
                <c:pt idx="55">
                  <c:v>#N/A</c:v>
                </c:pt>
                <c:pt idx="56">
                  <c:v>#N/A</c:v>
                </c:pt>
                <c:pt idx="57">
                  <c:v>#N/A</c:v>
                </c:pt>
                <c:pt idx="58">
                  <c:v>#N/A</c:v>
                </c:pt>
                <c:pt idx="59">
                  <c:v>#N/A</c:v>
                </c:pt>
                <c:pt idx="60">
                  <c:v>99000</c:v>
                </c:pt>
                <c:pt idx="61">
                  <c:v>#N/A</c:v>
                </c:pt>
                <c:pt idx="62">
                  <c:v>#N/A</c:v>
                </c:pt>
                <c:pt idx="63">
                  <c:v>#N/A</c:v>
                </c:pt>
                <c:pt idx="64">
                  <c:v>#N/A</c:v>
                </c:pt>
                <c:pt idx="65">
                  <c:v>#N/A</c:v>
                </c:pt>
                <c:pt idx="66">
                  <c:v>#N/A</c:v>
                </c:pt>
                <c:pt idx="67">
                  <c:v>99000</c:v>
                </c:pt>
                <c:pt idx="68">
                  <c:v>#N/A</c:v>
                </c:pt>
                <c:pt idx="69">
                  <c:v>#N/A</c:v>
                </c:pt>
                <c:pt idx="70">
                  <c:v>#N/A</c:v>
                </c:pt>
                <c:pt idx="71">
                  <c:v>#N/A</c:v>
                </c:pt>
                <c:pt idx="72">
                  <c:v>#N/A</c:v>
                </c:pt>
                <c:pt idx="73">
                  <c:v>#N/A</c:v>
                </c:pt>
                <c:pt idx="74">
                  <c:v>98000</c:v>
                </c:pt>
                <c:pt idx="75">
                  <c:v>#N/A</c:v>
                </c:pt>
                <c:pt idx="76">
                  <c:v>#N/A</c:v>
                </c:pt>
                <c:pt idx="77">
                  <c:v>#N/A</c:v>
                </c:pt>
                <c:pt idx="78">
                  <c:v>#N/A</c:v>
                </c:pt>
                <c:pt idx="79">
                  <c:v>#N/A</c:v>
                </c:pt>
                <c:pt idx="80">
                  <c:v>#N/A</c:v>
                </c:pt>
                <c:pt idx="81">
                  <c:v>98000</c:v>
                </c:pt>
                <c:pt idx="82">
                  <c:v>#N/A</c:v>
                </c:pt>
                <c:pt idx="83">
                  <c:v>#N/A</c:v>
                </c:pt>
                <c:pt idx="84">
                  <c:v>#N/A</c:v>
                </c:pt>
                <c:pt idx="85">
                  <c:v>#N/A</c:v>
                </c:pt>
                <c:pt idx="86">
                  <c:v>#N/A</c:v>
                </c:pt>
                <c:pt idx="87">
                  <c:v>#N/A</c:v>
                </c:pt>
                <c:pt idx="88">
                  <c:v>98000</c:v>
                </c:pt>
                <c:pt idx="89">
                  <c:v>#N/A</c:v>
                </c:pt>
                <c:pt idx="90">
                  <c:v>#N/A</c:v>
                </c:pt>
                <c:pt idx="91">
                  <c:v>#N/A</c:v>
                </c:pt>
                <c:pt idx="92">
                  <c:v>#N/A</c:v>
                </c:pt>
                <c:pt idx="93">
                  <c:v>#N/A</c:v>
                </c:pt>
                <c:pt idx="94">
                  <c:v>#N/A</c:v>
                </c:pt>
                <c:pt idx="95">
                  <c:v>99000</c:v>
                </c:pt>
                <c:pt idx="96">
                  <c:v>#N/A</c:v>
                </c:pt>
                <c:pt idx="97">
                  <c:v>#N/A</c:v>
                </c:pt>
                <c:pt idx="98">
                  <c:v>#N/A</c:v>
                </c:pt>
                <c:pt idx="99">
                  <c:v>#N/A</c:v>
                </c:pt>
                <c:pt idx="100">
                  <c:v>#N/A</c:v>
                </c:pt>
                <c:pt idx="101">
                  <c:v>#N/A</c:v>
                </c:pt>
                <c:pt idx="102">
                  <c:v>99000</c:v>
                </c:pt>
                <c:pt idx="103">
                  <c:v>#N/A</c:v>
                </c:pt>
                <c:pt idx="104">
                  <c:v>#N/A</c:v>
                </c:pt>
                <c:pt idx="105">
                  <c:v>#N/A</c:v>
                </c:pt>
                <c:pt idx="106">
                  <c:v>#N/A</c:v>
                </c:pt>
                <c:pt idx="107">
                  <c:v>#N/A</c:v>
                </c:pt>
                <c:pt idx="108">
                  <c:v>#N/A</c:v>
                </c:pt>
                <c:pt idx="109">
                  <c:v>100000</c:v>
                </c:pt>
                <c:pt idx="110">
                  <c:v>#N/A</c:v>
                </c:pt>
                <c:pt idx="111">
                  <c:v>#N/A</c:v>
                </c:pt>
                <c:pt idx="112">
                  <c:v>#N/A</c:v>
                </c:pt>
                <c:pt idx="113">
                  <c:v>#N/A</c:v>
                </c:pt>
                <c:pt idx="114">
                  <c:v>#N/A</c:v>
                </c:pt>
                <c:pt idx="115">
                  <c:v>#N/A</c:v>
                </c:pt>
                <c:pt idx="116">
                  <c:v>102000</c:v>
                </c:pt>
                <c:pt idx="117">
                  <c:v>#N/A</c:v>
                </c:pt>
                <c:pt idx="118">
                  <c:v>#N/A</c:v>
                </c:pt>
                <c:pt idx="119">
                  <c:v>#N/A</c:v>
                </c:pt>
                <c:pt idx="120">
                  <c:v>#N/A</c:v>
                </c:pt>
                <c:pt idx="121">
                  <c:v>#N/A</c:v>
                </c:pt>
                <c:pt idx="122">
                  <c:v>#N/A</c:v>
                </c:pt>
                <c:pt idx="123">
                  <c:v>103000</c:v>
                </c:pt>
                <c:pt idx="124">
                  <c:v>#N/A</c:v>
                </c:pt>
                <c:pt idx="125">
                  <c:v>#N/A</c:v>
                </c:pt>
                <c:pt idx="126">
                  <c:v>#N/A</c:v>
                </c:pt>
                <c:pt idx="127">
                  <c:v>#N/A</c:v>
                </c:pt>
                <c:pt idx="128">
                  <c:v>#N/A</c:v>
                </c:pt>
                <c:pt idx="129">
                  <c:v>#N/A</c:v>
                </c:pt>
                <c:pt idx="130">
                  <c:v>103000</c:v>
                </c:pt>
                <c:pt idx="131">
                  <c:v>#N/A</c:v>
                </c:pt>
                <c:pt idx="132">
                  <c:v>#N/A</c:v>
                </c:pt>
                <c:pt idx="133">
                  <c:v>#N/A</c:v>
                </c:pt>
                <c:pt idx="134">
                  <c:v>#N/A</c:v>
                </c:pt>
                <c:pt idx="135">
                  <c:v>#N/A</c:v>
                </c:pt>
                <c:pt idx="136">
                  <c:v>#N/A</c:v>
                </c:pt>
                <c:pt idx="137">
                  <c:v>102000</c:v>
                </c:pt>
                <c:pt idx="138">
                  <c:v>#N/A</c:v>
                </c:pt>
                <c:pt idx="139">
                  <c:v>#N/A</c:v>
                </c:pt>
                <c:pt idx="140">
                  <c:v>#N/A</c:v>
                </c:pt>
                <c:pt idx="141">
                  <c:v>#N/A</c:v>
                </c:pt>
                <c:pt idx="142">
                  <c:v>#N/A</c:v>
                </c:pt>
                <c:pt idx="143">
                  <c:v>#N/A</c:v>
                </c:pt>
                <c:pt idx="144">
                  <c:v>102000</c:v>
                </c:pt>
                <c:pt idx="145">
                  <c:v>#N/A</c:v>
                </c:pt>
                <c:pt idx="146">
                  <c:v>#N/A</c:v>
                </c:pt>
                <c:pt idx="147">
                  <c:v>#N/A</c:v>
                </c:pt>
                <c:pt idx="148">
                  <c:v>#N/A</c:v>
                </c:pt>
                <c:pt idx="149">
                  <c:v>#N/A</c:v>
                </c:pt>
                <c:pt idx="150">
                  <c:v>#N/A</c:v>
                </c:pt>
                <c:pt idx="151">
                  <c:v>101000</c:v>
                </c:pt>
                <c:pt idx="152">
                  <c:v>#N/A</c:v>
                </c:pt>
                <c:pt idx="153">
                  <c:v>#N/A</c:v>
                </c:pt>
                <c:pt idx="154">
                  <c:v>#N/A</c:v>
                </c:pt>
                <c:pt idx="155">
                  <c:v>#N/A</c:v>
                </c:pt>
                <c:pt idx="156">
                  <c:v>#N/A</c:v>
                </c:pt>
                <c:pt idx="157">
                  <c:v>#N/A</c:v>
                </c:pt>
                <c:pt idx="158">
                  <c:v>101000</c:v>
                </c:pt>
                <c:pt idx="159">
                  <c:v>#N/A</c:v>
                </c:pt>
                <c:pt idx="160">
                  <c:v>#N/A</c:v>
                </c:pt>
                <c:pt idx="161">
                  <c:v>#N/A</c:v>
                </c:pt>
                <c:pt idx="162">
                  <c:v>#N/A</c:v>
                </c:pt>
                <c:pt idx="163">
                  <c:v>#N/A</c:v>
                </c:pt>
                <c:pt idx="164">
                  <c:v>#N/A</c:v>
                </c:pt>
                <c:pt idx="165">
                  <c:v>102000</c:v>
                </c:pt>
                <c:pt idx="166">
                  <c:v>#N/A</c:v>
                </c:pt>
                <c:pt idx="167">
                  <c:v>#N/A</c:v>
                </c:pt>
                <c:pt idx="168">
                  <c:v>#N/A</c:v>
                </c:pt>
                <c:pt idx="169">
                  <c:v>#N/A</c:v>
                </c:pt>
                <c:pt idx="170">
                  <c:v>#N/A</c:v>
                </c:pt>
                <c:pt idx="171">
                  <c:v>#N/A</c:v>
                </c:pt>
                <c:pt idx="172">
                  <c:v>104000</c:v>
                </c:pt>
                <c:pt idx="173">
                  <c:v>#N/A</c:v>
                </c:pt>
                <c:pt idx="174">
                  <c:v>#N/A</c:v>
                </c:pt>
                <c:pt idx="175">
                  <c:v>#N/A</c:v>
                </c:pt>
                <c:pt idx="176">
                  <c:v>#N/A</c:v>
                </c:pt>
                <c:pt idx="177">
                  <c:v>#N/A</c:v>
                </c:pt>
                <c:pt idx="178">
                  <c:v>#N/A</c:v>
                </c:pt>
                <c:pt idx="179">
                  <c:v>107000</c:v>
                </c:pt>
                <c:pt idx="180">
                  <c:v>#N/A</c:v>
                </c:pt>
                <c:pt idx="181">
                  <c:v>#N/A</c:v>
                </c:pt>
                <c:pt idx="182">
                  <c:v>#N/A</c:v>
                </c:pt>
                <c:pt idx="183">
                  <c:v>#N/A</c:v>
                </c:pt>
                <c:pt idx="184">
                  <c:v>#N/A</c:v>
                </c:pt>
                <c:pt idx="185">
                  <c:v>#N/A</c:v>
                </c:pt>
                <c:pt idx="186">
                  <c:v>10700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3-80B1-4CBA-A7D7-5D4AA8FACA48}"/>
            </c:ext>
          </c:extLst>
        </c:ser>
        <c:dLbls>
          <c:showLegendKey val="0"/>
          <c:showVal val="0"/>
          <c:showCatName val="0"/>
          <c:showSerName val="0"/>
          <c:showPercent val="0"/>
          <c:showBubbleSize val="0"/>
        </c:dLbls>
        <c:smooth val="0"/>
        <c:axId val="1385901471"/>
        <c:axId val="613987407"/>
      </c:lineChart>
      <c:catAx>
        <c:axId val="13859014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ea"/>
                <a:sym typeface="+mn-lt"/>
              </a:defRPr>
            </a:pPr>
            <a:endParaRPr lang="zh-CN"/>
          </a:p>
        </c:txPr>
        <c:crossAx val="613987407"/>
        <c:crosses val="autoZero"/>
        <c:auto val="1"/>
        <c:lblAlgn val="ctr"/>
        <c:lblOffset val="100"/>
        <c:noMultiLvlLbl val="0"/>
      </c:catAx>
      <c:valAx>
        <c:axId val="613987407"/>
        <c:scaling>
          <c:orientation val="minMax"/>
          <c:min val="20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ea"/>
                <a:sym typeface="+mn-lt"/>
              </a:defRPr>
            </a:pPr>
            <a:endParaRPr lang="zh-CN"/>
          </a:p>
        </c:txPr>
        <c:crossAx val="13859014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mn-lt"/>
          <a:ea typeface="+mn-ea"/>
          <a:cs typeface="+mn-ea"/>
          <a:sym typeface="+mn-lt"/>
        </a:defRPr>
      </a:pPr>
      <a:endParaRPr lang="zh-CN"/>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工业硅库存!$AG$1</c:f>
          <c:strCache>
            <c:ptCount val="1"/>
            <c:pt idx="0">
              <c:v>总库存</c:v>
            </c:pt>
          </c:strCache>
        </c:strRef>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ea"/>
              <a:ea typeface="+mn-ea"/>
              <a:cs typeface="+mn-ea"/>
              <a:sym typeface="+mn-lt"/>
            </a:defRPr>
          </a:pPr>
          <a:endParaRPr lang="zh-CN"/>
        </a:p>
      </c:txPr>
    </c:title>
    <c:autoTitleDeleted val="0"/>
    <c:plotArea>
      <c:layout/>
      <c:lineChart>
        <c:grouping val="standard"/>
        <c:varyColors val="0"/>
        <c:ser>
          <c:idx val="0"/>
          <c:order val="0"/>
          <c:tx>
            <c:strRef>
              <c:f>工业硅库存!$AH$2</c:f>
              <c:strCache>
                <c:ptCount val="1"/>
                <c:pt idx="0">
                  <c:v>2021</c:v>
                </c:pt>
              </c:strCache>
            </c:strRef>
          </c:tx>
          <c:spPr>
            <a:ln w="19050" cap="rnd">
              <a:solidFill>
                <a:srgbClr val="B57222">
                  <a:alpha val="60000"/>
                </a:srgbClr>
              </a:solidFill>
              <a:round/>
            </a:ln>
            <a:effectLst/>
          </c:spPr>
          <c:marker>
            <c:symbol val="none"/>
          </c:marker>
          <c:cat>
            <c:strRef>
              <c:f>工业硅库存!$AG$3:$AG$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AH$3:$AH$368</c:f>
              <c:numCache>
                <c:formatCode>General</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117560</c:v>
                </c:pt>
                <c:pt idx="128">
                  <c:v>#N/A</c:v>
                </c:pt>
                <c:pt idx="129">
                  <c:v>#N/A</c:v>
                </c:pt>
                <c:pt idx="130">
                  <c:v>#N/A</c:v>
                </c:pt>
                <c:pt idx="131">
                  <c:v>#N/A</c:v>
                </c:pt>
                <c:pt idx="132">
                  <c:v>#N/A</c:v>
                </c:pt>
                <c:pt idx="133">
                  <c:v>#N/A</c:v>
                </c:pt>
                <c:pt idx="134">
                  <c:v>91560</c:v>
                </c:pt>
                <c:pt idx="135">
                  <c:v>#N/A</c:v>
                </c:pt>
                <c:pt idx="136">
                  <c:v>#N/A</c:v>
                </c:pt>
                <c:pt idx="137">
                  <c:v>#N/A</c:v>
                </c:pt>
                <c:pt idx="138">
                  <c:v>#N/A</c:v>
                </c:pt>
                <c:pt idx="139">
                  <c:v>#N/A</c:v>
                </c:pt>
                <c:pt idx="140">
                  <c:v>#N/A</c:v>
                </c:pt>
                <c:pt idx="141">
                  <c:v>97060</c:v>
                </c:pt>
                <c:pt idx="142">
                  <c:v>#N/A</c:v>
                </c:pt>
                <c:pt idx="143">
                  <c:v>#N/A</c:v>
                </c:pt>
                <c:pt idx="144">
                  <c:v>#N/A</c:v>
                </c:pt>
                <c:pt idx="145">
                  <c:v>#N/A</c:v>
                </c:pt>
                <c:pt idx="146">
                  <c:v>#N/A</c:v>
                </c:pt>
                <c:pt idx="147">
                  <c:v>#N/A</c:v>
                </c:pt>
                <c:pt idx="148">
                  <c:v>88560</c:v>
                </c:pt>
                <c:pt idx="149">
                  <c:v>#N/A</c:v>
                </c:pt>
                <c:pt idx="150">
                  <c:v>#N/A</c:v>
                </c:pt>
                <c:pt idx="151">
                  <c:v>#N/A</c:v>
                </c:pt>
                <c:pt idx="152">
                  <c:v>#N/A</c:v>
                </c:pt>
                <c:pt idx="153">
                  <c:v>#N/A</c:v>
                </c:pt>
                <c:pt idx="154">
                  <c:v>#N/A</c:v>
                </c:pt>
                <c:pt idx="155">
                  <c:v>85560</c:v>
                </c:pt>
                <c:pt idx="156">
                  <c:v>#N/A</c:v>
                </c:pt>
                <c:pt idx="157">
                  <c:v>#N/A</c:v>
                </c:pt>
                <c:pt idx="158">
                  <c:v>#N/A</c:v>
                </c:pt>
                <c:pt idx="159">
                  <c:v>#N/A</c:v>
                </c:pt>
                <c:pt idx="160">
                  <c:v>#N/A</c:v>
                </c:pt>
                <c:pt idx="161">
                  <c:v>#N/A</c:v>
                </c:pt>
                <c:pt idx="162">
                  <c:v>82710</c:v>
                </c:pt>
                <c:pt idx="163">
                  <c:v>#N/A</c:v>
                </c:pt>
                <c:pt idx="164">
                  <c:v>#N/A</c:v>
                </c:pt>
                <c:pt idx="165">
                  <c:v>#N/A</c:v>
                </c:pt>
                <c:pt idx="166">
                  <c:v>#N/A</c:v>
                </c:pt>
                <c:pt idx="167">
                  <c:v>#N/A</c:v>
                </c:pt>
                <c:pt idx="168">
                  <c:v>#N/A</c:v>
                </c:pt>
                <c:pt idx="169">
                  <c:v>79710</c:v>
                </c:pt>
                <c:pt idx="170">
                  <c:v>#N/A</c:v>
                </c:pt>
                <c:pt idx="171">
                  <c:v>#N/A</c:v>
                </c:pt>
                <c:pt idx="172">
                  <c:v>#N/A</c:v>
                </c:pt>
                <c:pt idx="173">
                  <c:v>#N/A</c:v>
                </c:pt>
                <c:pt idx="174">
                  <c:v>#N/A</c:v>
                </c:pt>
                <c:pt idx="175">
                  <c:v>#N/A</c:v>
                </c:pt>
                <c:pt idx="176">
                  <c:v>79170</c:v>
                </c:pt>
                <c:pt idx="177">
                  <c:v>#N/A</c:v>
                </c:pt>
                <c:pt idx="178">
                  <c:v>#N/A</c:v>
                </c:pt>
                <c:pt idx="179">
                  <c:v>#N/A</c:v>
                </c:pt>
                <c:pt idx="180">
                  <c:v>#N/A</c:v>
                </c:pt>
                <c:pt idx="181">
                  <c:v>#N/A</c:v>
                </c:pt>
                <c:pt idx="182">
                  <c:v>#N/A</c:v>
                </c:pt>
                <c:pt idx="183">
                  <c:v>76570</c:v>
                </c:pt>
                <c:pt idx="184">
                  <c:v>#N/A</c:v>
                </c:pt>
                <c:pt idx="185">
                  <c:v>#N/A</c:v>
                </c:pt>
                <c:pt idx="186">
                  <c:v>#N/A</c:v>
                </c:pt>
                <c:pt idx="187">
                  <c:v>#N/A</c:v>
                </c:pt>
                <c:pt idx="188">
                  <c:v>#N/A</c:v>
                </c:pt>
                <c:pt idx="189">
                  <c:v>#N/A</c:v>
                </c:pt>
                <c:pt idx="190">
                  <c:v>80620</c:v>
                </c:pt>
                <c:pt idx="191">
                  <c:v>#N/A</c:v>
                </c:pt>
                <c:pt idx="192">
                  <c:v>#N/A</c:v>
                </c:pt>
                <c:pt idx="193">
                  <c:v>#N/A</c:v>
                </c:pt>
                <c:pt idx="194">
                  <c:v>#N/A</c:v>
                </c:pt>
                <c:pt idx="195">
                  <c:v>#N/A</c:v>
                </c:pt>
                <c:pt idx="196">
                  <c:v>#N/A</c:v>
                </c:pt>
                <c:pt idx="197">
                  <c:v>86620</c:v>
                </c:pt>
                <c:pt idx="198">
                  <c:v>#N/A</c:v>
                </c:pt>
                <c:pt idx="199">
                  <c:v>#N/A</c:v>
                </c:pt>
                <c:pt idx="200">
                  <c:v>#N/A</c:v>
                </c:pt>
                <c:pt idx="201">
                  <c:v>#N/A</c:v>
                </c:pt>
                <c:pt idx="202">
                  <c:v>#N/A</c:v>
                </c:pt>
                <c:pt idx="203">
                  <c:v>#N/A</c:v>
                </c:pt>
                <c:pt idx="204">
                  <c:v>87620</c:v>
                </c:pt>
                <c:pt idx="205">
                  <c:v>#N/A</c:v>
                </c:pt>
                <c:pt idx="206">
                  <c:v>#N/A</c:v>
                </c:pt>
                <c:pt idx="207">
                  <c:v>#N/A</c:v>
                </c:pt>
                <c:pt idx="208">
                  <c:v>#N/A</c:v>
                </c:pt>
                <c:pt idx="209">
                  <c:v>#N/A</c:v>
                </c:pt>
                <c:pt idx="210">
                  <c:v>#N/A</c:v>
                </c:pt>
                <c:pt idx="211">
                  <c:v>90620</c:v>
                </c:pt>
                <c:pt idx="212">
                  <c:v>#N/A</c:v>
                </c:pt>
                <c:pt idx="213">
                  <c:v>#N/A</c:v>
                </c:pt>
                <c:pt idx="214">
                  <c:v>#N/A</c:v>
                </c:pt>
                <c:pt idx="215">
                  <c:v>#N/A</c:v>
                </c:pt>
                <c:pt idx="216">
                  <c:v>#N/A</c:v>
                </c:pt>
                <c:pt idx="217">
                  <c:v>#N/A</c:v>
                </c:pt>
                <c:pt idx="218">
                  <c:v>92620</c:v>
                </c:pt>
                <c:pt idx="219">
                  <c:v>#N/A</c:v>
                </c:pt>
                <c:pt idx="220">
                  <c:v>#N/A</c:v>
                </c:pt>
                <c:pt idx="221">
                  <c:v>#N/A</c:v>
                </c:pt>
                <c:pt idx="222">
                  <c:v>#N/A</c:v>
                </c:pt>
                <c:pt idx="223">
                  <c:v>#N/A</c:v>
                </c:pt>
                <c:pt idx="224">
                  <c:v>#N/A</c:v>
                </c:pt>
                <c:pt idx="225">
                  <c:v>98620</c:v>
                </c:pt>
                <c:pt idx="226">
                  <c:v>#N/A</c:v>
                </c:pt>
                <c:pt idx="227">
                  <c:v>#N/A</c:v>
                </c:pt>
                <c:pt idx="228">
                  <c:v>#N/A</c:v>
                </c:pt>
                <c:pt idx="229">
                  <c:v>#N/A</c:v>
                </c:pt>
                <c:pt idx="230">
                  <c:v>#N/A</c:v>
                </c:pt>
                <c:pt idx="231">
                  <c:v>#N/A</c:v>
                </c:pt>
                <c:pt idx="232">
                  <c:v>107620</c:v>
                </c:pt>
                <c:pt idx="233">
                  <c:v>#N/A</c:v>
                </c:pt>
                <c:pt idx="234">
                  <c:v>#N/A</c:v>
                </c:pt>
                <c:pt idx="235">
                  <c:v>#N/A</c:v>
                </c:pt>
                <c:pt idx="236">
                  <c:v>#N/A</c:v>
                </c:pt>
                <c:pt idx="237">
                  <c:v>#N/A</c:v>
                </c:pt>
                <c:pt idx="238">
                  <c:v>#N/A</c:v>
                </c:pt>
                <c:pt idx="239">
                  <c:v>109670</c:v>
                </c:pt>
                <c:pt idx="240">
                  <c:v>#N/A</c:v>
                </c:pt>
                <c:pt idx="241">
                  <c:v>#N/A</c:v>
                </c:pt>
                <c:pt idx="242">
                  <c:v>#N/A</c:v>
                </c:pt>
                <c:pt idx="243">
                  <c:v>#N/A</c:v>
                </c:pt>
                <c:pt idx="244">
                  <c:v>#N/A</c:v>
                </c:pt>
                <c:pt idx="245">
                  <c:v>#N/A</c:v>
                </c:pt>
                <c:pt idx="246">
                  <c:v>113670</c:v>
                </c:pt>
                <c:pt idx="247">
                  <c:v>#N/A</c:v>
                </c:pt>
                <c:pt idx="248">
                  <c:v>#N/A</c:v>
                </c:pt>
                <c:pt idx="249">
                  <c:v>#N/A</c:v>
                </c:pt>
                <c:pt idx="250">
                  <c:v>#N/A</c:v>
                </c:pt>
                <c:pt idx="251">
                  <c:v>#N/A</c:v>
                </c:pt>
                <c:pt idx="252">
                  <c:v>#N/A</c:v>
                </c:pt>
                <c:pt idx="253">
                  <c:v>119670</c:v>
                </c:pt>
                <c:pt idx="254">
                  <c:v>#N/A</c:v>
                </c:pt>
                <c:pt idx="255">
                  <c:v>#N/A</c:v>
                </c:pt>
                <c:pt idx="256">
                  <c:v>#N/A</c:v>
                </c:pt>
                <c:pt idx="257">
                  <c:v>#N/A</c:v>
                </c:pt>
                <c:pt idx="258">
                  <c:v>#N/A</c:v>
                </c:pt>
                <c:pt idx="259">
                  <c:v>#N/A</c:v>
                </c:pt>
                <c:pt idx="260">
                  <c:v>119670</c:v>
                </c:pt>
                <c:pt idx="261">
                  <c:v>#N/A</c:v>
                </c:pt>
                <c:pt idx="262">
                  <c:v>#N/A</c:v>
                </c:pt>
                <c:pt idx="263">
                  <c:v>#N/A</c:v>
                </c:pt>
                <c:pt idx="264">
                  <c:v>#N/A</c:v>
                </c:pt>
                <c:pt idx="265">
                  <c:v>#N/A</c:v>
                </c:pt>
                <c:pt idx="266">
                  <c:v>#N/A</c:v>
                </c:pt>
                <c:pt idx="267">
                  <c:v>124670</c:v>
                </c:pt>
                <c:pt idx="268">
                  <c:v>#N/A</c:v>
                </c:pt>
                <c:pt idx="269">
                  <c:v>#N/A</c:v>
                </c:pt>
                <c:pt idx="270">
                  <c:v>#N/A</c:v>
                </c:pt>
                <c:pt idx="271">
                  <c:v>#N/A</c:v>
                </c:pt>
                <c:pt idx="272">
                  <c:v>#N/A</c:v>
                </c:pt>
                <c:pt idx="273">
                  <c:v>#N/A</c:v>
                </c:pt>
                <c:pt idx="274">
                  <c:v>129670</c:v>
                </c:pt>
                <c:pt idx="275">
                  <c:v>#N/A</c:v>
                </c:pt>
                <c:pt idx="276">
                  <c:v>#N/A</c:v>
                </c:pt>
                <c:pt idx="277">
                  <c:v>#N/A</c:v>
                </c:pt>
                <c:pt idx="278">
                  <c:v>#N/A</c:v>
                </c:pt>
                <c:pt idx="279">
                  <c:v>#N/A</c:v>
                </c:pt>
                <c:pt idx="280">
                  <c:v>#N/A</c:v>
                </c:pt>
                <c:pt idx="281">
                  <c:v>133670</c:v>
                </c:pt>
                <c:pt idx="282">
                  <c:v>#N/A</c:v>
                </c:pt>
                <c:pt idx="283">
                  <c:v>#N/A</c:v>
                </c:pt>
                <c:pt idx="284">
                  <c:v>#N/A</c:v>
                </c:pt>
                <c:pt idx="285">
                  <c:v>#N/A</c:v>
                </c:pt>
                <c:pt idx="286">
                  <c:v>#N/A</c:v>
                </c:pt>
                <c:pt idx="287">
                  <c:v>#N/A</c:v>
                </c:pt>
                <c:pt idx="288">
                  <c:v>140670</c:v>
                </c:pt>
                <c:pt idx="289">
                  <c:v>#N/A</c:v>
                </c:pt>
                <c:pt idx="290">
                  <c:v>#N/A</c:v>
                </c:pt>
                <c:pt idx="291">
                  <c:v>#N/A</c:v>
                </c:pt>
                <c:pt idx="292">
                  <c:v>#N/A</c:v>
                </c:pt>
                <c:pt idx="293">
                  <c:v>#N/A</c:v>
                </c:pt>
                <c:pt idx="294">
                  <c:v>#N/A</c:v>
                </c:pt>
                <c:pt idx="295">
                  <c:v>146970</c:v>
                </c:pt>
                <c:pt idx="296">
                  <c:v>#N/A</c:v>
                </c:pt>
                <c:pt idx="297">
                  <c:v>#N/A</c:v>
                </c:pt>
                <c:pt idx="298">
                  <c:v>#N/A</c:v>
                </c:pt>
                <c:pt idx="299">
                  <c:v>#N/A</c:v>
                </c:pt>
                <c:pt idx="300">
                  <c:v>#N/A</c:v>
                </c:pt>
                <c:pt idx="301">
                  <c:v>#N/A</c:v>
                </c:pt>
                <c:pt idx="302">
                  <c:v>152570</c:v>
                </c:pt>
                <c:pt idx="303">
                  <c:v>#N/A</c:v>
                </c:pt>
                <c:pt idx="304">
                  <c:v>#N/A</c:v>
                </c:pt>
                <c:pt idx="305">
                  <c:v>#N/A</c:v>
                </c:pt>
                <c:pt idx="306">
                  <c:v>#N/A</c:v>
                </c:pt>
                <c:pt idx="307">
                  <c:v>#N/A</c:v>
                </c:pt>
                <c:pt idx="308">
                  <c:v>#N/A</c:v>
                </c:pt>
                <c:pt idx="309">
                  <c:v>153570</c:v>
                </c:pt>
                <c:pt idx="310">
                  <c:v>#N/A</c:v>
                </c:pt>
                <c:pt idx="311">
                  <c:v>#N/A</c:v>
                </c:pt>
                <c:pt idx="312">
                  <c:v>#N/A</c:v>
                </c:pt>
                <c:pt idx="313">
                  <c:v>#N/A</c:v>
                </c:pt>
                <c:pt idx="314">
                  <c:v>#N/A</c:v>
                </c:pt>
                <c:pt idx="315">
                  <c:v>#N/A</c:v>
                </c:pt>
                <c:pt idx="316">
                  <c:v>152670</c:v>
                </c:pt>
                <c:pt idx="317">
                  <c:v>#N/A</c:v>
                </c:pt>
                <c:pt idx="318">
                  <c:v>#N/A</c:v>
                </c:pt>
                <c:pt idx="319">
                  <c:v>#N/A</c:v>
                </c:pt>
                <c:pt idx="320">
                  <c:v>#N/A</c:v>
                </c:pt>
                <c:pt idx="321">
                  <c:v>#N/A</c:v>
                </c:pt>
                <c:pt idx="322">
                  <c:v>#N/A</c:v>
                </c:pt>
                <c:pt idx="323">
                  <c:v>153670</c:v>
                </c:pt>
                <c:pt idx="324">
                  <c:v>#N/A</c:v>
                </c:pt>
                <c:pt idx="325">
                  <c:v>#N/A</c:v>
                </c:pt>
                <c:pt idx="326">
                  <c:v>#N/A</c:v>
                </c:pt>
                <c:pt idx="327">
                  <c:v>#N/A</c:v>
                </c:pt>
                <c:pt idx="328">
                  <c:v>#N/A</c:v>
                </c:pt>
                <c:pt idx="329">
                  <c:v>#N/A</c:v>
                </c:pt>
                <c:pt idx="330">
                  <c:v>160410</c:v>
                </c:pt>
                <c:pt idx="331">
                  <c:v>#N/A</c:v>
                </c:pt>
                <c:pt idx="332">
                  <c:v>#N/A</c:v>
                </c:pt>
                <c:pt idx="333">
                  <c:v>#N/A</c:v>
                </c:pt>
                <c:pt idx="334">
                  <c:v>#N/A</c:v>
                </c:pt>
                <c:pt idx="335">
                  <c:v>#N/A</c:v>
                </c:pt>
                <c:pt idx="336">
                  <c:v>#N/A</c:v>
                </c:pt>
                <c:pt idx="337">
                  <c:v>165210</c:v>
                </c:pt>
                <c:pt idx="338">
                  <c:v>#N/A</c:v>
                </c:pt>
                <c:pt idx="339">
                  <c:v>#N/A</c:v>
                </c:pt>
                <c:pt idx="340">
                  <c:v>#N/A</c:v>
                </c:pt>
                <c:pt idx="341">
                  <c:v>#N/A</c:v>
                </c:pt>
                <c:pt idx="342">
                  <c:v>#N/A</c:v>
                </c:pt>
                <c:pt idx="343">
                  <c:v>#N/A</c:v>
                </c:pt>
                <c:pt idx="344">
                  <c:v>165210</c:v>
                </c:pt>
                <c:pt idx="345">
                  <c:v>#N/A</c:v>
                </c:pt>
                <c:pt idx="346">
                  <c:v>#N/A</c:v>
                </c:pt>
                <c:pt idx="347">
                  <c:v>#N/A</c:v>
                </c:pt>
                <c:pt idx="348">
                  <c:v>#N/A</c:v>
                </c:pt>
                <c:pt idx="349">
                  <c:v>#N/A</c:v>
                </c:pt>
                <c:pt idx="350">
                  <c:v>#N/A</c:v>
                </c:pt>
                <c:pt idx="351">
                  <c:v>168610</c:v>
                </c:pt>
                <c:pt idx="352">
                  <c:v>#N/A</c:v>
                </c:pt>
                <c:pt idx="353">
                  <c:v>#N/A</c:v>
                </c:pt>
                <c:pt idx="354">
                  <c:v>#N/A</c:v>
                </c:pt>
                <c:pt idx="355">
                  <c:v>#N/A</c:v>
                </c:pt>
                <c:pt idx="356">
                  <c:v>#N/A</c:v>
                </c:pt>
                <c:pt idx="357">
                  <c:v>#N/A</c:v>
                </c:pt>
                <c:pt idx="358">
                  <c:v>169910</c:v>
                </c:pt>
                <c:pt idx="359">
                  <c:v>#N/A</c:v>
                </c:pt>
                <c:pt idx="360">
                  <c:v>#N/A</c:v>
                </c:pt>
                <c:pt idx="361">
                  <c:v>#N/A</c:v>
                </c:pt>
                <c:pt idx="362">
                  <c:v>#N/A</c:v>
                </c:pt>
                <c:pt idx="363">
                  <c:v>#N/A</c:v>
                </c:pt>
                <c:pt idx="364">
                  <c:v>#N/A</c:v>
                </c:pt>
                <c:pt idx="365">
                  <c:v>175510</c:v>
                </c:pt>
              </c:numCache>
            </c:numRef>
          </c:val>
          <c:smooth val="0"/>
          <c:extLst>
            <c:ext xmlns:c16="http://schemas.microsoft.com/office/drawing/2014/chart" uri="{C3380CC4-5D6E-409C-BE32-E72D297353CC}">
              <c16:uniqueId val="{00000000-4DCC-4A7C-819B-C8DF56CA4B6D}"/>
            </c:ext>
          </c:extLst>
        </c:ser>
        <c:ser>
          <c:idx val="1"/>
          <c:order val="1"/>
          <c:tx>
            <c:strRef>
              <c:f>工业硅库存!$AI$2</c:f>
              <c:strCache>
                <c:ptCount val="1"/>
                <c:pt idx="0">
                  <c:v>2022</c:v>
                </c:pt>
              </c:strCache>
            </c:strRef>
          </c:tx>
          <c:spPr>
            <a:ln w="19050" cap="rnd">
              <a:solidFill>
                <a:srgbClr val="7F7F7F">
                  <a:alpha val="60000"/>
                </a:srgbClr>
              </a:solidFill>
              <a:round/>
            </a:ln>
            <a:effectLst/>
          </c:spPr>
          <c:marker>
            <c:symbol val="none"/>
          </c:marker>
          <c:cat>
            <c:strRef>
              <c:f>工业硅库存!$AG$3:$AG$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AI$3:$AI$368</c:f>
              <c:numCache>
                <c:formatCode>General</c:formatCode>
                <c:ptCount val="366"/>
                <c:pt idx="0">
                  <c:v>#N/A</c:v>
                </c:pt>
                <c:pt idx="1">
                  <c:v>#N/A</c:v>
                </c:pt>
                <c:pt idx="2">
                  <c:v>#N/A</c:v>
                </c:pt>
                <c:pt idx="3">
                  <c:v>#N/A</c:v>
                </c:pt>
                <c:pt idx="4">
                  <c:v>#N/A</c:v>
                </c:pt>
                <c:pt idx="5">
                  <c:v>#N/A</c:v>
                </c:pt>
                <c:pt idx="6">
                  <c:v>173510</c:v>
                </c:pt>
                <c:pt idx="7">
                  <c:v>#N/A</c:v>
                </c:pt>
                <c:pt idx="8">
                  <c:v>#N/A</c:v>
                </c:pt>
                <c:pt idx="9">
                  <c:v>#N/A</c:v>
                </c:pt>
                <c:pt idx="10">
                  <c:v>#N/A</c:v>
                </c:pt>
                <c:pt idx="11">
                  <c:v>#N/A</c:v>
                </c:pt>
                <c:pt idx="12">
                  <c:v>#N/A</c:v>
                </c:pt>
                <c:pt idx="13">
                  <c:v>170510</c:v>
                </c:pt>
                <c:pt idx="14">
                  <c:v>#N/A</c:v>
                </c:pt>
                <c:pt idx="15">
                  <c:v>#N/A</c:v>
                </c:pt>
                <c:pt idx="16">
                  <c:v>#N/A</c:v>
                </c:pt>
                <c:pt idx="17">
                  <c:v>#N/A</c:v>
                </c:pt>
                <c:pt idx="18">
                  <c:v>#N/A</c:v>
                </c:pt>
                <c:pt idx="19">
                  <c:v>#N/A</c:v>
                </c:pt>
                <c:pt idx="20">
                  <c:v>168910</c:v>
                </c:pt>
                <c:pt idx="21">
                  <c:v>#N/A</c:v>
                </c:pt>
                <c:pt idx="22">
                  <c:v>#N/A</c:v>
                </c:pt>
                <c:pt idx="23">
                  <c:v>#N/A</c:v>
                </c:pt>
                <c:pt idx="24">
                  <c:v>#N/A</c:v>
                </c:pt>
                <c:pt idx="25">
                  <c:v>#N/A</c:v>
                </c:pt>
                <c:pt idx="26">
                  <c:v>#N/A</c:v>
                </c:pt>
                <c:pt idx="27">
                  <c:v>167910</c:v>
                </c:pt>
                <c:pt idx="28">
                  <c:v>#N/A</c:v>
                </c:pt>
                <c:pt idx="29">
                  <c:v>#N/A</c:v>
                </c:pt>
                <c:pt idx="30">
                  <c:v>#N/A</c:v>
                </c:pt>
                <c:pt idx="31">
                  <c:v>#N/A</c:v>
                </c:pt>
                <c:pt idx="32">
                  <c:v>#N/A</c:v>
                </c:pt>
                <c:pt idx="33">
                  <c:v>#N/A</c:v>
                </c:pt>
                <c:pt idx="34">
                  <c:v>167060</c:v>
                </c:pt>
                <c:pt idx="35">
                  <c:v>#N/A</c:v>
                </c:pt>
                <c:pt idx="36">
                  <c:v>#N/A</c:v>
                </c:pt>
                <c:pt idx="37">
                  <c:v>#N/A</c:v>
                </c:pt>
                <c:pt idx="38">
                  <c:v>#N/A</c:v>
                </c:pt>
                <c:pt idx="39">
                  <c:v>#N/A</c:v>
                </c:pt>
                <c:pt idx="40">
                  <c:v>#N/A</c:v>
                </c:pt>
                <c:pt idx="41">
                  <c:v>163910</c:v>
                </c:pt>
                <c:pt idx="42">
                  <c:v>#N/A</c:v>
                </c:pt>
                <c:pt idx="43">
                  <c:v>#N/A</c:v>
                </c:pt>
                <c:pt idx="44">
                  <c:v>#N/A</c:v>
                </c:pt>
                <c:pt idx="45">
                  <c:v>#N/A</c:v>
                </c:pt>
                <c:pt idx="46">
                  <c:v>#N/A</c:v>
                </c:pt>
                <c:pt idx="47">
                  <c:v>#N/A</c:v>
                </c:pt>
                <c:pt idx="48">
                  <c:v>161910</c:v>
                </c:pt>
                <c:pt idx="49">
                  <c:v>#N/A</c:v>
                </c:pt>
                <c:pt idx="50">
                  <c:v>#N/A</c:v>
                </c:pt>
                <c:pt idx="51">
                  <c:v>#N/A</c:v>
                </c:pt>
                <c:pt idx="52">
                  <c:v>#N/A</c:v>
                </c:pt>
                <c:pt idx="53">
                  <c:v>#N/A</c:v>
                </c:pt>
                <c:pt idx="54">
                  <c:v>#N/A</c:v>
                </c:pt>
                <c:pt idx="55">
                  <c:v>159610</c:v>
                </c:pt>
                <c:pt idx="56">
                  <c:v>#N/A</c:v>
                </c:pt>
                <c:pt idx="57">
                  <c:v>#N/A</c:v>
                </c:pt>
                <c:pt idx="58">
                  <c:v>#N/A</c:v>
                </c:pt>
                <c:pt idx="60">
                  <c:v>#N/A</c:v>
                </c:pt>
                <c:pt idx="61">
                  <c:v>#N/A</c:v>
                </c:pt>
                <c:pt idx="62">
                  <c:v>#N/A</c:v>
                </c:pt>
                <c:pt idx="63">
                  <c:v>155610</c:v>
                </c:pt>
                <c:pt idx="64">
                  <c:v>#N/A</c:v>
                </c:pt>
                <c:pt idx="65">
                  <c:v>#N/A</c:v>
                </c:pt>
                <c:pt idx="66">
                  <c:v>#N/A</c:v>
                </c:pt>
                <c:pt idx="67">
                  <c:v>#N/A</c:v>
                </c:pt>
                <c:pt idx="68">
                  <c:v>#N/A</c:v>
                </c:pt>
                <c:pt idx="69">
                  <c:v>#N/A</c:v>
                </c:pt>
                <c:pt idx="70">
                  <c:v>156010</c:v>
                </c:pt>
                <c:pt idx="71">
                  <c:v>#N/A</c:v>
                </c:pt>
                <c:pt idx="72">
                  <c:v>#N/A</c:v>
                </c:pt>
                <c:pt idx="73">
                  <c:v>#N/A</c:v>
                </c:pt>
                <c:pt idx="74">
                  <c:v>#N/A</c:v>
                </c:pt>
                <c:pt idx="75">
                  <c:v>#N/A</c:v>
                </c:pt>
                <c:pt idx="76">
                  <c:v>#N/A</c:v>
                </c:pt>
                <c:pt idx="77">
                  <c:v>155010</c:v>
                </c:pt>
                <c:pt idx="78">
                  <c:v>#N/A</c:v>
                </c:pt>
                <c:pt idx="79">
                  <c:v>#N/A</c:v>
                </c:pt>
                <c:pt idx="80">
                  <c:v>#N/A</c:v>
                </c:pt>
                <c:pt idx="81">
                  <c:v>#N/A</c:v>
                </c:pt>
                <c:pt idx="82">
                  <c:v>#N/A</c:v>
                </c:pt>
                <c:pt idx="83">
                  <c:v>#N/A</c:v>
                </c:pt>
                <c:pt idx="84">
                  <c:v>155010</c:v>
                </c:pt>
                <c:pt idx="85">
                  <c:v>#N/A</c:v>
                </c:pt>
                <c:pt idx="86">
                  <c:v>#N/A</c:v>
                </c:pt>
                <c:pt idx="87">
                  <c:v>#N/A</c:v>
                </c:pt>
                <c:pt idx="88">
                  <c:v>#N/A</c:v>
                </c:pt>
                <c:pt idx="89">
                  <c:v>#N/A</c:v>
                </c:pt>
                <c:pt idx="90">
                  <c:v>#N/A</c:v>
                </c:pt>
                <c:pt idx="91">
                  <c:v>161760</c:v>
                </c:pt>
                <c:pt idx="92">
                  <c:v>#N/A</c:v>
                </c:pt>
                <c:pt idx="93">
                  <c:v>#N/A</c:v>
                </c:pt>
                <c:pt idx="94">
                  <c:v>#N/A</c:v>
                </c:pt>
                <c:pt idx="95">
                  <c:v>#N/A</c:v>
                </c:pt>
                <c:pt idx="96">
                  <c:v>#N/A</c:v>
                </c:pt>
                <c:pt idx="97">
                  <c:v>#N/A</c:v>
                </c:pt>
                <c:pt idx="98">
                  <c:v>163760</c:v>
                </c:pt>
                <c:pt idx="99">
                  <c:v>#N/A</c:v>
                </c:pt>
                <c:pt idx="100">
                  <c:v>#N/A</c:v>
                </c:pt>
                <c:pt idx="101">
                  <c:v>#N/A</c:v>
                </c:pt>
                <c:pt idx="102">
                  <c:v>#N/A</c:v>
                </c:pt>
                <c:pt idx="103">
                  <c:v>#N/A</c:v>
                </c:pt>
                <c:pt idx="104">
                  <c:v>#N/A</c:v>
                </c:pt>
                <c:pt idx="105">
                  <c:v>159760</c:v>
                </c:pt>
                <c:pt idx="106">
                  <c:v>#N/A</c:v>
                </c:pt>
                <c:pt idx="107">
                  <c:v>#N/A</c:v>
                </c:pt>
                <c:pt idx="108">
                  <c:v>#N/A</c:v>
                </c:pt>
                <c:pt idx="109">
                  <c:v>#N/A</c:v>
                </c:pt>
                <c:pt idx="110">
                  <c:v>#N/A</c:v>
                </c:pt>
                <c:pt idx="111">
                  <c:v>#N/A</c:v>
                </c:pt>
                <c:pt idx="112">
                  <c:v>161760</c:v>
                </c:pt>
                <c:pt idx="113">
                  <c:v>#N/A</c:v>
                </c:pt>
                <c:pt idx="114">
                  <c:v>#N/A</c:v>
                </c:pt>
                <c:pt idx="115">
                  <c:v>#N/A</c:v>
                </c:pt>
                <c:pt idx="116">
                  <c:v>#N/A</c:v>
                </c:pt>
                <c:pt idx="117">
                  <c:v>#N/A</c:v>
                </c:pt>
                <c:pt idx="118">
                  <c:v>#N/A</c:v>
                </c:pt>
                <c:pt idx="119">
                  <c:v>160460</c:v>
                </c:pt>
                <c:pt idx="120">
                  <c:v>#N/A</c:v>
                </c:pt>
                <c:pt idx="121">
                  <c:v>#N/A</c:v>
                </c:pt>
                <c:pt idx="122">
                  <c:v>#N/A</c:v>
                </c:pt>
                <c:pt idx="123">
                  <c:v>#N/A</c:v>
                </c:pt>
                <c:pt idx="124">
                  <c:v>#N/A</c:v>
                </c:pt>
                <c:pt idx="125">
                  <c:v>#N/A</c:v>
                </c:pt>
                <c:pt idx="126">
                  <c:v>160460</c:v>
                </c:pt>
                <c:pt idx="127">
                  <c:v>#N/A</c:v>
                </c:pt>
                <c:pt idx="128">
                  <c:v>#N/A</c:v>
                </c:pt>
                <c:pt idx="129">
                  <c:v>#N/A</c:v>
                </c:pt>
                <c:pt idx="130">
                  <c:v>#N/A</c:v>
                </c:pt>
                <c:pt idx="131">
                  <c:v>#N/A</c:v>
                </c:pt>
                <c:pt idx="132">
                  <c:v>#N/A</c:v>
                </c:pt>
                <c:pt idx="133">
                  <c:v>159060</c:v>
                </c:pt>
                <c:pt idx="134">
                  <c:v>#N/A</c:v>
                </c:pt>
                <c:pt idx="135">
                  <c:v>#N/A</c:v>
                </c:pt>
                <c:pt idx="136">
                  <c:v>#N/A</c:v>
                </c:pt>
                <c:pt idx="137">
                  <c:v>#N/A</c:v>
                </c:pt>
                <c:pt idx="138">
                  <c:v>#N/A</c:v>
                </c:pt>
                <c:pt idx="139">
                  <c:v>#N/A</c:v>
                </c:pt>
                <c:pt idx="140">
                  <c:v>152060</c:v>
                </c:pt>
                <c:pt idx="141">
                  <c:v>#N/A</c:v>
                </c:pt>
                <c:pt idx="142">
                  <c:v>#N/A</c:v>
                </c:pt>
                <c:pt idx="143">
                  <c:v>#N/A</c:v>
                </c:pt>
                <c:pt idx="144">
                  <c:v>#N/A</c:v>
                </c:pt>
                <c:pt idx="145">
                  <c:v>#N/A</c:v>
                </c:pt>
                <c:pt idx="146">
                  <c:v>#N/A</c:v>
                </c:pt>
                <c:pt idx="147">
                  <c:v>149060</c:v>
                </c:pt>
                <c:pt idx="148">
                  <c:v>#N/A</c:v>
                </c:pt>
                <c:pt idx="149">
                  <c:v>#N/A</c:v>
                </c:pt>
                <c:pt idx="150">
                  <c:v>#N/A</c:v>
                </c:pt>
                <c:pt idx="151">
                  <c:v>#N/A</c:v>
                </c:pt>
                <c:pt idx="152">
                  <c:v>#N/A</c:v>
                </c:pt>
                <c:pt idx="153">
                  <c:v>#N/A</c:v>
                </c:pt>
                <c:pt idx="154">
                  <c:v>146960</c:v>
                </c:pt>
                <c:pt idx="155">
                  <c:v>#N/A</c:v>
                </c:pt>
                <c:pt idx="156">
                  <c:v>#N/A</c:v>
                </c:pt>
                <c:pt idx="157">
                  <c:v>#N/A</c:v>
                </c:pt>
                <c:pt idx="158">
                  <c:v>#N/A</c:v>
                </c:pt>
                <c:pt idx="159">
                  <c:v>#N/A</c:v>
                </c:pt>
                <c:pt idx="160">
                  <c:v>#N/A</c:v>
                </c:pt>
                <c:pt idx="161">
                  <c:v>141960</c:v>
                </c:pt>
                <c:pt idx="162">
                  <c:v>#N/A</c:v>
                </c:pt>
                <c:pt idx="163">
                  <c:v>#N/A</c:v>
                </c:pt>
                <c:pt idx="164">
                  <c:v>#N/A</c:v>
                </c:pt>
                <c:pt idx="165">
                  <c:v>#N/A</c:v>
                </c:pt>
                <c:pt idx="166">
                  <c:v>#N/A</c:v>
                </c:pt>
                <c:pt idx="167">
                  <c:v>#N/A</c:v>
                </c:pt>
                <c:pt idx="168">
                  <c:v>147960</c:v>
                </c:pt>
                <c:pt idx="169">
                  <c:v>#N/A</c:v>
                </c:pt>
                <c:pt idx="170">
                  <c:v>#N/A</c:v>
                </c:pt>
                <c:pt idx="171">
                  <c:v>#N/A</c:v>
                </c:pt>
                <c:pt idx="172">
                  <c:v>#N/A</c:v>
                </c:pt>
                <c:pt idx="173">
                  <c:v>#N/A</c:v>
                </c:pt>
                <c:pt idx="174">
                  <c:v>#N/A</c:v>
                </c:pt>
                <c:pt idx="175">
                  <c:v>147660</c:v>
                </c:pt>
                <c:pt idx="176">
                  <c:v>#N/A</c:v>
                </c:pt>
                <c:pt idx="177">
                  <c:v>#N/A</c:v>
                </c:pt>
                <c:pt idx="178">
                  <c:v>#N/A</c:v>
                </c:pt>
                <c:pt idx="179">
                  <c:v>#N/A</c:v>
                </c:pt>
                <c:pt idx="180">
                  <c:v>#N/A</c:v>
                </c:pt>
                <c:pt idx="181">
                  <c:v>#N/A</c:v>
                </c:pt>
                <c:pt idx="182">
                  <c:v>147660</c:v>
                </c:pt>
                <c:pt idx="183">
                  <c:v>#N/A</c:v>
                </c:pt>
                <c:pt idx="184">
                  <c:v>#N/A</c:v>
                </c:pt>
                <c:pt idx="185">
                  <c:v>#N/A</c:v>
                </c:pt>
                <c:pt idx="186">
                  <c:v>#N/A</c:v>
                </c:pt>
                <c:pt idx="187">
                  <c:v>#N/A</c:v>
                </c:pt>
                <c:pt idx="188">
                  <c:v>#N/A</c:v>
                </c:pt>
                <c:pt idx="189">
                  <c:v>146960</c:v>
                </c:pt>
                <c:pt idx="190">
                  <c:v>#N/A</c:v>
                </c:pt>
                <c:pt idx="191">
                  <c:v>#N/A</c:v>
                </c:pt>
                <c:pt idx="192">
                  <c:v>#N/A</c:v>
                </c:pt>
                <c:pt idx="193">
                  <c:v>#N/A</c:v>
                </c:pt>
                <c:pt idx="194">
                  <c:v>#N/A</c:v>
                </c:pt>
                <c:pt idx="195">
                  <c:v>#N/A</c:v>
                </c:pt>
                <c:pt idx="196">
                  <c:v>144760</c:v>
                </c:pt>
                <c:pt idx="197">
                  <c:v>#N/A</c:v>
                </c:pt>
                <c:pt idx="198">
                  <c:v>#N/A</c:v>
                </c:pt>
                <c:pt idx="199">
                  <c:v>#N/A</c:v>
                </c:pt>
                <c:pt idx="200">
                  <c:v>#N/A</c:v>
                </c:pt>
                <c:pt idx="201">
                  <c:v>#N/A</c:v>
                </c:pt>
                <c:pt idx="202">
                  <c:v>#N/A</c:v>
                </c:pt>
                <c:pt idx="203">
                  <c:v>145760</c:v>
                </c:pt>
                <c:pt idx="204">
                  <c:v>#N/A</c:v>
                </c:pt>
                <c:pt idx="205">
                  <c:v>#N/A</c:v>
                </c:pt>
                <c:pt idx="206">
                  <c:v>#N/A</c:v>
                </c:pt>
                <c:pt idx="207">
                  <c:v>#N/A</c:v>
                </c:pt>
                <c:pt idx="208">
                  <c:v>#N/A</c:v>
                </c:pt>
                <c:pt idx="209">
                  <c:v>#N/A</c:v>
                </c:pt>
                <c:pt idx="210">
                  <c:v>151260</c:v>
                </c:pt>
                <c:pt idx="211">
                  <c:v>#N/A</c:v>
                </c:pt>
                <c:pt idx="212">
                  <c:v>#N/A</c:v>
                </c:pt>
                <c:pt idx="213">
                  <c:v>#N/A</c:v>
                </c:pt>
                <c:pt idx="214">
                  <c:v>#N/A</c:v>
                </c:pt>
                <c:pt idx="215">
                  <c:v>#N/A</c:v>
                </c:pt>
                <c:pt idx="216">
                  <c:v>#N/A</c:v>
                </c:pt>
                <c:pt idx="217">
                  <c:v>169810</c:v>
                </c:pt>
                <c:pt idx="218">
                  <c:v>#N/A</c:v>
                </c:pt>
                <c:pt idx="219">
                  <c:v>#N/A</c:v>
                </c:pt>
                <c:pt idx="220">
                  <c:v>#N/A</c:v>
                </c:pt>
                <c:pt idx="221">
                  <c:v>#N/A</c:v>
                </c:pt>
                <c:pt idx="222">
                  <c:v>#N/A</c:v>
                </c:pt>
                <c:pt idx="223">
                  <c:v>#N/A</c:v>
                </c:pt>
                <c:pt idx="224">
                  <c:v>173010</c:v>
                </c:pt>
                <c:pt idx="225">
                  <c:v>#N/A</c:v>
                </c:pt>
                <c:pt idx="226">
                  <c:v>#N/A</c:v>
                </c:pt>
                <c:pt idx="227">
                  <c:v>#N/A</c:v>
                </c:pt>
                <c:pt idx="228">
                  <c:v>#N/A</c:v>
                </c:pt>
                <c:pt idx="229">
                  <c:v>#N/A</c:v>
                </c:pt>
                <c:pt idx="230">
                  <c:v>#N/A</c:v>
                </c:pt>
                <c:pt idx="231">
                  <c:v>172810</c:v>
                </c:pt>
                <c:pt idx="232">
                  <c:v>#N/A</c:v>
                </c:pt>
                <c:pt idx="233">
                  <c:v>#N/A</c:v>
                </c:pt>
                <c:pt idx="234">
                  <c:v>#N/A</c:v>
                </c:pt>
                <c:pt idx="235">
                  <c:v>#N/A</c:v>
                </c:pt>
                <c:pt idx="236">
                  <c:v>#N/A</c:v>
                </c:pt>
                <c:pt idx="237">
                  <c:v>#N/A</c:v>
                </c:pt>
                <c:pt idx="238">
                  <c:v>170610</c:v>
                </c:pt>
                <c:pt idx="239">
                  <c:v>#N/A</c:v>
                </c:pt>
                <c:pt idx="240">
                  <c:v>#N/A</c:v>
                </c:pt>
                <c:pt idx="241">
                  <c:v>#N/A</c:v>
                </c:pt>
                <c:pt idx="242">
                  <c:v>#N/A</c:v>
                </c:pt>
                <c:pt idx="243">
                  <c:v>#N/A</c:v>
                </c:pt>
                <c:pt idx="244">
                  <c:v>#N/A</c:v>
                </c:pt>
                <c:pt idx="245">
                  <c:v>171210</c:v>
                </c:pt>
                <c:pt idx="246">
                  <c:v>#N/A</c:v>
                </c:pt>
                <c:pt idx="247">
                  <c:v>#N/A</c:v>
                </c:pt>
                <c:pt idx="248">
                  <c:v>#N/A</c:v>
                </c:pt>
                <c:pt idx="249">
                  <c:v>#N/A</c:v>
                </c:pt>
                <c:pt idx="250">
                  <c:v>#N/A</c:v>
                </c:pt>
                <c:pt idx="251">
                  <c:v>#N/A</c:v>
                </c:pt>
                <c:pt idx="252">
                  <c:v>172210</c:v>
                </c:pt>
                <c:pt idx="253">
                  <c:v>#N/A</c:v>
                </c:pt>
                <c:pt idx="254">
                  <c:v>#N/A</c:v>
                </c:pt>
                <c:pt idx="255">
                  <c:v>#N/A</c:v>
                </c:pt>
                <c:pt idx="256">
                  <c:v>#N/A</c:v>
                </c:pt>
                <c:pt idx="257">
                  <c:v>#N/A</c:v>
                </c:pt>
                <c:pt idx="258">
                  <c:v>#N/A</c:v>
                </c:pt>
                <c:pt idx="259">
                  <c:v>172610</c:v>
                </c:pt>
                <c:pt idx="260">
                  <c:v>#N/A</c:v>
                </c:pt>
                <c:pt idx="261">
                  <c:v>#N/A</c:v>
                </c:pt>
                <c:pt idx="262">
                  <c:v>#N/A</c:v>
                </c:pt>
                <c:pt idx="263">
                  <c:v>#N/A</c:v>
                </c:pt>
                <c:pt idx="264">
                  <c:v>#N/A</c:v>
                </c:pt>
                <c:pt idx="265">
                  <c:v>#N/A</c:v>
                </c:pt>
                <c:pt idx="266">
                  <c:v>177810</c:v>
                </c:pt>
                <c:pt idx="267">
                  <c:v>#N/A</c:v>
                </c:pt>
                <c:pt idx="268">
                  <c:v>#N/A</c:v>
                </c:pt>
                <c:pt idx="269">
                  <c:v>#N/A</c:v>
                </c:pt>
                <c:pt idx="270">
                  <c:v>#N/A</c:v>
                </c:pt>
                <c:pt idx="271">
                  <c:v>#N/A</c:v>
                </c:pt>
                <c:pt idx="272">
                  <c:v>#N/A</c:v>
                </c:pt>
                <c:pt idx="273">
                  <c:v>185460</c:v>
                </c:pt>
                <c:pt idx="274">
                  <c:v>#N/A</c:v>
                </c:pt>
                <c:pt idx="275">
                  <c:v>#N/A</c:v>
                </c:pt>
                <c:pt idx="276">
                  <c:v>#N/A</c:v>
                </c:pt>
                <c:pt idx="277">
                  <c:v>#N/A</c:v>
                </c:pt>
                <c:pt idx="278">
                  <c:v>#N/A</c:v>
                </c:pt>
                <c:pt idx="279">
                  <c:v>#N/A</c:v>
                </c:pt>
                <c:pt idx="280">
                  <c:v>185460</c:v>
                </c:pt>
                <c:pt idx="281">
                  <c:v>#N/A</c:v>
                </c:pt>
                <c:pt idx="282">
                  <c:v>#N/A</c:v>
                </c:pt>
                <c:pt idx="283">
                  <c:v>#N/A</c:v>
                </c:pt>
                <c:pt idx="284">
                  <c:v>#N/A</c:v>
                </c:pt>
                <c:pt idx="285">
                  <c:v>#N/A</c:v>
                </c:pt>
                <c:pt idx="286">
                  <c:v>#N/A</c:v>
                </c:pt>
                <c:pt idx="287">
                  <c:v>186660</c:v>
                </c:pt>
                <c:pt idx="288">
                  <c:v>#N/A</c:v>
                </c:pt>
                <c:pt idx="289">
                  <c:v>#N/A</c:v>
                </c:pt>
                <c:pt idx="290">
                  <c:v>#N/A</c:v>
                </c:pt>
                <c:pt idx="291">
                  <c:v>#N/A</c:v>
                </c:pt>
                <c:pt idx="292">
                  <c:v>#N/A</c:v>
                </c:pt>
                <c:pt idx="293">
                  <c:v>#N/A</c:v>
                </c:pt>
                <c:pt idx="294">
                  <c:v>190960</c:v>
                </c:pt>
                <c:pt idx="295">
                  <c:v>#N/A</c:v>
                </c:pt>
                <c:pt idx="296">
                  <c:v>#N/A</c:v>
                </c:pt>
                <c:pt idx="297">
                  <c:v>#N/A</c:v>
                </c:pt>
                <c:pt idx="298">
                  <c:v>#N/A</c:v>
                </c:pt>
                <c:pt idx="299">
                  <c:v>#N/A</c:v>
                </c:pt>
                <c:pt idx="300">
                  <c:v>#N/A</c:v>
                </c:pt>
                <c:pt idx="301">
                  <c:v>195460</c:v>
                </c:pt>
                <c:pt idx="302">
                  <c:v>#N/A</c:v>
                </c:pt>
                <c:pt idx="303">
                  <c:v>#N/A</c:v>
                </c:pt>
                <c:pt idx="304">
                  <c:v>#N/A</c:v>
                </c:pt>
                <c:pt idx="305">
                  <c:v>#N/A</c:v>
                </c:pt>
                <c:pt idx="306">
                  <c:v>#N/A</c:v>
                </c:pt>
                <c:pt idx="307">
                  <c:v>#N/A</c:v>
                </c:pt>
                <c:pt idx="308">
                  <c:v>202580</c:v>
                </c:pt>
                <c:pt idx="309">
                  <c:v>#N/A</c:v>
                </c:pt>
                <c:pt idx="310">
                  <c:v>#N/A</c:v>
                </c:pt>
                <c:pt idx="311">
                  <c:v>#N/A</c:v>
                </c:pt>
                <c:pt idx="312">
                  <c:v>#N/A</c:v>
                </c:pt>
                <c:pt idx="313">
                  <c:v>#N/A</c:v>
                </c:pt>
                <c:pt idx="314">
                  <c:v>#N/A</c:v>
                </c:pt>
                <c:pt idx="315">
                  <c:v>205930</c:v>
                </c:pt>
                <c:pt idx="316">
                  <c:v>#N/A</c:v>
                </c:pt>
                <c:pt idx="317">
                  <c:v>#N/A</c:v>
                </c:pt>
                <c:pt idx="318">
                  <c:v>#N/A</c:v>
                </c:pt>
                <c:pt idx="319">
                  <c:v>#N/A</c:v>
                </c:pt>
                <c:pt idx="320">
                  <c:v>#N/A</c:v>
                </c:pt>
                <c:pt idx="321">
                  <c:v>#N/A</c:v>
                </c:pt>
                <c:pt idx="322">
                  <c:v>207930</c:v>
                </c:pt>
                <c:pt idx="323">
                  <c:v>#N/A</c:v>
                </c:pt>
                <c:pt idx="324">
                  <c:v>#N/A</c:v>
                </c:pt>
                <c:pt idx="325">
                  <c:v>#N/A</c:v>
                </c:pt>
                <c:pt idx="326">
                  <c:v>#N/A</c:v>
                </c:pt>
                <c:pt idx="327">
                  <c:v>#N/A</c:v>
                </c:pt>
                <c:pt idx="328">
                  <c:v>#N/A</c:v>
                </c:pt>
                <c:pt idx="329">
                  <c:v>209070</c:v>
                </c:pt>
                <c:pt idx="330">
                  <c:v>#N/A</c:v>
                </c:pt>
                <c:pt idx="331">
                  <c:v>#N/A</c:v>
                </c:pt>
                <c:pt idx="332">
                  <c:v>#N/A</c:v>
                </c:pt>
                <c:pt idx="333">
                  <c:v>#N/A</c:v>
                </c:pt>
                <c:pt idx="334">
                  <c:v>#N/A</c:v>
                </c:pt>
                <c:pt idx="335">
                  <c:v>#N/A</c:v>
                </c:pt>
                <c:pt idx="336">
                  <c:v>210170</c:v>
                </c:pt>
                <c:pt idx="337">
                  <c:v>#N/A</c:v>
                </c:pt>
                <c:pt idx="338">
                  <c:v>#N/A</c:v>
                </c:pt>
                <c:pt idx="339">
                  <c:v>#N/A</c:v>
                </c:pt>
                <c:pt idx="340">
                  <c:v>#N/A</c:v>
                </c:pt>
                <c:pt idx="341">
                  <c:v>#N/A</c:v>
                </c:pt>
                <c:pt idx="342">
                  <c:v>#N/A</c:v>
                </c:pt>
                <c:pt idx="343">
                  <c:v>210070</c:v>
                </c:pt>
                <c:pt idx="344">
                  <c:v>#N/A</c:v>
                </c:pt>
                <c:pt idx="345">
                  <c:v>#N/A</c:v>
                </c:pt>
                <c:pt idx="346">
                  <c:v>#N/A</c:v>
                </c:pt>
                <c:pt idx="347">
                  <c:v>#N/A</c:v>
                </c:pt>
                <c:pt idx="348">
                  <c:v>#N/A</c:v>
                </c:pt>
                <c:pt idx="349">
                  <c:v>#N/A</c:v>
                </c:pt>
                <c:pt idx="350">
                  <c:v>210070</c:v>
                </c:pt>
                <c:pt idx="351">
                  <c:v>#N/A</c:v>
                </c:pt>
                <c:pt idx="352">
                  <c:v>#N/A</c:v>
                </c:pt>
                <c:pt idx="353">
                  <c:v>#N/A</c:v>
                </c:pt>
                <c:pt idx="354">
                  <c:v>#N/A</c:v>
                </c:pt>
                <c:pt idx="355">
                  <c:v>#N/A</c:v>
                </c:pt>
                <c:pt idx="356">
                  <c:v>#N/A</c:v>
                </c:pt>
                <c:pt idx="357">
                  <c:v>219470</c:v>
                </c:pt>
                <c:pt idx="358">
                  <c:v>#N/A</c:v>
                </c:pt>
                <c:pt idx="359">
                  <c:v>#N/A</c:v>
                </c:pt>
                <c:pt idx="360">
                  <c:v>#N/A</c:v>
                </c:pt>
                <c:pt idx="361">
                  <c:v>#N/A</c:v>
                </c:pt>
                <c:pt idx="362">
                  <c:v>#N/A</c:v>
                </c:pt>
                <c:pt idx="363">
                  <c:v>#N/A</c:v>
                </c:pt>
                <c:pt idx="364">
                  <c:v>221470</c:v>
                </c:pt>
                <c:pt idx="365">
                  <c:v>#N/A</c:v>
                </c:pt>
              </c:numCache>
            </c:numRef>
          </c:val>
          <c:smooth val="0"/>
          <c:extLst>
            <c:ext xmlns:c16="http://schemas.microsoft.com/office/drawing/2014/chart" uri="{C3380CC4-5D6E-409C-BE32-E72D297353CC}">
              <c16:uniqueId val="{00000001-4DCC-4A7C-819B-C8DF56CA4B6D}"/>
            </c:ext>
          </c:extLst>
        </c:ser>
        <c:ser>
          <c:idx val="2"/>
          <c:order val="2"/>
          <c:tx>
            <c:strRef>
              <c:f>工业硅库存!$AJ$2</c:f>
              <c:strCache>
                <c:ptCount val="1"/>
                <c:pt idx="0">
                  <c:v>2023</c:v>
                </c:pt>
              </c:strCache>
            </c:strRef>
          </c:tx>
          <c:spPr>
            <a:ln w="19050" cap="rnd">
              <a:solidFill>
                <a:srgbClr val="308D94">
                  <a:alpha val="60000"/>
                </a:srgbClr>
              </a:solidFill>
              <a:round/>
            </a:ln>
            <a:effectLst/>
          </c:spPr>
          <c:marker>
            <c:symbol val="none"/>
          </c:marker>
          <c:cat>
            <c:strRef>
              <c:f>工业硅库存!$AG$3:$AG$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AJ$3:$AJ$368</c:f>
              <c:numCache>
                <c:formatCode>General</c:formatCode>
                <c:ptCount val="366"/>
                <c:pt idx="0">
                  <c:v>#N/A</c:v>
                </c:pt>
                <c:pt idx="1">
                  <c:v>#N/A</c:v>
                </c:pt>
                <c:pt idx="2">
                  <c:v>#N/A</c:v>
                </c:pt>
                <c:pt idx="3">
                  <c:v>#N/A</c:v>
                </c:pt>
                <c:pt idx="4">
                  <c:v>#N/A</c:v>
                </c:pt>
                <c:pt idx="5">
                  <c:v>222470</c:v>
                </c:pt>
                <c:pt idx="6">
                  <c:v>#N/A</c:v>
                </c:pt>
                <c:pt idx="7">
                  <c:v>#N/A</c:v>
                </c:pt>
                <c:pt idx="8">
                  <c:v>#N/A</c:v>
                </c:pt>
                <c:pt idx="9">
                  <c:v>#N/A</c:v>
                </c:pt>
                <c:pt idx="10">
                  <c:v>#N/A</c:v>
                </c:pt>
                <c:pt idx="11">
                  <c:v>#N/A</c:v>
                </c:pt>
                <c:pt idx="12">
                  <c:v>223820</c:v>
                </c:pt>
                <c:pt idx="13">
                  <c:v>#N/A</c:v>
                </c:pt>
                <c:pt idx="14">
                  <c:v>#N/A</c:v>
                </c:pt>
                <c:pt idx="15">
                  <c:v>#N/A</c:v>
                </c:pt>
                <c:pt idx="16">
                  <c:v>#N/A</c:v>
                </c:pt>
                <c:pt idx="17">
                  <c:v>#N/A</c:v>
                </c:pt>
                <c:pt idx="18">
                  <c:v>#N/A</c:v>
                </c:pt>
                <c:pt idx="19">
                  <c:v>222770</c:v>
                </c:pt>
                <c:pt idx="20">
                  <c:v>#N/A</c:v>
                </c:pt>
                <c:pt idx="21">
                  <c:v>#N/A</c:v>
                </c:pt>
                <c:pt idx="22">
                  <c:v>#N/A</c:v>
                </c:pt>
                <c:pt idx="23">
                  <c:v>#N/A</c:v>
                </c:pt>
                <c:pt idx="24">
                  <c:v>#N/A</c:v>
                </c:pt>
                <c:pt idx="25">
                  <c:v>#N/A</c:v>
                </c:pt>
                <c:pt idx="26">
                  <c:v>239310</c:v>
                </c:pt>
                <c:pt idx="27">
                  <c:v>#N/A</c:v>
                </c:pt>
                <c:pt idx="28">
                  <c:v>#N/A</c:v>
                </c:pt>
                <c:pt idx="29">
                  <c:v>#N/A</c:v>
                </c:pt>
                <c:pt idx="30">
                  <c:v>#N/A</c:v>
                </c:pt>
                <c:pt idx="31">
                  <c:v>#N/A</c:v>
                </c:pt>
                <c:pt idx="32">
                  <c:v>#N/A</c:v>
                </c:pt>
                <c:pt idx="33">
                  <c:v>225510</c:v>
                </c:pt>
                <c:pt idx="34">
                  <c:v>#N/A</c:v>
                </c:pt>
                <c:pt idx="35">
                  <c:v>#N/A</c:v>
                </c:pt>
                <c:pt idx="36">
                  <c:v>#N/A</c:v>
                </c:pt>
                <c:pt idx="37">
                  <c:v>#N/A</c:v>
                </c:pt>
                <c:pt idx="38">
                  <c:v>#N/A</c:v>
                </c:pt>
                <c:pt idx="39">
                  <c:v>#N/A</c:v>
                </c:pt>
                <c:pt idx="40">
                  <c:v>222610</c:v>
                </c:pt>
                <c:pt idx="41">
                  <c:v>#N/A</c:v>
                </c:pt>
                <c:pt idx="42">
                  <c:v>#N/A</c:v>
                </c:pt>
                <c:pt idx="43">
                  <c:v>#N/A</c:v>
                </c:pt>
                <c:pt idx="44">
                  <c:v>#N/A</c:v>
                </c:pt>
                <c:pt idx="45">
                  <c:v>#N/A</c:v>
                </c:pt>
                <c:pt idx="46">
                  <c:v>#N/A</c:v>
                </c:pt>
                <c:pt idx="47">
                  <c:v>223010</c:v>
                </c:pt>
                <c:pt idx="48">
                  <c:v>#N/A</c:v>
                </c:pt>
                <c:pt idx="49">
                  <c:v>#N/A</c:v>
                </c:pt>
                <c:pt idx="50">
                  <c:v>#N/A</c:v>
                </c:pt>
                <c:pt idx="51">
                  <c:v>#N/A</c:v>
                </c:pt>
                <c:pt idx="52">
                  <c:v>#N/A</c:v>
                </c:pt>
                <c:pt idx="53">
                  <c:v>#N/A</c:v>
                </c:pt>
                <c:pt idx="54">
                  <c:v>225010</c:v>
                </c:pt>
                <c:pt idx="55">
                  <c:v>#N/A</c:v>
                </c:pt>
                <c:pt idx="56">
                  <c:v>#N/A</c:v>
                </c:pt>
                <c:pt idx="57">
                  <c:v>#N/A</c:v>
                </c:pt>
                <c:pt idx="58">
                  <c:v>#N/A</c:v>
                </c:pt>
                <c:pt idx="60">
                  <c:v>#N/A</c:v>
                </c:pt>
                <c:pt idx="61">
                  <c:v>#N/A</c:v>
                </c:pt>
                <c:pt idx="62">
                  <c:v>226710</c:v>
                </c:pt>
                <c:pt idx="63">
                  <c:v>#N/A</c:v>
                </c:pt>
                <c:pt idx="64">
                  <c:v>#N/A</c:v>
                </c:pt>
                <c:pt idx="65">
                  <c:v>#N/A</c:v>
                </c:pt>
                <c:pt idx="66">
                  <c:v>#N/A</c:v>
                </c:pt>
                <c:pt idx="67">
                  <c:v>#N/A</c:v>
                </c:pt>
                <c:pt idx="68">
                  <c:v>#N/A</c:v>
                </c:pt>
                <c:pt idx="69">
                  <c:v>226710</c:v>
                </c:pt>
                <c:pt idx="70">
                  <c:v>#N/A</c:v>
                </c:pt>
                <c:pt idx="71">
                  <c:v>#N/A</c:v>
                </c:pt>
                <c:pt idx="72">
                  <c:v>#N/A</c:v>
                </c:pt>
                <c:pt idx="73">
                  <c:v>#N/A</c:v>
                </c:pt>
                <c:pt idx="74">
                  <c:v>#N/A</c:v>
                </c:pt>
                <c:pt idx="75">
                  <c:v>#N/A</c:v>
                </c:pt>
                <c:pt idx="76">
                  <c:v>227810</c:v>
                </c:pt>
                <c:pt idx="77">
                  <c:v>#N/A</c:v>
                </c:pt>
                <c:pt idx="78">
                  <c:v>#N/A</c:v>
                </c:pt>
                <c:pt idx="79">
                  <c:v>#N/A</c:v>
                </c:pt>
                <c:pt idx="80">
                  <c:v>#N/A</c:v>
                </c:pt>
                <c:pt idx="81">
                  <c:v>#N/A</c:v>
                </c:pt>
                <c:pt idx="82">
                  <c:v>#N/A</c:v>
                </c:pt>
                <c:pt idx="83">
                  <c:v>228510</c:v>
                </c:pt>
                <c:pt idx="84">
                  <c:v>#N/A</c:v>
                </c:pt>
                <c:pt idx="85">
                  <c:v>#N/A</c:v>
                </c:pt>
                <c:pt idx="86">
                  <c:v>#N/A</c:v>
                </c:pt>
                <c:pt idx="87">
                  <c:v>#N/A</c:v>
                </c:pt>
                <c:pt idx="88">
                  <c:v>#N/A</c:v>
                </c:pt>
                <c:pt idx="89">
                  <c:v>#N/A</c:v>
                </c:pt>
                <c:pt idx="90">
                  <c:v>228510</c:v>
                </c:pt>
                <c:pt idx="91">
                  <c:v>#N/A</c:v>
                </c:pt>
                <c:pt idx="92">
                  <c:v>#N/A</c:v>
                </c:pt>
                <c:pt idx="93">
                  <c:v>#N/A</c:v>
                </c:pt>
                <c:pt idx="94">
                  <c:v>#N/A</c:v>
                </c:pt>
                <c:pt idx="95">
                  <c:v>#N/A</c:v>
                </c:pt>
                <c:pt idx="96">
                  <c:v>#N/A</c:v>
                </c:pt>
                <c:pt idx="97">
                  <c:v>229250</c:v>
                </c:pt>
                <c:pt idx="98">
                  <c:v>#N/A</c:v>
                </c:pt>
                <c:pt idx="99">
                  <c:v>#N/A</c:v>
                </c:pt>
                <c:pt idx="100">
                  <c:v>#N/A</c:v>
                </c:pt>
                <c:pt idx="101">
                  <c:v>#N/A</c:v>
                </c:pt>
                <c:pt idx="102">
                  <c:v>#N/A</c:v>
                </c:pt>
                <c:pt idx="103">
                  <c:v>#N/A</c:v>
                </c:pt>
                <c:pt idx="104">
                  <c:v>229050</c:v>
                </c:pt>
                <c:pt idx="105">
                  <c:v>#N/A</c:v>
                </c:pt>
                <c:pt idx="106">
                  <c:v>#N/A</c:v>
                </c:pt>
                <c:pt idx="107">
                  <c:v>#N/A</c:v>
                </c:pt>
                <c:pt idx="108">
                  <c:v>#N/A</c:v>
                </c:pt>
                <c:pt idx="109">
                  <c:v>#N/A</c:v>
                </c:pt>
                <c:pt idx="110">
                  <c:v>#N/A</c:v>
                </c:pt>
                <c:pt idx="111">
                  <c:v>220650</c:v>
                </c:pt>
                <c:pt idx="112">
                  <c:v>#N/A</c:v>
                </c:pt>
                <c:pt idx="113">
                  <c:v>#N/A</c:v>
                </c:pt>
                <c:pt idx="114">
                  <c:v>#N/A</c:v>
                </c:pt>
                <c:pt idx="115">
                  <c:v>#N/A</c:v>
                </c:pt>
                <c:pt idx="116">
                  <c:v>#N/A</c:v>
                </c:pt>
                <c:pt idx="117">
                  <c:v>#N/A</c:v>
                </c:pt>
                <c:pt idx="118">
                  <c:v>219950</c:v>
                </c:pt>
                <c:pt idx="119">
                  <c:v>#N/A</c:v>
                </c:pt>
                <c:pt idx="120">
                  <c:v>#N/A</c:v>
                </c:pt>
                <c:pt idx="121">
                  <c:v>#N/A</c:v>
                </c:pt>
                <c:pt idx="122">
                  <c:v>#N/A</c:v>
                </c:pt>
                <c:pt idx="123">
                  <c:v>#N/A</c:v>
                </c:pt>
                <c:pt idx="124">
                  <c:v>#N/A</c:v>
                </c:pt>
                <c:pt idx="125">
                  <c:v>219750</c:v>
                </c:pt>
                <c:pt idx="126">
                  <c:v>#N/A</c:v>
                </c:pt>
                <c:pt idx="127">
                  <c:v>#N/A</c:v>
                </c:pt>
                <c:pt idx="128">
                  <c:v>#N/A</c:v>
                </c:pt>
                <c:pt idx="129">
                  <c:v>#N/A</c:v>
                </c:pt>
                <c:pt idx="130">
                  <c:v>#N/A</c:v>
                </c:pt>
                <c:pt idx="131">
                  <c:v>#N/A</c:v>
                </c:pt>
                <c:pt idx="132">
                  <c:v>230350</c:v>
                </c:pt>
                <c:pt idx="133">
                  <c:v>#N/A</c:v>
                </c:pt>
                <c:pt idx="134">
                  <c:v>#N/A</c:v>
                </c:pt>
                <c:pt idx="135">
                  <c:v>#N/A</c:v>
                </c:pt>
                <c:pt idx="136">
                  <c:v>#N/A</c:v>
                </c:pt>
                <c:pt idx="137">
                  <c:v>#N/A</c:v>
                </c:pt>
                <c:pt idx="138">
                  <c:v>#N/A</c:v>
                </c:pt>
                <c:pt idx="139">
                  <c:v>237350</c:v>
                </c:pt>
                <c:pt idx="140">
                  <c:v>#N/A</c:v>
                </c:pt>
                <c:pt idx="141">
                  <c:v>#N/A</c:v>
                </c:pt>
                <c:pt idx="142">
                  <c:v>#N/A</c:v>
                </c:pt>
                <c:pt idx="143">
                  <c:v>#N/A</c:v>
                </c:pt>
                <c:pt idx="144">
                  <c:v>#N/A</c:v>
                </c:pt>
                <c:pt idx="145">
                  <c:v>#N/A</c:v>
                </c:pt>
                <c:pt idx="146">
                  <c:v>237950</c:v>
                </c:pt>
                <c:pt idx="147">
                  <c:v>#N/A</c:v>
                </c:pt>
                <c:pt idx="148">
                  <c:v>#N/A</c:v>
                </c:pt>
                <c:pt idx="149">
                  <c:v>#N/A</c:v>
                </c:pt>
                <c:pt idx="150">
                  <c:v>#N/A</c:v>
                </c:pt>
                <c:pt idx="151">
                  <c:v>#N/A</c:v>
                </c:pt>
                <c:pt idx="152">
                  <c:v>#N/A</c:v>
                </c:pt>
                <c:pt idx="153">
                  <c:v>246150</c:v>
                </c:pt>
                <c:pt idx="154">
                  <c:v>#N/A</c:v>
                </c:pt>
                <c:pt idx="155">
                  <c:v>#N/A</c:v>
                </c:pt>
                <c:pt idx="156">
                  <c:v>#N/A</c:v>
                </c:pt>
                <c:pt idx="157">
                  <c:v>#N/A</c:v>
                </c:pt>
                <c:pt idx="158">
                  <c:v>#N/A</c:v>
                </c:pt>
                <c:pt idx="159">
                  <c:v>#N/A</c:v>
                </c:pt>
                <c:pt idx="160">
                  <c:v>248950</c:v>
                </c:pt>
                <c:pt idx="161">
                  <c:v>#N/A</c:v>
                </c:pt>
                <c:pt idx="162">
                  <c:v>#N/A</c:v>
                </c:pt>
                <c:pt idx="163">
                  <c:v>#N/A</c:v>
                </c:pt>
                <c:pt idx="164">
                  <c:v>#N/A</c:v>
                </c:pt>
                <c:pt idx="165">
                  <c:v>#N/A</c:v>
                </c:pt>
                <c:pt idx="166">
                  <c:v>#N/A</c:v>
                </c:pt>
                <c:pt idx="167">
                  <c:v>253550</c:v>
                </c:pt>
                <c:pt idx="168">
                  <c:v>#N/A</c:v>
                </c:pt>
                <c:pt idx="169">
                  <c:v>#N/A</c:v>
                </c:pt>
                <c:pt idx="170">
                  <c:v>#N/A</c:v>
                </c:pt>
                <c:pt idx="171">
                  <c:v>#N/A</c:v>
                </c:pt>
                <c:pt idx="172">
                  <c:v>#N/A</c:v>
                </c:pt>
                <c:pt idx="173">
                  <c:v>#N/A</c:v>
                </c:pt>
                <c:pt idx="174">
                  <c:v>257250</c:v>
                </c:pt>
                <c:pt idx="175">
                  <c:v>#N/A</c:v>
                </c:pt>
                <c:pt idx="176">
                  <c:v>#N/A</c:v>
                </c:pt>
                <c:pt idx="177">
                  <c:v>#N/A</c:v>
                </c:pt>
                <c:pt idx="178">
                  <c:v>#N/A</c:v>
                </c:pt>
                <c:pt idx="179">
                  <c:v>#N/A</c:v>
                </c:pt>
                <c:pt idx="180">
                  <c:v>#N/A</c:v>
                </c:pt>
                <c:pt idx="181">
                  <c:v>258902</c:v>
                </c:pt>
                <c:pt idx="182">
                  <c:v>#N/A</c:v>
                </c:pt>
                <c:pt idx="183">
                  <c:v>#N/A</c:v>
                </c:pt>
                <c:pt idx="184">
                  <c:v>#N/A</c:v>
                </c:pt>
                <c:pt idx="185">
                  <c:v>#N/A</c:v>
                </c:pt>
                <c:pt idx="186">
                  <c:v>#N/A</c:v>
                </c:pt>
                <c:pt idx="187">
                  <c:v>#N/A</c:v>
                </c:pt>
                <c:pt idx="188">
                  <c:v>262690</c:v>
                </c:pt>
                <c:pt idx="189">
                  <c:v>#N/A</c:v>
                </c:pt>
                <c:pt idx="190">
                  <c:v>#N/A</c:v>
                </c:pt>
                <c:pt idx="191">
                  <c:v>#N/A</c:v>
                </c:pt>
                <c:pt idx="192">
                  <c:v>#N/A</c:v>
                </c:pt>
                <c:pt idx="193">
                  <c:v>#N/A</c:v>
                </c:pt>
                <c:pt idx="194">
                  <c:v>#N/A</c:v>
                </c:pt>
                <c:pt idx="195">
                  <c:v>265802</c:v>
                </c:pt>
                <c:pt idx="196">
                  <c:v>#N/A</c:v>
                </c:pt>
                <c:pt idx="197">
                  <c:v>#N/A</c:v>
                </c:pt>
                <c:pt idx="198">
                  <c:v>#N/A</c:v>
                </c:pt>
                <c:pt idx="199">
                  <c:v>#N/A</c:v>
                </c:pt>
                <c:pt idx="200">
                  <c:v>#N/A</c:v>
                </c:pt>
                <c:pt idx="201">
                  <c:v>#N/A</c:v>
                </c:pt>
                <c:pt idx="202">
                  <c:v>268488</c:v>
                </c:pt>
                <c:pt idx="203">
                  <c:v>#N/A</c:v>
                </c:pt>
                <c:pt idx="204">
                  <c:v>#N/A</c:v>
                </c:pt>
                <c:pt idx="205">
                  <c:v>#N/A</c:v>
                </c:pt>
                <c:pt idx="206">
                  <c:v>#N/A</c:v>
                </c:pt>
                <c:pt idx="207">
                  <c:v>#N/A</c:v>
                </c:pt>
                <c:pt idx="208">
                  <c:v>#N/A</c:v>
                </c:pt>
                <c:pt idx="209">
                  <c:v>268606</c:v>
                </c:pt>
                <c:pt idx="210">
                  <c:v>#N/A</c:v>
                </c:pt>
                <c:pt idx="211">
                  <c:v>#N/A</c:v>
                </c:pt>
                <c:pt idx="212">
                  <c:v>#N/A</c:v>
                </c:pt>
                <c:pt idx="213">
                  <c:v>#N/A</c:v>
                </c:pt>
                <c:pt idx="214">
                  <c:v>#N/A</c:v>
                </c:pt>
                <c:pt idx="215">
                  <c:v>#N/A</c:v>
                </c:pt>
                <c:pt idx="216">
                  <c:v>263244</c:v>
                </c:pt>
                <c:pt idx="217">
                  <c:v>#N/A</c:v>
                </c:pt>
                <c:pt idx="218">
                  <c:v>#N/A</c:v>
                </c:pt>
                <c:pt idx="219">
                  <c:v>#N/A</c:v>
                </c:pt>
                <c:pt idx="220">
                  <c:v>#N/A</c:v>
                </c:pt>
                <c:pt idx="221">
                  <c:v>#N/A</c:v>
                </c:pt>
                <c:pt idx="222">
                  <c:v>#N/A</c:v>
                </c:pt>
                <c:pt idx="223">
                  <c:v>261040</c:v>
                </c:pt>
                <c:pt idx="224">
                  <c:v>#N/A</c:v>
                </c:pt>
                <c:pt idx="225">
                  <c:v>#N/A</c:v>
                </c:pt>
                <c:pt idx="226">
                  <c:v>#N/A</c:v>
                </c:pt>
                <c:pt idx="227">
                  <c:v>#N/A</c:v>
                </c:pt>
                <c:pt idx="228">
                  <c:v>#N/A</c:v>
                </c:pt>
                <c:pt idx="229">
                  <c:v>#N/A</c:v>
                </c:pt>
                <c:pt idx="230">
                  <c:v>251956</c:v>
                </c:pt>
                <c:pt idx="231">
                  <c:v>#N/A</c:v>
                </c:pt>
                <c:pt idx="232">
                  <c:v>#N/A</c:v>
                </c:pt>
                <c:pt idx="233">
                  <c:v>#N/A</c:v>
                </c:pt>
                <c:pt idx="234">
                  <c:v>#N/A</c:v>
                </c:pt>
                <c:pt idx="235">
                  <c:v>#N/A</c:v>
                </c:pt>
                <c:pt idx="236">
                  <c:v>#N/A</c:v>
                </c:pt>
                <c:pt idx="237">
                  <c:v>210942</c:v>
                </c:pt>
                <c:pt idx="238">
                  <c:v>#N/A</c:v>
                </c:pt>
                <c:pt idx="239">
                  <c:v>#N/A</c:v>
                </c:pt>
                <c:pt idx="240">
                  <c:v>#N/A</c:v>
                </c:pt>
                <c:pt idx="241">
                  <c:v>#N/A</c:v>
                </c:pt>
                <c:pt idx="242">
                  <c:v>#N/A</c:v>
                </c:pt>
                <c:pt idx="243">
                  <c:v>#N/A</c:v>
                </c:pt>
                <c:pt idx="244">
                  <c:v>196008</c:v>
                </c:pt>
                <c:pt idx="245">
                  <c:v>#N/A</c:v>
                </c:pt>
                <c:pt idx="246">
                  <c:v>#N/A</c:v>
                </c:pt>
                <c:pt idx="247">
                  <c:v>#N/A</c:v>
                </c:pt>
                <c:pt idx="248">
                  <c:v>#N/A</c:v>
                </c:pt>
                <c:pt idx="249">
                  <c:v>#N/A</c:v>
                </c:pt>
                <c:pt idx="250">
                  <c:v>#N/A</c:v>
                </c:pt>
                <c:pt idx="251">
                  <c:v>183663</c:v>
                </c:pt>
                <c:pt idx="252">
                  <c:v>#N/A</c:v>
                </c:pt>
                <c:pt idx="253">
                  <c:v>#N/A</c:v>
                </c:pt>
                <c:pt idx="254">
                  <c:v>#N/A</c:v>
                </c:pt>
                <c:pt idx="255">
                  <c:v>#N/A</c:v>
                </c:pt>
                <c:pt idx="256">
                  <c:v>#N/A</c:v>
                </c:pt>
                <c:pt idx="257">
                  <c:v>#N/A</c:v>
                </c:pt>
                <c:pt idx="258">
                  <c:v>171528</c:v>
                </c:pt>
                <c:pt idx="259">
                  <c:v>#N/A</c:v>
                </c:pt>
                <c:pt idx="260">
                  <c:v>#N/A</c:v>
                </c:pt>
                <c:pt idx="261">
                  <c:v>#N/A</c:v>
                </c:pt>
                <c:pt idx="262">
                  <c:v>#N/A</c:v>
                </c:pt>
                <c:pt idx="263">
                  <c:v>#N/A</c:v>
                </c:pt>
                <c:pt idx="264">
                  <c:v>#N/A</c:v>
                </c:pt>
                <c:pt idx="265">
                  <c:v>161933</c:v>
                </c:pt>
                <c:pt idx="266">
                  <c:v>#N/A</c:v>
                </c:pt>
                <c:pt idx="267">
                  <c:v>#N/A</c:v>
                </c:pt>
                <c:pt idx="268">
                  <c:v>#N/A</c:v>
                </c:pt>
                <c:pt idx="269">
                  <c:v>#N/A</c:v>
                </c:pt>
                <c:pt idx="270">
                  <c:v>#N/A</c:v>
                </c:pt>
                <c:pt idx="271">
                  <c:v>#N/A</c:v>
                </c:pt>
                <c:pt idx="272">
                  <c:v>123640</c:v>
                </c:pt>
                <c:pt idx="273">
                  <c:v>#N/A</c:v>
                </c:pt>
                <c:pt idx="274">
                  <c:v>#N/A</c:v>
                </c:pt>
                <c:pt idx="275">
                  <c:v>#N/A</c:v>
                </c:pt>
                <c:pt idx="276">
                  <c:v>#N/A</c:v>
                </c:pt>
                <c:pt idx="277">
                  <c:v>#N/A</c:v>
                </c:pt>
                <c:pt idx="278">
                  <c:v>#N/A</c:v>
                </c:pt>
                <c:pt idx="279">
                  <c:v>130100</c:v>
                </c:pt>
                <c:pt idx="280">
                  <c:v>#N/A</c:v>
                </c:pt>
                <c:pt idx="281">
                  <c:v>#N/A</c:v>
                </c:pt>
                <c:pt idx="282">
                  <c:v>#N/A</c:v>
                </c:pt>
                <c:pt idx="283">
                  <c:v>#N/A</c:v>
                </c:pt>
                <c:pt idx="284">
                  <c:v>#N/A</c:v>
                </c:pt>
                <c:pt idx="285">
                  <c:v>#N/A</c:v>
                </c:pt>
                <c:pt idx="286">
                  <c:v>171170</c:v>
                </c:pt>
                <c:pt idx="287">
                  <c:v>#N/A</c:v>
                </c:pt>
                <c:pt idx="288">
                  <c:v>#N/A</c:v>
                </c:pt>
                <c:pt idx="289">
                  <c:v>#N/A</c:v>
                </c:pt>
                <c:pt idx="290">
                  <c:v>#N/A</c:v>
                </c:pt>
                <c:pt idx="291">
                  <c:v>#N/A</c:v>
                </c:pt>
                <c:pt idx="292">
                  <c:v>#N/A</c:v>
                </c:pt>
                <c:pt idx="293">
                  <c:v>168375</c:v>
                </c:pt>
                <c:pt idx="294">
                  <c:v>#N/A</c:v>
                </c:pt>
                <c:pt idx="295">
                  <c:v>#N/A</c:v>
                </c:pt>
                <c:pt idx="296">
                  <c:v>#N/A</c:v>
                </c:pt>
                <c:pt idx="297">
                  <c:v>#N/A</c:v>
                </c:pt>
                <c:pt idx="298">
                  <c:v>#N/A</c:v>
                </c:pt>
                <c:pt idx="299">
                  <c:v>#N/A</c:v>
                </c:pt>
                <c:pt idx="300">
                  <c:v>169735</c:v>
                </c:pt>
                <c:pt idx="301">
                  <c:v>#N/A</c:v>
                </c:pt>
                <c:pt idx="302">
                  <c:v>#N/A</c:v>
                </c:pt>
                <c:pt idx="303">
                  <c:v>#N/A</c:v>
                </c:pt>
                <c:pt idx="304">
                  <c:v>#N/A</c:v>
                </c:pt>
                <c:pt idx="305">
                  <c:v>#N/A</c:v>
                </c:pt>
                <c:pt idx="306">
                  <c:v>#N/A</c:v>
                </c:pt>
                <c:pt idx="307">
                  <c:v>178064</c:v>
                </c:pt>
                <c:pt idx="308">
                  <c:v>#N/A</c:v>
                </c:pt>
                <c:pt idx="309">
                  <c:v>#N/A</c:v>
                </c:pt>
                <c:pt idx="310">
                  <c:v>#N/A</c:v>
                </c:pt>
                <c:pt idx="311">
                  <c:v>#N/A</c:v>
                </c:pt>
                <c:pt idx="312">
                  <c:v>#N/A</c:v>
                </c:pt>
                <c:pt idx="313">
                  <c:v>#N/A</c:v>
                </c:pt>
                <c:pt idx="314">
                  <c:v>189879</c:v>
                </c:pt>
                <c:pt idx="315">
                  <c:v>#N/A</c:v>
                </c:pt>
                <c:pt idx="316">
                  <c:v>#N/A</c:v>
                </c:pt>
                <c:pt idx="317">
                  <c:v>#N/A</c:v>
                </c:pt>
                <c:pt idx="318">
                  <c:v>#N/A</c:v>
                </c:pt>
                <c:pt idx="319">
                  <c:v>#N/A</c:v>
                </c:pt>
                <c:pt idx="320">
                  <c:v>#N/A</c:v>
                </c:pt>
                <c:pt idx="321">
                  <c:v>194420</c:v>
                </c:pt>
                <c:pt idx="322">
                  <c:v>#N/A</c:v>
                </c:pt>
                <c:pt idx="323">
                  <c:v>#N/A</c:v>
                </c:pt>
                <c:pt idx="324">
                  <c:v>#N/A</c:v>
                </c:pt>
                <c:pt idx="325">
                  <c:v>#N/A</c:v>
                </c:pt>
                <c:pt idx="326">
                  <c:v>#N/A</c:v>
                </c:pt>
                <c:pt idx="327">
                  <c:v>#N/A</c:v>
                </c:pt>
                <c:pt idx="328">
                  <c:v>195264</c:v>
                </c:pt>
                <c:pt idx="329">
                  <c:v>#N/A</c:v>
                </c:pt>
                <c:pt idx="330">
                  <c:v>#N/A</c:v>
                </c:pt>
                <c:pt idx="331">
                  <c:v>#N/A</c:v>
                </c:pt>
                <c:pt idx="332">
                  <c:v>#N/A</c:v>
                </c:pt>
                <c:pt idx="333">
                  <c:v>#N/A</c:v>
                </c:pt>
                <c:pt idx="334">
                  <c:v>#N/A</c:v>
                </c:pt>
                <c:pt idx="335">
                  <c:v>169200</c:v>
                </c:pt>
                <c:pt idx="336">
                  <c:v>#N/A</c:v>
                </c:pt>
                <c:pt idx="337">
                  <c:v>#N/A</c:v>
                </c:pt>
                <c:pt idx="338">
                  <c:v>#N/A</c:v>
                </c:pt>
                <c:pt idx="339">
                  <c:v>#N/A</c:v>
                </c:pt>
                <c:pt idx="340">
                  <c:v>#N/A</c:v>
                </c:pt>
                <c:pt idx="341">
                  <c:v>#N/A</c:v>
                </c:pt>
                <c:pt idx="342">
                  <c:v>197277</c:v>
                </c:pt>
                <c:pt idx="343">
                  <c:v>#N/A</c:v>
                </c:pt>
                <c:pt idx="344">
                  <c:v>#N/A</c:v>
                </c:pt>
                <c:pt idx="345">
                  <c:v>#N/A</c:v>
                </c:pt>
                <c:pt idx="346">
                  <c:v>#N/A</c:v>
                </c:pt>
                <c:pt idx="347">
                  <c:v>#N/A</c:v>
                </c:pt>
                <c:pt idx="348">
                  <c:v>#N/A</c:v>
                </c:pt>
                <c:pt idx="349">
                  <c:v>199025</c:v>
                </c:pt>
                <c:pt idx="350">
                  <c:v>#N/A</c:v>
                </c:pt>
                <c:pt idx="351">
                  <c:v>#N/A</c:v>
                </c:pt>
                <c:pt idx="352">
                  <c:v>#N/A</c:v>
                </c:pt>
                <c:pt idx="353">
                  <c:v>#N/A</c:v>
                </c:pt>
                <c:pt idx="354">
                  <c:v>#N/A</c:v>
                </c:pt>
                <c:pt idx="355">
                  <c:v>#N/A</c:v>
                </c:pt>
                <c:pt idx="356">
                  <c:v>199705</c:v>
                </c:pt>
                <c:pt idx="357">
                  <c:v>#N/A</c:v>
                </c:pt>
                <c:pt idx="358">
                  <c:v>#N/A</c:v>
                </c:pt>
                <c:pt idx="359">
                  <c:v>#N/A</c:v>
                </c:pt>
                <c:pt idx="360">
                  <c:v>#N/A</c:v>
                </c:pt>
                <c:pt idx="361">
                  <c:v>#N/A</c:v>
                </c:pt>
                <c:pt idx="362">
                  <c:v>#N/A</c:v>
                </c:pt>
                <c:pt idx="363">
                  <c:v>196925</c:v>
                </c:pt>
                <c:pt idx="364">
                  <c:v>#N/A</c:v>
                </c:pt>
                <c:pt idx="365">
                  <c:v>#N/A</c:v>
                </c:pt>
              </c:numCache>
            </c:numRef>
          </c:val>
          <c:smooth val="0"/>
          <c:extLst>
            <c:ext xmlns:c16="http://schemas.microsoft.com/office/drawing/2014/chart" uri="{C3380CC4-5D6E-409C-BE32-E72D297353CC}">
              <c16:uniqueId val="{00000002-4DCC-4A7C-819B-C8DF56CA4B6D}"/>
            </c:ext>
          </c:extLst>
        </c:ser>
        <c:ser>
          <c:idx val="3"/>
          <c:order val="3"/>
          <c:tx>
            <c:strRef>
              <c:f>工业硅库存!$AK$2</c:f>
              <c:strCache>
                <c:ptCount val="1"/>
                <c:pt idx="0">
                  <c:v>2024</c:v>
                </c:pt>
              </c:strCache>
            </c:strRef>
          </c:tx>
          <c:spPr>
            <a:ln w="28575" cap="rnd">
              <a:solidFill>
                <a:schemeClr val="tx1"/>
              </a:solidFill>
              <a:round/>
            </a:ln>
            <a:effectLst/>
          </c:spPr>
          <c:marker>
            <c:symbol val="none"/>
          </c:marker>
          <c:cat>
            <c:strRef>
              <c:f>工业硅库存!$AG$3:$AG$368</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工业硅库存!$AK$3:$AK$368</c:f>
              <c:numCache>
                <c:formatCode>General</c:formatCode>
                <c:ptCount val="366"/>
                <c:pt idx="0">
                  <c:v>#N/A</c:v>
                </c:pt>
                <c:pt idx="1">
                  <c:v>#N/A</c:v>
                </c:pt>
                <c:pt idx="2">
                  <c:v>#N/A</c:v>
                </c:pt>
                <c:pt idx="3">
                  <c:v>#N/A</c:v>
                </c:pt>
                <c:pt idx="4">
                  <c:v>197851</c:v>
                </c:pt>
                <c:pt idx="5">
                  <c:v>#N/A</c:v>
                </c:pt>
                <c:pt idx="6">
                  <c:v>#N/A</c:v>
                </c:pt>
                <c:pt idx="7">
                  <c:v>#N/A</c:v>
                </c:pt>
                <c:pt idx="8">
                  <c:v>#N/A</c:v>
                </c:pt>
                <c:pt idx="9">
                  <c:v>#N/A</c:v>
                </c:pt>
                <c:pt idx="10">
                  <c:v>#N/A</c:v>
                </c:pt>
                <c:pt idx="11">
                  <c:v>199835</c:v>
                </c:pt>
                <c:pt idx="12">
                  <c:v>#N/A</c:v>
                </c:pt>
                <c:pt idx="13">
                  <c:v>#N/A</c:v>
                </c:pt>
                <c:pt idx="14">
                  <c:v>#N/A</c:v>
                </c:pt>
                <c:pt idx="15">
                  <c:v>#N/A</c:v>
                </c:pt>
                <c:pt idx="16">
                  <c:v>#N/A</c:v>
                </c:pt>
                <c:pt idx="17">
                  <c:v>#N/A</c:v>
                </c:pt>
                <c:pt idx="18">
                  <c:v>199994</c:v>
                </c:pt>
                <c:pt idx="19">
                  <c:v>#N/A</c:v>
                </c:pt>
                <c:pt idx="20">
                  <c:v>#N/A</c:v>
                </c:pt>
                <c:pt idx="21">
                  <c:v>#N/A</c:v>
                </c:pt>
                <c:pt idx="22">
                  <c:v>#N/A</c:v>
                </c:pt>
                <c:pt idx="23">
                  <c:v>#N/A</c:v>
                </c:pt>
                <c:pt idx="24">
                  <c:v>#N/A</c:v>
                </c:pt>
                <c:pt idx="25">
                  <c:v>203643</c:v>
                </c:pt>
                <c:pt idx="26">
                  <c:v>#N/A</c:v>
                </c:pt>
                <c:pt idx="27">
                  <c:v>#N/A</c:v>
                </c:pt>
                <c:pt idx="28">
                  <c:v>#N/A</c:v>
                </c:pt>
                <c:pt idx="29">
                  <c:v>#N/A</c:v>
                </c:pt>
                <c:pt idx="30">
                  <c:v>#N/A</c:v>
                </c:pt>
                <c:pt idx="31">
                  <c:v>#N/A</c:v>
                </c:pt>
                <c:pt idx="32">
                  <c:v>208077</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236072</c:v>
                </c:pt>
                <c:pt idx="54">
                  <c:v>#N/A</c:v>
                </c:pt>
                <c:pt idx="55">
                  <c:v>#N/A</c:v>
                </c:pt>
                <c:pt idx="56">
                  <c:v>#N/A</c:v>
                </c:pt>
                <c:pt idx="57">
                  <c:v>#N/A</c:v>
                </c:pt>
                <c:pt idx="58">
                  <c:v>#N/A</c:v>
                </c:pt>
                <c:pt idx="59">
                  <c:v>#N/A</c:v>
                </c:pt>
                <c:pt idx="60">
                  <c:v>233520</c:v>
                </c:pt>
                <c:pt idx="61">
                  <c:v>#N/A</c:v>
                </c:pt>
                <c:pt idx="62">
                  <c:v>#N/A</c:v>
                </c:pt>
                <c:pt idx="63">
                  <c:v>#N/A</c:v>
                </c:pt>
                <c:pt idx="64">
                  <c:v>#N/A</c:v>
                </c:pt>
                <c:pt idx="65">
                  <c:v>#N/A</c:v>
                </c:pt>
                <c:pt idx="66">
                  <c:v>#N/A</c:v>
                </c:pt>
                <c:pt idx="67">
                  <c:v>230739</c:v>
                </c:pt>
                <c:pt idx="68">
                  <c:v>#N/A</c:v>
                </c:pt>
                <c:pt idx="69">
                  <c:v>#N/A</c:v>
                </c:pt>
                <c:pt idx="70">
                  <c:v>#N/A</c:v>
                </c:pt>
                <c:pt idx="71">
                  <c:v>#N/A</c:v>
                </c:pt>
                <c:pt idx="72">
                  <c:v>#N/A</c:v>
                </c:pt>
                <c:pt idx="73">
                  <c:v>#N/A</c:v>
                </c:pt>
                <c:pt idx="74">
                  <c:v>227644</c:v>
                </c:pt>
                <c:pt idx="75">
                  <c:v>#N/A</c:v>
                </c:pt>
                <c:pt idx="76">
                  <c:v>#N/A</c:v>
                </c:pt>
                <c:pt idx="77">
                  <c:v>#N/A</c:v>
                </c:pt>
                <c:pt idx="78">
                  <c:v>#N/A</c:v>
                </c:pt>
                <c:pt idx="79">
                  <c:v>#N/A</c:v>
                </c:pt>
                <c:pt idx="80">
                  <c:v>#N/A</c:v>
                </c:pt>
                <c:pt idx="81">
                  <c:v>234050</c:v>
                </c:pt>
                <c:pt idx="82">
                  <c:v>#N/A</c:v>
                </c:pt>
                <c:pt idx="83">
                  <c:v>#N/A</c:v>
                </c:pt>
                <c:pt idx="84">
                  <c:v>#N/A</c:v>
                </c:pt>
                <c:pt idx="85">
                  <c:v>#N/A</c:v>
                </c:pt>
                <c:pt idx="86">
                  <c:v>#N/A</c:v>
                </c:pt>
                <c:pt idx="87">
                  <c:v>#N/A</c:v>
                </c:pt>
                <c:pt idx="88">
                  <c:v>234654</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238959</c:v>
                </c:pt>
                <c:pt idx="103">
                  <c:v>#N/A</c:v>
                </c:pt>
                <c:pt idx="104">
                  <c:v>#N/A</c:v>
                </c:pt>
                <c:pt idx="105">
                  <c:v>#N/A</c:v>
                </c:pt>
                <c:pt idx="106">
                  <c:v>#N/A</c:v>
                </c:pt>
                <c:pt idx="107">
                  <c:v>#N/A</c:v>
                </c:pt>
                <c:pt idx="108">
                  <c:v>#N/A</c:v>
                </c:pt>
                <c:pt idx="109">
                  <c:v>239035</c:v>
                </c:pt>
                <c:pt idx="110">
                  <c:v>#N/A</c:v>
                </c:pt>
                <c:pt idx="111">
                  <c:v>#N/A</c:v>
                </c:pt>
                <c:pt idx="112">
                  <c:v>#N/A</c:v>
                </c:pt>
                <c:pt idx="113">
                  <c:v>#N/A</c:v>
                </c:pt>
                <c:pt idx="114">
                  <c:v>#N/A</c:v>
                </c:pt>
                <c:pt idx="115">
                  <c:v>#N/A</c:v>
                </c:pt>
                <c:pt idx="116">
                  <c:v>239979</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241875</c:v>
                </c:pt>
                <c:pt idx="131">
                  <c:v>#N/A</c:v>
                </c:pt>
                <c:pt idx="132">
                  <c:v>#N/A</c:v>
                </c:pt>
                <c:pt idx="133">
                  <c:v>#N/A</c:v>
                </c:pt>
                <c:pt idx="134">
                  <c:v>#N/A</c:v>
                </c:pt>
                <c:pt idx="135">
                  <c:v>#N/A</c:v>
                </c:pt>
                <c:pt idx="136">
                  <c:v>#N/A</c:v>
                </c:pt>
                <c:pt idx="137">
                  <c:v>245812</c:v>
                </c:pt>
                <c:pt idx="138">
                  <c:v>#N/A</c:v>
                </c:pt>
                <c:pt idx="139">
                  <c:v>#N/A</c:v>
                </c:pt>
                <c:pt idx="140">
                  <c:v>#N/A</c:v>
                </c:pt>
                <c:pt idx="141">
                  <c:v>#N/A</c:v>
                </c:pt>
                <c:pt idx="142">
                  <c:v>#N/A</c:v>
                </c:pt>
                <c:pt idx="143">
                  <c:v>#N/A</c:v>
                </c:pt>
                <c:pt idx="144">
                  <c:v>250266</c:v>
                </c:pt>
                <c:pt idx="145">
                  <c:v>#N/A</c:v>
                </c:pt>
                <c:pt idx="146">
                  <c:v>#N/A</c:v>
                </c:pt>
                <c:pt idx="147">
                  <c:v>#N/A</c:v>
                </c:pt>
                <c:pt idx="148">
                  <c:v>#N/A</c:v>
                </c:pt>
                <c:pt idx="149">
                  <c:v>#N/A</c:v>
                </c:pt>
                <c:pt idx="150">
                  <c:v>#N/A</c:v>
                </c:pt>
                <c:pt idx="151">
                  <c:v>245654</c:v>
                </c:pt>
                <c:pt idx="152">
                  <c:v>#N/A</c:v>
                </c:pt>
                <c:pt idx="153">
                  <c:v>#N/A</c:v>
                </c:pt>
                <c:pt idx="154">
                  <c:v>#N/A</c:v>
                </c:pt>
                <c:pt idx="155">
                  <c:v>#N/A</c:v>
                </c:pt>
                <c:pt idx="156">
                  <c:v>#N/A</c:v>
                </c:pt>
                <c:pt idx="157">
                  <c:v>#N/A</c:v>
                </c:pt>
                <c:pt idx="158">
                  <c:v>245703</c:v>
                </c:pt>
                <c:pt idx="159">
                  <c:v>#N/A</c:v>
                </c:pt>
                <c:pt idx="160">
                  <c:v>#N/A</c:v>
                </c:pt>
                <c:pt idx="161">
                  <c:v>#N/A</c:v>
                </c:pt>
                <c:pt idx="162">
                  <c:v>#N/A</c:v>
                </c:pt>
                <c:pt idx="163">
                  <c:v>#N/A</c:v>
                </c:pt>
                <c:pt idx="164">
                  <c:v>#N/A</c:v>
                </c:pt>
                <c:pt idx="165">
                  <c:v>250534</c:v>
                </c:pt>
                <c:pt idx="166">
                  <c:v>#N/A</c:v>
                </c:pt>
                <c:pt idx="167">
                  <c:v>#N/A</c:v>
                </c:pt>
                <c:pt idx="168">
                  <c:v>#N/A</c:v>
                </c:pt>
                <c:pt idx="169">
                  <c:v>#N/A</c:v>
                </c:pt>
                <c:pt idx="170">
                  <c:v>#N/A</c:v>
                </c:pt>
                <c:pt idx="171">
                  <c:v>#N/A</c:v>
                </c:pt>
                <c:pt idx="172">
                  <c:v>259473</c:v>
                </c:pt>
                <c:pt idx="173">
                  <c:v>#N/A</c:v>
                </c:pt>
                <c:pt idx="174">
                  <c:v>#N/A</c:v>
                </c:pt>
                <c:pt idx="175">
                  <c:v>#N/A</c:v>
                </c:pt>
                <c:pt idx="176">
                  <c:v>#N/A</c:v>
                </c:pt>
                <c:pt idx="177">
                  <c:v>#N/A</c:v>
                </c:pt>
                <c:pt idx="178">
                  <c:v>#N/A</c:v>
                </c:pt>
                <c:pt idx="179">
                  <c:v>268583</c:v>
                </c:pt>
                <c:pt idx="180">
                  <c:v>#N/A</c:v>
                </c:pt>
                <c:pt idx="181">
                  <c:v>#N/A</c:v>
                </c:pt>
                <c:pt idx="182">
                  <c:v>#N/A</c:v>
                </c:pt>
                <c:pt idx="183">
                  <c:v>#N/A</c:v>
                </c:pt>
                <c:pt idx="184">
                  <c:v>#N/A</c:v>
                </c:pt>
                <c:pt idx="185">
                  <c:v>#N/A</c:v>
                </c:pt>
                <c:pt idx="186">
                  <c:v>276393</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3-4DCC-4A7C-819B-C8DF56CA4B6D}"/>
            </c:ext>
          </c:extLst>
        </c:ser>
        <c:dLbls>
          <c:showLegendKey val="0"/>
          <c:showVal val="0"/>
          <c:showCatName val="0"/>
          <c:showSerName val="0"/>
          <c:showPercent val="0"/>
          <c:showBubbleSize val="0"/>
        </c:dLbls>
        <c:smooth val="0"/>
        <c:axId val="1154272399"/>
        <c:axId val="1157188543"/>
      </c:lineChart>
      <c:catAx>
        <c:axId val="1154272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ea"/>
                <a:ea typeface="+mn-ea"/>
                <a:cs typeface="+mn-ea"/>
                <a:sym typeface="+mn-lt"/>
              </a:defRPr>
            </a:pPr>
            <a:endParaRPr lang="zh-CN"/>
          </a:p>
        </c:txPr>
        <c:crossAx val="1157188543"/>
        <c:crosses val="autoZero"/>
        <c:auto val="1"/>
        <c:lblAlgn val="ctr"/>
        <c:lblOffset val="100"/>
        <c:noMultiLvlLbl val="0"/>
      </c:catAx>
      <c:valAx>
        <c:axId val="1157188543"/>
        <c:scaling>
          <c:orientation val="minMax"/>
          <c:min val="3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ea"/>
                <a:ea typeface="+mn-ea"/>
                <a:cs typeface="+mn-ea"/>
                <a:sym typeface="+mn-lt"/>
              </a:defRPr>
            </a:pPr>
            <a:endParaRPr lang="zh-CN"/>
          </a:p>
        </c:txPr>
        <c:crossAx val="1154272399"/>
        <c:crosses val="autoZero"/>
        <c:crossBetween val="between"/>
      </c:valAx>
      <c:spPr>
        <a:noFill/>
        <a:ln>
          <a:noFill/>
        </a:ln>
        <a:effectLst/>
      </c:spPr>
    </c:plotArea>
    <c:legend>
      <c:legendPos val="b"/>
      <c:legendEntry>
        <c:idx val="3"/>
        <c:txPr>
          <a:bodyPr rot="0" spcFirstLastPara="1" vertOverflow="ellipsis" vert="horz" wrap="square" anchor="ctr" anchorCtr="1"/>
          <a:lstStyle/>
          <a:p>
            <a:pPr>
              <a:defRPr sz="900" b="0" i="0" u="none" strike="noStrike" kern="1200" baseline="0">
                <a:solidFill>
                  <a:schemeClr val="tx1"/>
                </a:solidFill>
                <a:latin typeface="+mn-ea"/>
                <a:ea typeface="+mn-ea"/>
                <a:cs typeface="+mn-ea"/>
                <a:sym typeface="+mn-lt"/>
              </a:defRPr>
            </a:pPr>
            <a:endParaRPr lang="zh-CN"/>
          </a:p>
        </c:txPr>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ea"/>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mn-ea"/>
          <a:ea typeface="+mn-ea"/>
          <a:cs typeface="+mn-ea"/>
          <a:sym typeface="+mn-lt"/>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现货价差!$Z$3</c:f>
          <c:strCache>
            <c:ptCount val="1"/>
            <c:pt idx="0">
              <c:v>421昆明-天津南北价差</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现货价差!$AE$4</c:f>
              <c:strCache>
                <c:ptCount val="1"/>
                <c:pt idx="0">
                  <c:v>2021</c:v>
                </c:pt>
              </c:strCache>
            </c:strRef>
          </c:tx>
          <c:spPr>
            <a:ln w="19050" cap="rnd">
              <a:solidFill>
                <a:schemeClr val="accent5">
                  <a:lumMod val="75000"/>
                </a:schemeClr>
              </a:solidFill>
              <a:round/>
            </a:ln>
            <a:effectLst/>
          </c:spPr>
          <c:marker>
            <c:symbol val="none"/>
          </c:marker>
          <c:cat>
            <c:strRef>
              <c:f>现货价差!$AA$5:$AA$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E$5:$AE$370</c:f>
              <c:numCache>
                <c:formatCode>General</c:formatCode>
                <c:ptCount val="366"/>
                <c:pt idx="0">
                  <c:v>-550</c:v>
                </c:pt>
                <c:pt idx="1">
                  <c:v>-550</c:v>
                </c:pt>
                <c:pt idx="2">
                  <c:v>-550</c:v>
                </c:pt>
                <c:pt idx="3">
                  <c:v>-550</c:v>
                </c:pt>
                <c:pt idx="4">
                  <c:v>-650</c:v>
                </c:pt>
                <c:pt idx="5">
                  <c:v>-650</c:v>
                </c:pt>
                <c:pt idx="6">
                  <c:v>-650</c:v>
                </c:pt>
                <c:pt idx="7">
                  <c:v>-650</c:v>
                </c:pt>
                <c:pt idx="8">
                  <c:v>-650</c:v>
                </c:pt>
                <c:pt idx="9">
                  <c:v>-650</c:v>
                </c:pt>
                <c:pt idx="10">
                  <c:v>-650</c:v>
                </c:pt>
                <c:pt idx="11">
                  <c:v>-700</c:v>
                </c:pt>
                <c:pt idx="12">
                  <c:v>-700</c:v>
                </c:pt>
                <c:pt idx="13">
                  <c:v>-700</c:v>
                </c:pt>
                <c:pt idx="14">
                  <c:v>-700</c:v>
                </c:pt>
                <c:pt idx="15">
                  <c:v>-700</c:v>
                </c:pt>
                <c:pt idx="16">
                  <c:v>-700</c:v>
                </c:pt>
                <c:pt idx="17">
                  <c:v>-700</c:v>
                </c:pt>
                <c:pt idx="18">
                  <c:v>-700</c:v>
                </c:pt>
                <c:pt idx="19">
                  <c:v>-700</c:v>
                </c:pt>
                <c:pt idx="20">
                  <c:v>-700</c:v>
                </c:pt>
                <c:pt idx="21">
                  <c:v>-700</c:v>
                </c:pt>
                <c:pt idx="22">
                  <c:v>-700</c:v>
                </c:pt>
                <c:pt idx="23">
                  <c:v>-700</c:v>
                </c:pt>
                <c:pt idx="24">
                  <c:v>-700</c:v>
                </c:pt>
                <c:pt idx="25">
                  <c:v>-700</c:v>
                </c:pt>
                <c:pt idx="26">
                  <c:v>-700</c:v>
                </c:pt>
                <c:pt idx="27">
                  <c:v>-700</c:v>
                </c:pt>
                <c:pt idx="28">
                  <c:v>-750</c:v>
                </c:pt>
                <c:pt idx="29">
                  <c:v>-750</c:v>
                </c:pt>
                <c:pt idx="30">
                  <c:v>-750</c:v>
                </c:pt>
                <c:pt idx="31">
                  <c:v>-600</c:v>
                </c:pt>
                <c:pt idx="32">
                  <c:v>-450</c:v>
                </c:pt>
                <c:pt idx="33">
                  <c:v>-450</c:v>
                </c:pt>
                <c:pt idx="34">
                  <c:v>-450</c:v>
                </c:pt>
                <c:pt idx="35">
                  <c:v>-450</c:v>
                </c:pt>
                <c:pt idx="36">
                  <c:v>-450</c:v>
                </c:pt>
                <c:pt idx="37">
                  <c:v>-450</c:v>
                </c:pt>
                <c:pt idx="38">
                  <c:v>-450</c:v>
                </c:pt>
                <c:pt idx="39">
                  <c:v>-450</c:v>
                </c:pt>
                <c:pt idx="40">
                  <c:v>-450</c:v>
                </c:pt>
                <c:pt idx="41">
                  <c:v>-450</c:v>
                </c:pt>
                <c:pt idx="42">
                  <c:v>-450</c:v>
                </c:pt>
                <c:pt idx="43">
                  <c:v>-450</c:v>
                </c:pt>
                <c:pt idx="44">
                  <c:v>-450</c:v>
                </c:pt>
                <c:pt idx="45">
                  <c:v>-450</c:v>
                </c:pt>
                <c:pt idx="46">
                  <c:v>-450</c:v>
                </c:pt>
                <c:pt idx="47">
                  <c:v>-450</c:v>
                </c:pt>
                <c:pt idx="48">
                  <c:v>-450</c:v>
                </c:pt>
                <c:pt idx="49">
                  <c:v>-450</c:v>
                </c:pt>
                <c:pt idx="50">
                  <c:v>-450</c:v>
                </c:pt>
                <c:pt idx="51">
                  <c:v>-450</c:v>
                </c:pt>
                <c:pt idx="52">
                  <c:v>-450</c:v>
                </c:pt>
                <c:pt idx="53">
                  <c:v>-450</c:v>
                </c:pt>
                <c:pt idx="54">
                  <c:v>-400</c:v>
                </c:pt>
                <c:pt idx="55">
                  <c:v>-400</c:v>
                </c:pt>
                <c:pt idx="56">
                  <c:v>-400</c:v>
                </c:pt>
                <c:pt idx="57">
                  <c:v>-400</c:v>
                </c:pt>
                <c:pt idx="58">
                  <c:v>-400</c:v>
                </c:pt>
                <c:pt idx="60">
                  <c:v>-400</c:v>
                </c:pt>
                <c:pt idx="61">
                  <c:v>-400</c:v>
                </c:pt>
                <c:pt idx="62">
                  <c:v>-600</c:v>
                </c:pt>
                <c:pt idx="63">
                  <c:v>-700</c:v>
                </c:pt>
                <c:pt idx="64">
                  <c:v>-600</c:v>
                </c:pt>
                <c:pt idx="65">
                  <c:v>-600</c:v>
                </c:pt>
                <c:pt idx="66">
                  <c:v>-600</c:v>
                </c:pt>
                <c:pt idx="67">
                  <c:v>-600</c:v>
                </c:pt>
                <c:pt idx="68">
                  <c:v>-600</c:v>
                </c:pt>
                <c:pt idx="69">
                  <c:v>-600</c:v>
                </c:pt>
                <c:pt idx="70">
                  <c:v>-600</c:v>
                </c:pt>
                <c:pt idx="71">
                  <c:v>-600</c:v>
                </c:pt>
                <c:pt idx="72">
                  <c:v>-600</c:v>
                </c:pt>
                <c:pt idx="73">
                  <c:v>-600</c:v>
                </c:pt>
                <c:pt idx="74">
                  <c:v>-600</c:v>
                </c:pt>
                <c:pt idx="75">
                  <c:v>-600</c:v>
                </c:pt>
                <c:pt idx="76">
                  <c:v>-600</c:v>
                </c:pt>
                <c:pt idx="77">
                  <c:v>-600</c:v>
                </c:pt>
                <c:pt idx="78">
                  <c:v>-600</c:v>
                </c:pt>
                <c:pt idx="79">
                  <c:v>-600</c:v>
                </c:pt>
                <c:pt idx="80">
                  <c:v>-600</c:v>
                </c:pt>
                <c:pt idx="81">
                  <c:v>-600</c:v>
                </c:pt>
                <c:pt idx="82">
                  <c:v>-600</c:v>
                </c:pt>
                <c:pt idx="83">
                  <c:v>-600</c:v>
                </c:pt>
                <c:pt idx="84">
                  <c:v>-600</c:v>
                </c:pt>
                <c:pt idx="85">
                  <c:v>-500</c:v>
                </c:pt>
                <c:pt idx="86">
                  <c:v>-500</c:v>
                </c:pt>
                <c:pt idx="87">
                  <c:v>-500</c:v>
                </c:pt>
                <c:pt idx="88">
                  <c:v>-500</c:v>
                </c:pt>
                <c:pt idx="89">
                  <c:v>-500</c:v>
                </c:pt>
                <c:pt idx="90">
                  <c:v>-500</c:v>
                </c:pt>
                <c:pt idx="91">
                  <c:v>-500</c:v>
                </c:pt>
                <c:pt idx="92">
                  <c:v>-500</c:v>
                </c:pt>
                <c:pt idx="93">
                  <c:v>-500</c:v>
                </c:pt>
                <c:pt idx="94">
                  <c:v>-500</c:v>
                </c:pt>
                <c:pt idx="95">
                  <c:v>-500</c:v>
                </c:pt>
                <c:pt idx="96">
                  <c:v>-650</c:v>
                </c:pt>
                <c:pt idx="97">
                  <c:v>-550</c:v>
                </c:pt>
                <c:pt idx="98">
                  <c:v>-450</c:v>
                </c:pt>
                <c:pt idx="99">
                  <c:v>-450</c:v>
                </c:pt>
                <c:pt idx="100">
                  <c:v>-450</c:v>
                </c:pt>
                <c:pt idx="101">
                  <c:v>-450</c:v>
                </c:pt>
                <c:pt idx="102">
                  <c:v>-450</c:v>
                </c:pt>
                <c:pt idx="103">
                  <c:v>-500</c:v>
                </c:pt>
                <c:pt idx="104">
                  <c:v>-400</c:v>
                </c:pt>
                <c:pt idx="105">
                  <c:v>-350</c:v>
                </c:pt>
                <c:pt idx="106">
                  <c:v>-350</c:v>
                </c:pt>
                <c:pt idx="107">
                  <c:v>-350</c:v>
                </c:pt>
                <c:pt idx="108">
                  <c:v>-350</c:v>
                </c:pt>
                <c:pt idx="109">
                  <c:v>-350</c:v>
                </c:pt>
                <c:pt idx="110">
                  <c:v>-350</c:v>
                </c:pt>
                <c:pt idx="111">
                  <c:v>-250</c:v>
                </c:pt>
                <c:pt idx="112">
                  <c:v>-250</c:v>
                </c:pt>
                <c:pt idx="113">
                  <c:v>-250</c:v>
                </c:pt>
                <c:pt idx="114">
                  <c:v>-250</c:v>
                </c:pt>
                <c:pt idx="115">
                  <c:v>-250</c:v>
                </c:pt>
                <c:pt idx="116">
                  <c:v>-250</c:v>
                </c:pt>
                <c:pt idx="117">
                  <c:v>-250</c:v>
                </c:pt>
                <c:pt idx="118">
                  <c:v>-250</c:v>
                </c:pt>
                <c:pt idx="119">
                  <c:v>-250</c:v>
                </c:pt>
                <c:pt idx="120">
                  <c:v>-250</c:v>
                </c:pt>
                <c:pt idx="121">
                  <c:v>-250</c:v>
                </c:pt>
                <c:pt idx="122">
                  <c:v>-250</c:v>
                </c:pt>
                <c:pt idx="123">
                  <c:v>-250</c:v>
                </c:pt>
                <c:pt idx="124">
                  <c:v>-250</c:v>
                </c:pt>
                <c:pt idx="125">
                  <c:v>-250</c:v>
                </c:pt>
                <c:pt idx="126">
                  <c:v>-250</c:v>
                </c:pt>
                <c:pt idx="127">
                  <c:v>-250</c:v>
                </c:pt>
                <c:pt idx="128">
                  <c:v>-250</c:v>
                </c:pt>
                <c:pt idx="129">
                  <c:v>-250</c:v>
                </c:pt>
                <c:pt idx="130">
                  <c:v>-250</c:v>
                </c:pt>
                <c:pt idx="131">
                  <c:v>-250</c:v>
                </c:pt>
                <c:pt idx="132">
                  <c:v>-250</c:v>
                </c:pt>
                <c:pt idx="133">
                  <c:v>-250</c:v>
                </c:pt>
                <c:pt idx="134">
                  <c:v>-100</c:v>
                </c:pt>
                <c:pt idx="135">
                  <c:v>-100</c:v>
                </c:pt>
                <c:pt idx="136">
                  <c:v>-100</c:v>
                </c:pt>
                <c:pt idx="137">
                  <c:v>-50</c:v>
                </c:pt>
                <c:pt idx="138">
                  <c:v>-50</c:v>
                </c:pt>
                <c:pt idx="139">
                  <c:v>-50</c:v>
                </c:pt>
                <c:pt idx="140">
                  <c:v>-50</c:v>
                </c:pt>
                <c:pt idx="141">
                  <c:v>-50</c:v>
                </c:pt>
                <c:pt idx="142">
                  <c:v>-50</c:v>
                </c:pt>
                <c:pt idx="143">
                  <c:v>-50</c:v>
                </c:pt>
                <c:pt idx="144">
                  <c:v>-250</c:v>
                </c:pt>
                <c:pt idx="145">
                  <c:v>-250</c:v>
                </c:pt>
                <c:pt idx="146">
                  <c:v>-250</c:v>
                </c:pt>
                <c:pt idx="147">
                  <c:v>-500</c:v>
                </c:pt>
                <c:pt idx="148">
                  <c:v>-500</c:v>
                </c:pt>
                <c:pt idx="149">
                  <c:v>-500</c:v>
                </c:pt>
                <c:pt idx="150">
                  <c:v>-500</c:v>
                </c:pt>
                <c:pt idx="151">
                  <c:v>-500</c:v>
                </c:pt>
                <c:pt idx="152">
                  <c:v>-500</c:v>
                </c:pt>
                <c:pt idx="153">
                  <c:v>-500</c:v>
                </c:pt>
                <c:pt idx="154">
                  <c:v>-500</c:v>
                </c:pt>
                <c:pt idx="155">
                  <c:v>-500</c:v>
                </c:pt>
                <c:pt idx="156">
                  <c:v>-500</c:v>
                </c:pt>
                <c:pt idx="157">
                  <c:v>-500</c:v>
                </c:pt>
                <c:pt idx="158">
                  <c:v>-500</c:v>
                </c:pt>
                <c:pt idx="159">
                  <c:v>-500</c:v>
                </c:pt>
                <c:pt idx="160">
                  <c:v>-500</c:v>
                </c:pt>
                <c:pt idx="161">
                  <c:v>-500</c:v>
                </c:pt>
                <c:pt idx="162">
                  <c:v>-500</c:v>
                </c:pt>
                <c:pt idx="163">
                  <c:v>-500</c:v>
                </c:pt>
                <c:pt idx="164">
                  <c:v>-500</c:v>
                </c:pt>
                <c:pt idx="165">
                  <c:v>-500</c:v>
                </c:pt>
                <c:pt idx="166">
                  <c:v>-500</c:v>
                </c:pt>
                <c:pt idx="167">
                  <c:v>-500</c:v>
                </c:pt>
                <c:pt idx="168">
                  <c:v>-500</c:v>
                </c:pt>
                <c:pt idx="169">
                  <c:v>-500</c:v>
                </c:pt>
                <c:pt idx="170">
                  <c:v>-500</c:v>
                </c:pt>
                <c:pt idx="171">
                  <c:v>-500</c:v>
                </c:pt>
                <c:pt idx="172">
                  <c:v>-500</c:v>
                </c:pt>
                <c:pt idx="173">
                  <c:v>-500</c:v>
                </c:pt>
                <c:pt idx="174">
                  <c:v>-500</c:v>
                </c:pt>
                <c:pt idx="175">
                  <c:v>-500</c:v>
                </c:pt>
                <c:pt idx="176">
                  <c:v>-500</c:v>
                </c:pt>
                <c:pt idx="177">
                  <c:v>-500</c:v>
                </c:pt>
                <c:pt idx="178">
                  <c:v>-500</c:v>
                </c:pt>
                <c:pt idx="179">
                  <c:v>-500</c:v>
                </c:pt>
                <c:pt idx="180">
                  <c:v>-500</c:v>
                </c:pt>
                <c:pt idx="181">
                  <c:v>-500</c:v>
                </c:pt>
                <c:pt idx="182">
                  <c:v>-500</c:v>
                </c:pt>
                <c:pt idx="183">
                  <c:v>-500</c:v>
                </c:pt>
                <c:pt idx="184">
                  <c:v>-500</c:v>
                </c:pt>
                <c:pt idx="185">
                  <c:v>-500</c:v>
                </c:pt>
                <c:pt idx="186">
                  <c:v>-500</c:v>
                </c:pt>
                <c:pt idx="187">
                  <c:v>-500</c:v>
                </c:pt>
                <c:pt idx="188">
                  <c:v>-500</c:v>
                </c:pt>
                <c:pt idx="189">
                  <c:v>-500</c:v>
                </c:pt>
                <c:pt idx="190">
                  <c:v>-500</c:v>
                </c:pt>
                <c:pt idx="191">
                  <c:v>-500</c:v>
                </c:pt>
                <c:pt idx="192">
                  <c:v>-500</c:v>
                </c:pt>
                <c:pt idx="193">
                  <c:v>-500</c:v>
                </c:pt>
                <c:pt idx="194">
                  <c:v>-500</c:v>
                </c:pt>
                <c:pt idx="195">
                  <c:v>-500</c:v>
                </c:pt>
                <c:pt idx="196">
                  <c:v>-500</c:v>
                </c:pt>
                <c:pt idx="197">
                  <c:v>-500</c:v>
                </c:pt>
                <c:pt idx="198">
                  <c:v>-500</c:v>
                </c:pt>
                <c:pt idx="199">
                  <c:v>-500</c:v>
                </c:pt>
                <c:pt idx="200">
                  <c:v>-450</c:v>
                </c:pt>
                <c:pt idx="201">
                  <c:v>-450</c:v>
                </c:pt>
                <c:pt idx="202">
                  <c:v>-450</c:v>
                </c:pt>
                <c:pt idx="203">
                  <c:v>-450</c:v>
                </c:pt>
                <c:pt idx="204">
                  <c:v>-450</c:v>
                </c:pt>
                <c:pt idx="205">
                  <c:v>-450</c:v>
                </c:pt>
                <c:pt idx="206">
                  <c:v>-450</c:v>
                </c:pt>
                <c:pt idx="207">
                  <c:v>-450</c:v>
                </c:pt>
                <c:pt idx="208">
                  <c:v>-550</c:v>
                </c:pt>
                <c:pt idx="209">
                  <c:v>-650</c:v>
                </c:pt>
                <c:pt idx="210">
                  <c:v>-700</c:v>
                </c:pt>
                <c:pt idx="211">
                  <c:v>-600</c:v>
                </c:pt>
                <c:pt idx="212">
                  <c:v>-600</c:v>
                </c:pt>
                <c:pt idx="213">
                  <c:v>-600</c:v>
                </c:pt>
                <c:pt idx="214">
                  <c:v>-400</c:v>
                </c:pt>
                <c:pt idx="215">
                  <c:v>-400</c:v>
                </c:pt>
                <c:pt idx="216">
                  <c:v>-400</c:v>
                </c:pt>
                <c:pt idx="217">
                  <c:v>-400</c:v>
                </c:pt>
                <c:pt idx="218">
                  <c:v>-350</c:v>
                </c:pt>
                <c:pt idx="219">
                  <c:v>-350</c:v>
                </c:pt>
                <c:pt idx="220">
                  <c:v>-350</c:v>
                </c:pt>
                <c:pt idx="221">
                  <c:v>-350</c:v>
                </c:pt>
                <c:pt idx="222">
                  <c:v>-350</c:v>
                </c:pt>
                <c:pt idx="223">
                  <c:v>-450</c:v>
                </c:pt>
                <c:pt idx="224">
                  <c:v>-350</c:v>
                </c:pt>
                <c:pt idx="225">
                  <c:v>-350</c:v>
                </c:pt>
                <c:pt idx="226">
                  <c:v>-350</c:v>
                </c:pt>
                <c:pt idx="227">
                  <c:v>-350</c:v>
                </c:pt>
                <c:pt idx="228">
                  <c:v>-550</c:v>
                </c:pt>
                <c:pt idx="229">
                  <c:v>-600</c:v>
                </c:pt>
                <c:pt idx="230">
                  <c:v>-550</c:v>
                </c:pt>
                <c:pt idx="231">
                  <c:v>-500</c:v>
                </c:pt>
                <c:pt idx="232">
                  <c:v>-700</c:v>
                </c:pt>
                <c:pt idx="233">
                  <c:v>-700</c:v>
                </c:pt>
                <c:pt idx="234">
                  <c:v>-700</c:v>
                </c:pt>
                <c:pt idx="235">
                  <c:v>-200</c:v>
                </c:pt>
                <c:pt idx="236">
                  <c:v>-600</c:v>
                </c:pt>
                <c:pt idx="237">
                  <c:v>-600</c:v>
                </c:pt>
                <c:pt idx="238">
                  <c:v>-350</c:v>
                </c:pt>
                <c:pt idx="239">
                  <c:v>-150</c:v>
                </c:pt>
                <c:pt idx="240">
                  <c:v>-150</c:v>
                </c:pt>
                <c:pt idx="241">
                  <c:v>-150</c:v>
                </c:pt>
                <c:pt idx="242">
                  <c:v>-400</c:v>
                </c:pt>
                <c:pt idx="243">
                  <c:v>-150</c:v>
                </c:pt>
                <c:pt idx="244">
                  <c:v>100</c:v>
                </c:pt>
                <c:pt idx="245">
                  <c:v>-650</c:v>
                </c:pt>
                <c:pt idx="246">
                  <c:v>-400</c:v>
                </c:pt>
                <c:pt idx="247">
                  <c:v>-400</c:v>
                </c:pt>
                <c:pt idx="248">
                  <c:v>-400</c:v>
                </c:pt>
                <c:pt idx="249">
                  <c:v>-400</c:v>
                </c:pt>
                <c:pt idx="250">
                  <c:v>-400</c:v>
                </c:pt>
                <c:pt idx="251">
                  <c:v>-400</c:v>
                </c:pt>
                <c:pt idx="252">
                  <c:v>-150</c:v>
                </c:pt>
                <c:pt idx="253">
                  <c:v>-150</c:v>
                </c:pt>
                <c:pt idx="254">
                  <c:v>-150</c:v>
                </c:pt>
                <c:pt idx="255">
                  <c:v>-150</c:v>
                </c:pt>
                <c:pt idx="256">
                  <c:v>-150</c:v>
                </c:pt>
                <c:pt idx="257">
                  <c:v>-400</c:v>
                </c:pt>
                <c:pt idx="258">
                  <c:v>-150</c:v>
                </c:pt>
                <c:pt idx="259">
                  <c:v>-150</c:v>
                </c:pt>
                <c:pt idx="260">
                  <c:v>850</c:v>
                </c:pt>
                <c:pt idx="261">
                  <c:v>2000</c:v>
                </c:pt>
                <c:pt idx="262">
                  <c:v>#N/A</c:v>
                </c:pt>
                <c:pt idx="263">
                  <c:v>#N/A</c:v>
                </c:pt>
                <c:pt idx="264">
                  <c:v>#N/A</c:v>
                </c:pt>
                <c:pt idx="265">
                  <c:v>500</c:v>
                </c:pt>
                <c:pt idx="266">
                  <c:v>-500</c:v>
                </c:pt>
                <c:pt idx="267">
                  <c:v>-500</c:v>
                </c:pt>
                <c:pt idx="268">
                  <c:v>-500</c:v>
                </c:pt>
                <c:pt idx="269">
                  <c:v>-750</c:v>
                </c:pt>
                <c:pt idx="270">
                  <c:v>#N/A</c:v>
                </c:pt>
                <c:pt idx="271">
                  <c:v>-500</c:v>
                </c:pt>
                <c:pt idx="272">
                  <c:v>-1500</c:v>
                </c:pt>
                <c:pt idx="273">
                  <c:v>-1500</c:v>
                </c:pt>
                <c:pt idx="274">
                  <c:v>-1500</c:v>
                </c:pt>
                <c:pt idx="275">
                  <c:v>-1500</c:v>
                </c:pt>
                <c:pt idx="276">
                  <c:v>-1500</c:v>
                </c:pt>
                <c:pt idx="277">
                  <c:v>-1500</c:v>
                </c:pt>
                <c:pt idx="278">
                  <c:v>-1500</c:v>
                </c:pt>
                <c:pt idx="279">
                  <c:v>-1500</c:v>
                </c:pt>
                <c:pt idx="280">
                  <c:v>-1500</c:v>
                </c:pt>
                <c:pt idx="281">
                  <c:v>-1500</c:v>
                </c:pt>
                <c:pt idx="282">
                  <c:v>-1500</c:v>
                </c:pt>
                <c:pt idx="283">
                  <c:v>-1500</c:v>
                </c:pt>
                <c:pt idx="284">
                  <c:v>-1500</c:v>
                </c:pt>
                <c:pt idx="285">
                  <c:v>-2500</c:v>
                </c:pt>
                <c:pt idx="286">
                  <c:v>-2500</c:v>
                </c:pt>
                <c:pt idx="287">
                  <c:v>-2500</c:v>
                </c:pt>
                <c:pt idx="288">
                  <c:v>-2500</c:v>
                </c:pt>
                <c:pt idx="289">
                  <c:v>-2500</c:v>
                </c:pt>
                <c:pt idx="290">
                  <c:v>-2500</c:v>
                </c:pt>
                <c:pt idx="291">
                  <c:v>-2500</c:v>
                </c:pt>
                <c:pt idx="292">
                  <c:v>-2500</c:v>
                </c:pt>
                <c:pt idx="293">
                  <c:v>-2500</c:v>
                </c:pt>
                <c:pt idx="294">
                  <c:v>-2500</c:v>
                </c:pt>
                <c:pt idx="295">
                  <c:v>-2500</c:v>
                </c:pt>
                <c:pt idx="296">
                  <c:v>-2500</c:v>
                </c:pt>
                <c:pt idx="297">
                  <c:v>-2500</c:v>
                </c:pt>
                <c:pt idx="298">
                  <c:v>-2500</c:v>
                </c:pt>
                <c:pt idx="299">
                  <c:v>-2500</c:v>
                </c:pt>
                <c:pt idx="300">
                  <c:v>-2500</c:v>
                </c:pt>
                <c:pt idx="301">
                  <c:v>-2500</c:v>
                </c:pt>
                <c:pt idx="302">
                  <c:v>-2000</c:v>
                </c:pt>
                <c:pt idx="303">
                  <c:v>-2000</c:v>
                </c:pt>
                <c:pt idx="304">
                  <c:v>-2000</c:v>
                </c:pt>
                <c:pt idx="305">
                  <c:v>-3500</c:v>
                </c:pt>
                <c:pt idx="306">
                  <c:v>-2500</c:v>
                </c:pt>
                <c:pt idx="307">
                  <c:v>-2500</c:v>
                </c:pt>
                <c:pt idx="308">
                  <c:v>-2000</c:v>
                </c:pt>
                <c:pt idx="309">
                  <c:v>-3000</c:v>
                </c:pt>
                <c:pt idx="310">
                  <c:v>-3000</c:v>
                </c:pt>
                <c:pt idx="311">
                  <c:v>-3000</c:v>
                </c:pt>
                <c:pt idx="312">
                  <c:v>-1500</c:v>
                </c:pt>
                <c:pt idx="313">
                  <c:v>-2500</c:v>
                </c:pt>
                <c:pt idx="314">
                  <c:v>-1500</c:v>
                </c:pt>
                <c:pt idx="315">
                  <c:v>-1500</c:v>
                </c:pt>
                <c:pt idx="316">
                  <c:v>-1000</c:v>
                </c:pt>
                <c:pt idx="317">
                  <c:v>-1000</c:v>
                </c:pt>
                <c:pt idx="318">
                  <c:v>-1000</c:v>
                </c:pt>
                <c:pt idx="319">
                  <c:v>-2000</c:v>
                </c:pt>
                <c:pt idx="320">
                  <c:v>-2500</c:v>
                </c:pt>
                <c:pt idx="321">
                  <c:v>-2500</c:v>
                </c:pt>
                <c:pt idx="322">
                  <c:v>-2500</c:v>
                </c:pt>
                <c:pt idx="323">
                  <c:v>-2500</c:v>
                </c:pt>
                <c:pt idx="324">
                  <c:v>-2500</c:v>
                </c:pt>
                <c:pt idx="325">
                  <c:v>-2500</c:v>
                </c:pt>
                <c:pt idx="326">
                  <c:v>-2500</c:v>
                </c:pt>
                <c:pt idx="327">
                  <c:v>-2500</c:v>
                </c:pt>
                <c:pt idx="328">
                  <c:v>-2000</c:v>
                </c:pt>
                <c:pt idx="329">
                  <c:v>-1000</c:v>
                </c:pt>
                <c:pt idx="330">
                  <c:v>-1000</c:v>
                </c:pt>
                <c:pt idx="331">
                  <c:v>-1000</c:v>
                </c:pt>
                <c:pt idx="332">
                  <c:v>-1000</c:v>
                </c:pt>
                <c:pt idx="333">
                  <c:v>-1000</c:v>
                </c:pt>
                <c:pt idx="334">
                  <c:v>-500</c:v>
                </c:pt>
                <c:pt idx="335">
                  <c:v>-500</c:v>
                </c:pt>
                <c:pt idx="336">
                  <c:v>-1000</c:v>
                </c:pt>
                <c:pt idx="337">
                  <c:v>-1750</c:v>
                </c:pt>
                <c:pt idx="338">
                  <c:v>-1750</c:v>
                </c:pt>
                <c:pt idx="339">
                  <c:v>-1750</c:v>
                </c:pt>
                <c:pt idx="340">
                  <c:v>-1750</c:v>
                </c:pt>
                <c:pt idx="341">
                  <c:v>-500</c:v>
                </c:pt>
                <c:pt idx="342">
                  <c:v>-750</c:v>
                </c:pt>
                <c:pt idx="343">
                  <c:v>-250</c:v>
                </c:pt>
                <c:pt idx="344">
                  <c:v>-500</c:v>
                </c:pt>
                <c:pt idx="345">
                  <c:v>-500</c:v>
                </c:pt>
                <c:pt idx="346">
                  <c:v>-500</c:v>
                </c:pt>
                <c:pt idx="347">
                  <c:v>-500</c:v>
                </c:pt>
                <c:pt idx="348">
                  <c:v>-500</c:v>
                </c:pt>
                <c:pt idx="349">
                  <c:v>-500</c:v>
                </c:pt>
                <c:pt idx="350">
                  <c:v>-750</c:v>
                </c:pt>
                <c:pt idx="351">
                  <c:v>-250</c:v>
                </c:pt>
                <c:pt idx="352">
                  <c:v>-250</c:v>
                </c:pt>
                <c:pt idx="353">
                  <c:v>-250</c:v>
                </c:pt>
                <c:pt idx="354">
                  <c:v>-250</c:v>
                </c:pt>
                <c:pt idx="355">
                  <c:v>-700</c:v>
                </c:pt>
                <c:pt idx="356">
                  <c:v>-400</c:v>
                </c:pt>
                <c:pt idx="357">
                  <c:v>-400</c:v>
                </c:pt>
                <c:pt idx="358">
                  <c:v>-250</c:v>
                </c:pt>
                <c:pt idx="359">
                  <c:v>-250</c:v>
                </c:pt>
                <c:pt idx="360">
                  <c:v>-250</c:v>
                </c:pt>
                <c:pt idx="361">
                  <c:v>-150</c:v>
                </c:pt>
                <c:pt idx="362">
                  <c:v>-400</c:v>
                </c:pt>
                <c:pt idx="363">
                  <c:v>-400</c:v>
                </c:pt>
                <c:pt idx="364">
                  <c:v>-500</c:v>
                </c:pt>
                <c:pt idx="365">
                  <c:v>-500</c:v>
                </c:pt>
              </c:numCache>
            </c:numRef>
          </c:val>
          <c:smooth val="0"/>
          <c:extLst>
            <c:ext xmlns:c16="http://schemas.microsoft.com/office/drawing/2014/chart" uri="{C3380CC4-5D6E-409C-BE32-E72D297353CC}">
              <c16:uniqueId val="{00000000-B0A2-4A93-B38B-6F119D424157}"/>
            </c:ext>
          </c:extLst>
        </c:ser>
        <c:ser>
          <c:idx val="1"/>
          <c:order val="1"/>
          <c:tx>
            <c:strRef>
              <c:f>现货价差!$AF$4</c:f>
              <c:strCache>
                <c:ptCount val="1"/>
                <c:pt idx="0">
                  <c:v>2022</c:v>
                </c:pt>
              </c:strCache>
            </c:strRef>
          </c:tx>
          <c:spPr>
            <a:ln w="19050" cap="rnd">
              <a:solidFill>
                <a:srgbClr val="7F7F7F">
                  <a:alpha val="60000"/>
                </a:srgbClr>
              </a:solidFill>
              <a:round/>
            </a:ln>
            <a:effectLst/>
          </c:spPr>
          <c:marker>
            <c:symbol val="none"/>
          </c:marker>
          <c:cat>
            <c:strRef>
              <c:f>现货价差!$AA$5:$AA$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F$5:$AF$370</c:f>
              <c:numCache>
                <c:formatCode>General</c:formatCode>
                <c:ptCount val="366"/>
                <c:pt idx="0">
                  <c:v>-500</c:v>
                </c:pt>
                <c:pt idx="1">
                  <c:v>-500</c:v>
                </c:pt>
                <c:pt idx="2">
                  <c:v>-500</c:v>
                </c:pt>
                <c:pt idx="3">
                  <c:v>-500</c:v>
                </c:pt>
                <c:pt idx="4">
                  <c:v>-500</c:v>
                </c:pt>
                <c:pt idx="5">
                  <c:v>-500</c:v>
                </c:pt>
                <c:pt idx="6">
                  <c:v>-500</c:v>
                </c:pt>
                <c:pt idx="7">
                  <c:v>-500</c:v>
                </c:pt>
                <c:pt idx="8">
                  <c:v>-500</c:v>
                </c:pt>
                <c:pt idx="9">
                  <c:v>-500</c:v>
                </c:pt>
                <c:pt idx="10">
                  <c:v>-500</c:v>
                </c:pt>
                <c:pt idx="11">
                  <c:v>-500</c:v>
                </c:pt>
                <c:pt idx="12">
                  <c:v>-350</c:v>
                </c:pt>
                <c:pt idx="13">
                  <c:v>-350</c:v>
                </c:pt>
                <c:pt idx="14">
                  <c:v>-350</c:v>
                </c:pt>
                <c:pt idx="15">
                  <c:v>-350</c:v>
                </c:pt>
                <c:pt idx="16">
                  <c:v>-350</c:v>
                </c:pt>
                <c:pt idx="17">
                  <c:v>-350</c:v>
                </c:pt>
                <c:pt idx="18">
                  <c:v>-350</c:v>
                </c:pt>
                <c:pt idx="19">
                  <c:v>-350</c:v>
                </c:pt>
                <c:pt idx="20">
                  <c:v>-350</c:v>
                </c:pt>
                <c:pt idx="21">
                  <c:v>-350</c:v>
                </c:pt>
                <c:pt idx="22">
                  <c:v>-350</c:v>
                </c:pt>
                <c:pt idx="23">
                  <c:v>-350</c:v>
                </c:pt>
                <c:pt idx="24">
                  <c:v>-350</c:v>
                </c:pt>
                <c:pt idx="25">
                  <c:v>-350</c:v>
                </c:pt>
                <c:pt idx="26">
                  <c:v>-350</c:v>
                </c:pt>
                <c:pt idx="27">
                  <c:v>-350</c:v>
                </c:pt>
                <c:pt idx="28">
                  <c:v>-350</c:v>
                </c:pt>
                <c:pt idx="29">
                  <c:v>-350</c:v>
                </c:pt>
                <c:pt idx="30">
                  <c:v>-350</c:v>
                </c:pt>
                <c:pt idx="31">
                  <c:v>-350</c:v>
                </c:pt>
                <c:pt idx="32">
                  <c:v>-350</c:v>
                </c:pt>
                <c:pt idx="33">
                  <c:v>-350</c:v>
                </c:pt>
                <c:pt idx="34">
                  <c:v>-350</c:v>
                </c:pt>
                <c:pt idx="35">
                  <c:v>-350</c:v>
                </c:pt>
                <c:pt idx="36">
                  <c:v>-350</c:v>
                </c:pt>
                <c:pt idx="37">
                  <c:v>-350</c:v>
                </c:pt>
                <c:pt idx="38">
                  <c:v>-350</c:v>
                </c:pt>
                <c:pt idx="39">
                  <c:v>-350</c:v>
                </c:pt>
                <c:pt idx="40">
                  <c:v>-400</c:v>
                </c:pt>
                <c:pt idx="41">
                  <c:v>-400</c:v>
                </c:pt>
                <c:pt idx="42">
                  <c:v>-400</c:v>
                </c:pt>
                <c:pt idx="43">
                  <c:v>-400</c:v>
                </c:pt>
                <c:pt idx="44">
                  <c:v>-600</c:v>
                </c:pt>
                <c:pt idx="45">
                  <c:v>-600</c:v>
                </c:pt>
                <c:pt idx="46">
                  <c:v>-600</c:v>
                </c:pt>
                <c:pt idx="47">
                  <c:v>-500</c:v>
                </c:pt>
                <c:pt idx="48">
                  <c:v>-500</c:v>
                </c:pt>
                <c:pt idx="49">
                  <c:v>-500</c:v>
                </c:pt>
                <c:pt idx="50">
                  <c:v>-500</c:v>
                </c:pt>
                <c:pt idx="51">
                  <c:v>-500</c:v>
                </c:pt>
                <c:pt idx="52">
                  <c:v>-500</c:v>
                </c:pt>
                <c:pt idx="53">
                  <c:v>-500</c:v>
                </c:pt>
                <c:pt idx="54">
                  <c:v>-450</c:v>
                </c:pt>
                <c:pt idx="55">
                  <c:v>-500</c:v>
                </c:pt>
                <c:pt idx="56">
                  <c:v>-500</c:v>
                </c:pt>
                <c:pt idx="57">
                  <c:v>-500</c:v>
                </c:pt>
                <c:pt idx="58">
                  <c:v>-350</c:v>
                </c:pt>
                <c:pt idx="60">
                  <c:v>-450</c:v>
                </c:pt>
                <c:pt idx="61">
                  <c:v>-500</c:v>
                </c:pt>
                <c:pt idx="62">
                  <c:v>-500</c:v>
                </c:pt>
                <c:pt idx="63">
                  <c:v>-450</c:v>
                </c:pt>
                <c:pt idx="64">
                  <c:v>-450</c:v>
                </c:pt>
                <c:pt idx="65">
                  <c:v>-450</c:v>
                </c:pt>
                <c:pt idx="66">
                  <c:v>-450</c:v>
                </c:pt>
                <c:pt idx="67">
                  <c:v>-450</c:v>
                </c:pt>
                <c:pt idx="68">
                  <c:v>-450</c:v>
                </c:pt>
                <c:pt idx="69">
                  <c:v>-450</c:v>
                </c:pt>
                <c:pt idx="70">
                  <c:v>-450</c:v>
                </c:pt>
                <c:pt idx="71">
                  <c:v>-450</c:v>
                </c:pt>
                <c:pt idx="72">
                  <c:v>-450</c:v>
                </c:pt>
                <c:pt idx="73">
                  <c:v>-450</c:v>
                </c:pt>
                <c:pt idx="74">
                  <c:v>-450</c:v>
                </c:pt>
                <c:pt idx="75">
                  <c:v>-450</c:v>
                </c:pt>
                <c:pt idx="76">
                  <c:v>-450</c:v>
                </c:pt>
                <c:pt idx="77">
                  <c:v>-450</c:v>
                </c:pt>
                <c:pt idx="78">
                  <c:v>-450</c:v>
                </c:pt>
                <c:pt idx="79">
                  <c:v>-450</c:v>
                </c:pt>
                <c:pt idx="80">
                  <c:v>-550</c:v>
                </c:pt>
                <c:pt idx="81">
                  <c:v>-550</c:v>
                </c:pt>
                <c:pt idx="82">
                  <c:v>-450</c:v>
                </c:pt>
                <c:pt idx="83">
                  <c:v>-450</c:v>
                </c:pt>
                <c:pt idx="84">
                  <c:v>-600</c:v>
                </c:pt>
                <c:pt idx="85">
                  <c:v>-600</c:v>
                </c:pt>
                <c:pt idx="86">
                  <c:v>-600</c:v>
                </c:pt>
                <c:pt idx="87">
                  <c:v>-100</c:v>
                </c:pt>
                <c:pt idx="88">
                  <c:v>-350</c:v>
                </c:pt>
                <c:pt idx="89">
                  <c:v>-350</c:v>
                </c:pt>
                <c:pt idx="90">
                  <c:v>-300</c:v>
                </c:pt>
                <c:pt idx="91">
                  <c:v>-300</c:v>
                </c:pt>
                <c:pt idx="92">
                  <c:v>-300</c:v>
                </c:pt>
                <c:pt idx="93">
                  <c:v>-300</c:v>
                </c:pt>
                <c:pt idx="94">
                  <c:v>-300</c:v>
                </c:pt>
                <c:pt idx="95">
                  <c:v>-300</c:v>
                </c:pt>
                <c:pt idx="96">
                  <c:v>-300</c:v>
                </c:pt>
                <c:pt idx="97">
                  <c:v>-250</c:v>
                </c:pt>
                <c:pt idx="98">
                  <c:v>-100</c:v>
                </c:pt>
                <c:pt idx="99">
                  <c:v>-100</c:v>
                </c:pt>
                <c:pt idx="100">
                  <c:v>-100</c:v>
                </c:pt>
                <c:pt idx="101">
                  <c:v>-200</c:v>
                </c:pt>
                <c:pt idx="102">
                  <c:v>-200</c:v>
                </c:pt>
                <c:pt idx="103">
                  <c:v>-250</c:v>
                </c:pt>
                <c:pt idx="104">
                  <c:v>-350</c:v>
                </c:pt>
                <c:pt idx="105">
                  <c:v>-350</c:v>
                </c:pt>
                <c:pt idx="106">
                  <c:v>-350</c:v>
                </c:pt>
                <c:pt idx="107">
                  <c:v>-350</c:v>
                </c:pt>
                <c:pt idx="108">
                  <c:v>-350</c:v>
                </c:pt>
                <c:pt idx="109">
                  <c:v>-350</c:v>
                </c:pt>
                <c:pt idx="110">
                  <c:v>-350</c:v>
                </c:pt>
                <c:pt idx="111">
                  <c:v>-550</c:v>
                </c:pt>
                <c:pt idx="112">
                  <c:v>-550</c:v>
                </c:pt>
                <c:pt idx="113">
                  <c:v>-550</c:v>
                </c:pt>
                <c:pt idx="114">
                  <c:v>-550</c:v>
                </c:pt>
                <c:pt idx="115">
                  <c:v>-550</c:v>
                </c:pt>
                <c:pt idx="116">
                  <c:v>-550</c:v>
                </c:pt>
                <c:pt idx="117">
                  <c:v>-550</c:v>
                </c:pt>
                <c:pt idx="118">
                  <c:v>-500</c:v>
                </c:pt>
                <c:pt idx="119">
                  <c:v>-700</c:v>
                </c:pt>
                <c:pt idx="120">
                  <c:v>-700</c:v>
                </c:pt>
                <c:pt idx="121">
                  <c:v>-700</c:v>
                </c:pt>
                <c:pt idx="122">
                  <c:v>-700</c:v>
                </c:pt>
                <c:pt idx="123">
                  <c:v>-700</c:v>
                </c:pt>
                <c:pt idx="124">
                  <c:v>-700</c:v>
                </c:pt>
                <c:pt idx="125">
                  <c:v>-600</c:v>
                </c:pt>
                <c:pt idx="126">
                  <c:v>-550</c:v>
                </c:pt>
                <c:pt idx="127">
                  <c:v>-550</c:v>
                </c:pt>
                <c:pt idx="128">
                  <c:v>-550</c:v>
                </c:pt>
                <c:pt idx="129">
                  <c:v>-550</c:v>
                </c:pt>
                <c:pt idx="130">
                  <c:v>-550</c:v>
                </c:pt>
                <c:pt idx="131">
                  <c:v>-550</c:v>
                </c:pt>
                <c:pt idx="132">
                  <c:v>-400</c:v>
                </c:pt>
                <c:pt idx="133">
                  <c:v>-400</c:v>
                </c:pt>
                <c:pt idx="134">
                  <c:v>-400</c:v>
                </c:pt>
                <c:pt idx="135">
                  <c:v>-400</c:v>
                </c:pt>
                <c:pt idx="136">
                  <c:v>-500</c:v>
                </c:pt>
                <c:pt idx="137">
                  <c:v>-500</c:v>
                </c:pt>
                <c:pt idx="138">
                  <c:v>-400</c:v>
                </c:pt>
                <c:pt idx="139">
                  <c:v>-400</c:v>
                </c:pt>
                <c:pt idx="140">
                  <c:v>-400</c:v>
                </c:pt>
                <c:pt idx="141">
                  <c:v>-400</c:v>
                </c:pt>
                <c:pt idx="142">
                  <c:v>-400</c:v>
                </c:pt>
                <c:pt idx="143">
                  <c:v>-200</c:v>
                </c:pt>
                <c:pt idx="144">
                  <c:v>-450</c:v>
                </c:pt>
                <c:pt idx="145">
                  <c:v>-500</c:v>
                </c:pt>
                <c:pt idx="146">
                  <c:v>-500</c:v>
                </c:pt>
                <c:pt idx="147">
                  <c:v>-400</c:v>
                </c:pt>
                <c:pt idx="148">
                  <c:v>-400</c:v>
                </c:pt>
                <c:pt idx="149">
                  <c:v>-400</c:v>
                </c:pt>
                <c:pt idx="150">
                  <c:v>-400</c:v>
                </c:pt>
                <c:pt idx="151">
                  <c:v>-400</c:v>
                </c:pt>
                <c:pt idx="152">
                  <c:v>-500</c:v>
                </c:pt>
                <c:pt idx="153">
                  <c:v>-500</c:v>
                </c:pt>
                <c:pt idx="154">
                  <c:v>-500</c:v>
                </c:pt>
                <c:pt idx="155">
                  <c:v>-500</c:v>
                </c:pt>
                <c:pt idx="156">
                  <c:v>-500</c:v>
                </c:pt>
                <c:pt idx="157">
                  <c:v>-500</c:v>
                </c:pt>
                <c:pt idx="158">
                  <c:v>-550</c:v>
                </c:pt>
                <c:pt idx="159">
                  <c:v>-350</c:v>
                </c:pt>
                <c:pt idx="160">
                  <c:v>-300</c:v>
                </c:pt>
                <c:pt idx="161">
                  <c:v>-50</c:v>
                </c:pt>
                <c:pt idx="162">
                  <c:v>-50</c:v>
                </c:pt>
                <c:pt idx="163">
                  <c:v>-50</c:v>
                </c:pt>
                <c:pt idx="164">
                  <c:v>-50</c:v>
                </c:pt>
                <c:pt idx="165">
                  <c:v>-50</c:v>
                </c:pt>
                <c:pt idx="166">
                  <c:v>200</c:v>
                </c:pt>
                <c:pt idx="167">
                  <c:v>200</c:v>
                </c:pt>
                <c:pt idx="168">
                  <c:v>200</c:v>
                </c:pt>
                <c:pt idx="169">
                  <c:v>200</c:v>
                </c:pt>
                <c:pt idx="170">
                  <c:v>200</c:v>
                </c:pt>
                <c:pt idx="171">
                  <c:v>-50</c:v>
                </c:pt>
                <c:pt idx="172">
                  <c:v>-450</c:v>
                </c:pt>
                <c:pt idx="173">
                  <c:v>-450</c:v>
                </c:pt>
                <c:pt idx="174">
                  <c:v>-450</c:v>
                </c:pt>
                <c:pt idx="175">
                  <c:v>-450</c:v>
                </c:pt>
                <c:pt idx="176">
                  <c:v>-450</c:v>
                </c:pt>
                <c:pt idx="177">
                  <c:v>-450</c:v>
                </c:pt>
                <c:pt idx="178">
                  <c:v>-450</c:v>
                </c:pt>
                <c:pt idx="179">
                  <c:v>-400</c:v>
                </c:pt>
                <c:pt idx="180">
                  <c:v>-400</c:v>
                </c:pt>
                <c:pt idx="181">
                  <c:v>-200</c:v>
                </c:pt>
                <c:pt idx="182">
                  <c:v>-250</c:v>
                </c:pt>
                <c:pt idx="183">
                  <c:v>-250</c:v>
                </c:pt>
                <c:pt idx="184">
                  <c:v>-250</c:v>
                </c:pt>
                <c:pt idx="185">
                  <c:v>-250</c:v>
                </c:pt>
                <c:pt idx="186">
                  <c:v>-250</c:v>
                </c:pt>
                <c:pt idx="187">
                  <c:v>-250</c:v>
                </c:pt>
                <c:pt idx="188">
                  <c:v>-250</c:v>
                </c:pt>
                <c:pt idx="189">
                  <c:v>-250</c:v>
                </c:pt>
                <c:pt idx="190">
                  <c:v>-250</c:v>
                </c:pt>
                <c:pt idx="191">
                  <c:v>-250</c:v>
                </c:pt>
                <c:pt idx="192">
                  <c:v>-250</c:v>
                </c:pt>
                <c:pt idx="193">
                  <c:v>-250</c:v>
                </c:pt>
                <c:pt idx="194">
                  <c:v>-250</c:v>
                </c:pt>
                <c:pt idx="195">
                  <c:v>-250</c:v>
                </c:pt>
                <c:pt idx="196">
                  <c:v>-150</c:v>
                </c:pt>
                <c:pt idx="197">
                  <c:v>-150</c:v>
                </c:pt>
                <c:pt idx="198">
                  <c:v>-150</c:v>
                </c:pt>
                <c:pt idx="199">
                  <c:v>-150</c:v>
                </c:pt>
                <c:pt idx="200">
                  <c:v>-150</c:v>
                </c:pt>
                <c:pt idx="201">
                  <c:v>-150</c:v>
                </c:pt>
                <c:pt idx="202">
                  <c:v>-150</c:v>
                </c:pt>
                <c:pt idx="203">
                  <c:v>-150</c:v>
                </c:pt>
                <c:pt idx="204">
                  <c:v>-150</c:v>
                </c:pt>
                <c:pt idx="205">
                  <c:v>-150</c:v>
                </c:pt>
                <c:pt idx="206">
                  <c:v>-150</c:v>
                </c:pt>
                <c:pt idx="207">
                  <c:v>-150</c:v>
                </c:pt>
                <c:pt idx="208">
                  <c:v>-150</c:v>
                </c:pt>
                <c:pt idx="209">
                  <c:v>-50</c:v>
                </c:pt>
                <c:pt idx="210">
                  <c:v>-50</c:v>
                </c:pt>
                <c:pt idx="211">
                  <c:v>-50</c:v>
                </c:pt>
                <c:pt idx="212">
                  <c:v>-50</c:v>
                </c:pt>
                <c:pt idx="213">
                  <c:v>-50</c:v>
                </c:pt>
                <c:pt idx="214">
                  <c:v>-50</c:v>
                </c:pt>
                <c:pt idx="215">
                  <c:v>-50</c:v>
                </c:pt>
                <c:pt idx="216">
                  <c:v>-50</c:v>
                </c:pt>
                <c:pt idx="217">
                  <c:v>-50</c:v>
                </c:pt>
                <c:pt idx="218">
                  <c:v>-50</c:v>
                </c:pt>
                <c:pt idx="219">
                  <c:v>-50</c:v>
                </c:pt>
                <c:pt idx="220">
                  <c:v>-50</c:v>
                </c:pt>
                <c:pt idx="221">
                  <c:v>-250</c:v>
                </c:pt>
                <c:pt idx="222">
                  <c:v>-250</c:v>
                </c:pt>
                <c:pt idx="223">
                  <c:v>-100</c:v>
                </c:pt>
                <c:pt idx="224">
                  <c:v>-100</c:v>
                </c:pt>
                <c:pt idx="225">
                  <c:v>-100</c:v>
                </c:pt>
                <c:pt idx="226">
                  <c:v>-100</c:v>
                </c:pt>
                <c:pt idx="227">
                  <c:v>-50</c:v>
                </c:pt>
                <c:pt idx="228">
                  <c:v>-250</c:v>
                </c:pt>
                <c:pt idx="229">
                  <c:v>-300</c:v>
                </c:pt>
                <c:pt idx="230">
                  <c:v>-300</c:v>
                </c:pt>
                <c:pt idx="231">
                  <c:v>-300</c:v>
                </c:pt>
                <c:pt idx="232">
                  <c:v>-300</c:v>
                </c:pt>
                <c:pt idx="233">
                  <c:v>-300</c:v>
                </c:pt>
                <c:pt idx="234">
                  <c:v>-300</c:v>
                </c:pt>
                <c:pt idx="235">
                  <c:v>-300</c:v>
                </c:pt>
                <c:pt idx="236">
                  <c:v>-300</c:v>
                </c:pt>
                <c:pt idx="237">
                  <c:v>-300</c:v>
                </c:pt>
                <c:pt idx="238">
                  <c:v>-300</c:v>
                </c:pt>
                <c:pt idx="239">
                  <c:v>-300</c:v>
                </c:pt>
                <c:pt idx="240">
                  <c:v>-300</c:v>
                </c:pt>
                <c:pt idx="241">
                  <c:v>-150</c:v>
                </c:pt>
                <c:pt idx="242">
                  <c:v>-150</c:v>
                </c:pt>
                <c:pt idx="243">
                  <c:v>-200</c:v>
                </c:pt>
                <c:pt idx="244">
                  <c:v>-200</c:v>
                </c:pt>
                <c:pt idx="245">
                  <c:v>-200</c:v>
                </c:pt>
                <c:pt idx="246">
                  <c:v>-200</c:v>
                </c:pt>
                <c:pt idx="247">
                  <c:v>-200</c:v>
                </c:pt>
                <c:pt idx="248">
                  <c:v>-200</c:v>
                </c:pt>
                <c:pt idx="249">
                  <c:v>-200</c:v>
                </c:pt>
                <c:pt idx="250">
                  <c:v>-150</c:v>
                </c:pt>
                <c:pt idx="251">
                  <c:v>-150</c:v>
                </c:pt>
                <c:pt idx="252">
                  <c:v>-250</c:v>
                </c:pt>
                <c:pt idx="253">
                  <c:v>-250</c:v>
                </c:pt>
                <c:pt idx="254">
                  <c:v>-250</c:v>
                </c:pt>
                <c:pt idx="255">
                  <c:v>-250</c:v>
                </c:pt>
                <c:pt idx="256">
                  <c:v>-250</c:v>
                </c:pt>
                <c:pt idx="257">
                  <c:v>-250</c:v>
                </c:pt>
                <c:pt idx="258">
                  <c:v>-250</c:v>
                </c:pt>
                <c:pt idx="259">
                  <c:v>-50</c:v>
                </c:pt>
                <c:pt idx="260">
                  <c:v>-50</c:v>
                </c:pt>
                <c:pt idx="261">
                  <c:v>-50</c:v>
                </c:pt>
                <c:pt idx="262">
                  <c:v>-50</c:v>
                </c:pt>
                <c:pt idx="263">
                  <c:v>-50</c:v>
                </c:pt>
                <c:pt idx="264">
                  <c:v>-50</c:v>
                </c:pt>
                <c:pt idx="265">
                  <c:v>-50</c:v>
                </c:pt>
                <c:pt idx="266">
                  <c:v>-50</c:v>
                </c:pt>
                <c:pt idx="267">
                  <c:v>-50</c:v>
                </c:pt>
                <c:pt idx="268">
                  <c:v>-50</c:v>
                </c:pt>
                <c:pt idx="269">
                  <c:v>-50</c:v>
                </c:pt>
                <c:pt idx="270">
                  <c:v>-200</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100</c:v>
                </c:pt>
                <c:pt idx="320">
                  <c:v>-100</c:v>
                </c:pt>
                <c:pt idx="321">
                  <c:v>-250</c:v>
                </c:pt>
                <c:pt idx="322">
                  <c:v>-300</c:v>
                </c:pt>
                <c:pt idx="323">
                  <c:v>-300</c:v>
                </c:pt>
                <c:pt idx="324">
                  <c:v>-300</c:v>
                </c:pt>
                <c:pt idx="325">
                  <c:v>-300</c:v>
                </c:pt>
                <c:pt idx="326">
                  <c:v>-250</c:v>
                </c:pt>
                <c:pt idx="327">
                  <c:v>-300</c:v>
                </c:pt>
                <c:pt idx="328">
                  <c:v>-450</c:v>
                </c:pt>
                <c:pt idx="329">
                  <c:v>-450</c:v>
                </c:pt>
                <c:pt idx="330">
                  <c:v>-450</c:v>
                </c:pt>
                <c:pt idx="331">
                  <c:v>-450</c:v>
                </c:pt>
                <c:pt idx="332">
                  <c:v>-400</c:v>
                </c:pt>
                <c:pt idx="333">
                  <c:v>-400</c:v>
                </c:pt>
                <c:pt idx="334">
                  <c:v>-400</c:v>
                </c:pt>
                <c:pt idx="335">
                  <c:v>-400</c:v>
                </c:pt>
                <c:pt idx="336">
                  <c:v>-400</c:v>
                </c:pt>
                <c:pt idx="337">
                  <c:v>-400</c:v>
                </c:pt>
                <c:pt idx="338">
                  <c:v>-400</c:v>
                </c:pt>
                <c:pt idx="339">
                  <c:v>-400</c:v>
                </c:pt>
                <c:pt idx="340">
                  <c:v>-400</c:v>
                </c:pt>
                <c:pt idx="341">
                  <c:v>-400</c:v>
                </c:pt>
                <c:pt idx="342">
                  <c:v>-400</c:v>
                </c:pt>
                <c:pt idx="343">
                  <c:v>-400</c:v>
                </c:pt>
                <c:pt idx="344">
                  <c:v>-400</c:v>
                </c:pt>
                <c:pt idx="345">
                  <c:v>-400</c:v>
                </c:pt>
                <c:pt idx="346">
                  <c:v>-400</c:v>
                </c:pt>
                <c:pt idx="347">
                  <c:v>-400</c:v>
                </c:pt>
                <c:pt idx="348">
                  <c:v>-400</c:v>
                </c:pt>
                <c:pt idx="349">
                  <c:v>-400</c:v>
                </c:pt>
                <c:pt idx="350">
                  <c:v>-400</c:v>
                </c:pt>
                <c:pt idx="351">
                  <c:v>-400</c:v>
                </c:pt>
                <c:pt idx="352">
                  <c:v>-400</c:v>
                </c:pt>
                <c:pt idx="353">
                  <c:v>-400</c:v>
                </c:pt>
                <c:pt idx="354">
                  <c:v>-400</c:v>
                </c:pt>
                <c:pt idx="355">
                  <c:v>-500</c:v>
                </c:pt>
                <c:pt idx="356">
                  <c:v>-550</c:v>
                </c:pt>
                <c:pt idx="357">
                  <c:v>-550</c:v>
                </c:pt>
                <c:pt idx="358">
                  <c:v>-550</c:v>
                </c:pt>
                <c:pt idx="359">
                  <c:v>-550</c:v>
                </c:pt>
                <c:pt idx="360">
                  <c:v>-550</c:v>
                </c:pt>
                <c:pt idx="361">
                  <c:v>-550</c:v>
                </c:pt>
                <c:pt idx="362">
                  <c:v>-550</c:v>
                </c:pt>
                <c:pt idx="363">
                  <c:v>-550</c:v>
                </c:pt>
                <c:pt idx="364">
                  <c:v>-900</c:v>
                </c:pt>
                <c:pt idx="365">
                  <c:v>-900</c:v>
                </c:pt>
              </c:numCache>
            </c:numRef>
          </c:val>
          <c:smooth val="0"/>
          <c:extLst>
            <c:ext xmlns:c16="http://schemas.microsoft.com/office/drawing/2014/chart" uri="{C3380CC4-5D6E-409C-BE32-E72D297353CC}">
              <c16:uniqueId val="{00000001-B0A2-4A93-B38B-6F119D424157}"/>
            </c:ext>
          </c:extLst>
        </c:ser>
        <c:ser>
          <c:idx val="2"/>
          <c:order val="2"/>
          <c:tx>
            <c:strRef>
              <c:f>现货价差!$AG$4</c:f>
              <c:strCache>
                <c:ptCount val="1"/>
                <c:pt idx="0">
                  <c:v>2023</c:v>
                </c:pt>
              </c:strCache>
            </c:strRef>
          </c:tx>
          <c:spPr>
            <a:ln w="19050" cap="rnd">
              <a:solidFill>
                <a:srgbClr val="308D94">
                  <a:alpha val="60000"/>
                </a:srgbClr>
              </a:solidFill>
              <a:round/>
            </a:ln>
            <a:effectLst/>
          </c:spPr>
          <c:marker>
            <c:symbol val="none"/>
          </c:marker>
          <c:cat>
            <c:strRef>
              <c:f>现货价差!$AA$5:$AA$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G$5:$AG$370</c:f>
              <c:numCache>
                <c:formatCode>General</c:formatCode>
                <c:ptCount val="366"/>
                <c:pt idx="0">
                  <c:v>-900</c:v>
                </c:pt>
                <c:pt idx="1">
                  <c:v>-900</c:v>
                </c:pt>
                <c:pt idx="2">
                  <c:v>-900</c:v>
                </c:pt>
                <c:pt idx="3">
                  <c:v>-1300</c:v>
                </c:pt>
                <c:pt idx="4">
                  <c:v>-1300</c:v>
                </c:pt>
                <c:pt idx="5">
                  <c:v>-1400</c:v>
                </c:pt>
                <c:pt idx="6">
                  <c:v>-1400</c:v>
                </c:pt>
                <c:pt idx="7">
                  <c:v>-1400</c:v>
                </c:pt>
                <c:pt idx="8">
                  <c:v>-400</c:v>
                </c:pt>
                <c:pt idx="9">
                  <c:v>-500</c:v>
                </c:pt>
                <c:pt idx="10">
                  <c:v>-500</c:v>
                </c:pt>
                <c:pt idx="11">
                  <c:v>-350</c:v>
                </c:pt>
                <c:pt idx="12">
                  <c:v>-350</c:v>
                </c:pt>
                <c:pt idx="13">
                  <c:v>-350</c:v>
                </c:pt>
                <c:pt idx="14">
                  <c:v>-350</c:v>
                </c:pt>
                <c:pt idx="15">
                  <c:v>-350</c:v>
                </c:pt>
                <c:pt idx="16">
                  <c:v>-350</c:v>
                </c:pt>
                <c:pt idx="17">
                  <c:v>-350</c:v>
                </c:pt>
                <c:pt idx="18">
                  <c:v>-350</c:v>
                </c:pt>
                <c:pt idx="19">
                  <c:v>-350</c:v>
                </c:pt>
                <c:pt idx="20">
                  <c:v>-350</c:v>
                </c:pt>
                <c:pt idx="21">
                  <c:v>-350</c:v>
                </c:pt>
                <c:pt idx="22">
                  <c:v>-350</c:v>
                </c:pt>
                <c:pt idx="23">
                  <c:v>-350</c:v>
                </c:pt>
                <c:pt idx="24">
                  <c:v>-350</c:v>
                </c:pt>
                <c:pt idx="25">
                  <c:v>-350</c:v>
                </c:pt>
                <c:pt idx="26">
                  <c:v>-350</c:v>
                </c:pt>
                <c:pt idx="27">
                  <c:v>-350</c:v>
                </c:pt>
                <c:pt idx="28">
                  <c:v>-350</c:v>
                </c:pt>
                <c:pt idx="29">
                  <c:v>-350</c:v>
                </c:pt>
                <c:pt idx="30">
                  <c:v>-350</c:v>
                </c:pt>
                <c:pt idx="31">
                  <c:v>-350</c:v>
                </c:pt>
                <c:pt idx="32">
                  <c:v>-350</c:v>
                </c:pt>
                <c:pt idx="33">
                  <c:v>-350</c:v>
                </c:pt>
                <c:pt idx="34">
                  <c:v>-350</c:v>
                </c:pt>
                <c:pt idx="35">
                  <c:v>-350</c:v>
                </c:pt>
                <c:pt idx="36">
                  <c:v>-350</c:v>
                </c:pt>
                <c:pt idx="37">
                  <c:v>-350</c:v>
                </c:pt>
                <c:pt idx="38">
                  <c:v>-450</c:v>
                </c:pt>
                <c:pt idx="39">
                  <c:v>-450</c:v>
                </c:pt>
                <c:pt idx="40">
                  <c:v>-450</c:v>
                </c:pt>
                <c:pt idx="41">
                  <c:v>-450</c:v>
                </c:pt>
                <c:pt idx="42">
                  <c:v>-450</c:v>
                </c:pt>
                <c:pt idx="43">
                  <c:v>-450</c:v>
                </c:pt>
                <c:pt idx="44">
                  <c:v>-450</c:v>
                </c:pt>
                <c:pt idx="45">
                  <c:v>-450</c:v>
                </c:pt>
                <c:pt idx="46">
                  <c:v>-300</c:v>
                </c:pt>
                <c:pt idx="47">
                  <c:v>-300</c:v>
                </c:pt>
                <c:pt idx="48">
                  <c:v>-300</c:v>
                </c:pt>
                <c:pt idx="49">
                  <c:v>-300</c:v>
                </c:pt>
                <c:pt idx="50">
                  <c:v>-300</c:v>
                </c:pt>
                <c:pt idx="51">
                  <c:v>-300</c:v>
                </c:pt>
                <c:pt idx="52">
                  <c:v>-300</c:v>
                </c:pt>
                <c:pt idx="53">
                  <c:v>-300</c:v>
                </c:pt>
                <c:pt idx="54">
                  <c:v>-300</c:v>
                </c:pt>
                <c:pt idx="55">
                  <c:v>-300</c:v>
                </c:pt>
                <c:pt idx="56">
                  <c:v>-300</c:v>
                </c:pt>
                <c:pt idx="57">
                  <c:v>-300</c:v>
                </c:pt>
                <c:pt idx="58">
                  <c:v>-300</c:v>
                </c:pt>
                <c:pt idx="60">
                  <c:v>-350</c:v>
                </c:pt>
                <c:pt idx="61">
                  <c:v>-400</c:v>
                </c:pt>
                <c:pt idx="62">
                  <c:v>-400</c:v>
                </c:pt>
                <c:pt idx="63">
                  <c:v>-400</c:v>
                </c:pt>
                <c:pt idx="64">
                  <c:v>-400</c:v>
                </c:pt>
                <c:pt idx="65">
                  <c:v>-400</c:v>
                </c:pt>
                <c:pt idx="66">
                  <c:v>-400</c:v>
                </c:pt>
                <c:pt idx="67">
                  <c:v>-400</c:v>
                </c:pt>
                <c:pt idx="68">
                  <c:v>-400</c:v>
                </c:pt>
                <c:pt idx="69">
                  <c:v>-450</c:v>
                </c:pt>
                <c:pt idx="70">
                  <c:v>-450</c:v>
                </c:pt>
                <c:pt idx="71">
                  <c:v>-450</c:v>
                </c:pt>
                <c:pt idx="72">
                  <c:v>-650</c:v>
                </c:pt>
                <c:pt idx="73">
                  <c:v>-650</c:v>
                </c:pt>
                <c:pt idx="74">
                  <c:v>-700</c:v>
                </c:pt>
                <c:pt idx="75">
                  <c:v>-950</c:v>
                </c:pt>
                <c:pt idx="76">
                  <c:v>-800</c:v>
                </c:pt>
                <c:pt idx="77">
                  <c:v>-800</c:v>
                </c:pt>
                <c:pt idx="78">
                  <c:v>-800</c:v>
                </c:pt>
                <c:pt idx="79">
                  <c:v>-900</c:v>
                </c:pt>
                <c:pt idx="80">
                  <c:v>-700</c:v>
                </c:pt>
                <c:pt idx="81">
                  <c:v>-700</c:v>
                </c:pt>
                <c:pt idx="82">
                  <c:v>-400</c:v>
                </c:pt>
                <c:pt idx="83">
                  <c:v>-400</c:v>
                </c:pt>
                <c:pt idx="84">
                  <c:v>-400</c:v>
                </c:pt>
                <c:pt idx="85">
                  <c:v>-400</c:v>
                </c:pt>
                <c:pt idx="86">
                  <c:v>-400</c:v>
                </c:pt>
                <c:pt idx="87">
                  <c:v>-400</c:v>
                </c:pt>
                <c:pt idx="88">
                  <c:v>-400</c:v>
                </c:pt>
                <c:pt idx="89">
                  <c:v>-400</c:v>
                </c:pt>
                <c:pt idx="90">
                  <c:v>-200</c:v>
                </c:pt>
                <c:pt idx="91">
                  <c:v>-200</c:v>
                </c:pt>
                <c:pt idx="92">
                  <c:v>-200</c:v>
                </c:pt>
                <c:pt idx="93">
                  <c:v>-200</c:v>
                </c:pt>
                <c:pt idx="94">
                  <c:v>-200</c:v>
                </c:pt>
                <c:pt idx="95">
                  <c:v>-200</c:v>
                </c:pt>
                <c:pt idx="96">
                  <c:v>-200</c:v>
                </c:pt>
                <c:pt idx="97">
                  <c:v>-300</c:v>
                </c:pt>
                <c:pt idx="98">
                  <c:v>-300</c:v>
                </c:pt>
                <c:pt idx="99">
                  <c:v>-300</c:v>
                </c:pt>
                <c:pt idx="100">
                  <c:v>-300</c:v>
                </c:pt>
                <c:pt idx="101">
                  <c:v>-300</c:v>
                </c:pt>
                <c:pt idx="102">
                  <c:v>-300</c:v>
                </c:pt>
                <c:pt idx="103">
                  <c:v>-500</c:v>
                </c:pt>
                <c:pt idx="104">
                  <c:v>-500</c:v>
                </c:pt>
                <c:pt idx="105">
                  <c:v>-500</c:v>
                </c:pt>
                <c:pt idx="106">
                  <c:v>-500</c:v>
                </c:pt>
                <c:pt idx="107">
                  <c:v>-500</c:v>
                </c:pt>
                <c:pt idx="108">
                  <c:v>-500</c:v>
                </c:pt>
                <c:pt idx="109">
                  <c:v>-500</c:v>
                </c:pt>
                <c:pt idx="110">
                  <c:v>-500</c:v>
                </c:pt>
                <c:pt idx="111">
                  <c:v>-500</c:v>
                </c:pt>
                <c:pt idx="112">
                  <c:v>-500</c:v>
                </c:pt>
                <c:pt idx="113">
                  <c:v>-500</c:v>
                </c:pt>
                <c:pt idx="114">
                  <c:v>-500</c:v>
                </c:pt>
                <c:pt idx="115">
                  <c:v>-500</c:v>
                </c:pt>
                <c:pt idx="116">
                  <c:v>-500</c:v>
                </c:pt>
                <c:pt idx="117">
                  <c:v>-600</c:v>
                </c:pt>
                <c:pt idx="118">
                  <c:v>-600</c:v>
                </c:pt>
                <c:pt idx="119">
                  <c:v>-600</c:v>
                </c:pt>
                <c:pt idx="120">
                  <c:v>-600</c:v>
                </c:pt>
                <c:pt idx="121">
                  <c:v>-600</c:v>
                </c:pt>
                <c:pt idx="122">
                  <c:v>-600</c:v>
                </c:pt>
                <c:pt idx="123">
                  <c:v>-600</c:v>
                </c:pt>
                <c:pt idx="124">
                  <c:v>-600</c:v>
                </c:pt>
                <c:pt idx="125">
                  <c:v>-600</c:v>
                </c:pt>
                <c:pt idx="126">
                  <c:v>-400</c:v>
                </c:pt>
                <c:pt idx="127">
                  <c:v>-400</c:v>
                </c:pt>
                <c:pt idx="128">
                  <c:v>-400</c:v>
                </c:pt>
                <c:pt idx="129">
                  <c:v>-400</c:v>
                </c:pt>
                <c:pt idx="130">
                  <c:v>-400</c:v>
                </c:pt>
                <c:pt idx="131">
                  <c:v>-300</c:v>
                </c:pt>
                <c:pt idx="132">
                  <c:v>-300</c:v>
                </c:pt>
                <c:pt idx="133">
                  <c:v>-300</c:v>
                </c:pt>
                <c:pt idx="134">
                  <c:v>-300</c:v>
                </c:pt>
                <c:pt idx="135">
                  <c:v>-300</c:v>
                </c:pt>
                <c:pt idx="136">
                  <c:v>-300</c:v>
                </c:pt>
                <c:pt idx="137">
                  <c:v>-200</c:v>
                </c:pt>
                <c:pt idx="138">
                  <c:v>-200</c:v>
                </c:pt>
                <c:pt idx="139">
                  <c:v>-250</c:v>
                </c:pt>
                <c:pt idx="140">
                  <c:v>-250</c:v>
                </c:pt>
                <c:pt idx="141">
                  <c:v>-250</c:v>
                </c:pt>
                <c:pt idx="142">
                  <c:v>-250</c:v>
                </c:pt>
                <c:pt idx="143">
                  <c:v>-250</c:v>
                </c:pt>
                <c:pt idx="144">
                  <c:v>-150</c:v>
                </c:pt>
                <c:pt idx="145">
                  <c:v>-200</c:v>
                </c:pt>
                <c:pt idx="146">
                  <c:v>-250</c:v>
                </c:pt>
                <c:pt idx="147">
                  <c:v>-250</c:v>
                </c:pt>
                <c:pt idx="148">
                  <c:v>-250</c:v>
                </c:pt>
                <c:pt idx="149">
                  <c:v>-450</c:v>
                </c:pt>
                <c:pt idx="150">
                  <c:v>-350</c:v>
                </c:pt>
                <c:pt idx="151">
                  <c:v>-350</c:v>
                </c:pt>
                <c:pt idx="152">
                  <c:v>-350</c:v>
                </c:pt>
                <c:pt idx="153">
                  <c:v>-350</c:v>
                </c:pt>
                <c:pt idx="154">
                  <c:v>-350</c:v>
                </c:pt>
                <c:pt idx="155">
                  <c:v>-350</c:v>
                </c:pt>
                <c:pt idx="156">
                  <c:v>-350</c:v>
                </c:pt>
                <c:pt idx="157">
                  <c:v>-350</c:v>
                </c:pt>
                <c:pt idx="158">
                  <c:v>-350</c:v>
                </c:pt>
                <c:pt idx="159">
                  <c:v>-350</c:v>
                </c:pt>
                <c:pt idx="160">
                  <c:v>-200</c:v>
                </c:pt>
                <c:pt idx="161">
                  <c:v>-200</c:v>
                </c:pt>
                <c:pt idx="162">
                  <c:v>-200</c:v>
                </c:pt>
                <c:pt idx="163">
                  <c:v>250</c:v>
                </c:pt>
                <c:pt idx="164">
                  <c:v>#N/A</c:v>
                </c:pt>
                <c:pt idx="165">
                  <c:v>#N/A</c:v>
                </c:pt>
                <c:pt idx="166">
                  <c:v>#N/A</c:v>
                </c:pt>
                <c:pt idx="167">
                  <c:v>#N/A</c:v>
                </c:pt>
                <c:pt idx="168">
                  <c:v>#N/A</c:v>
                </c:pt>
                <c:pt idx="169">
                  <c:v>#N/A</c:v>
                </c:pt>
                <c:pt idx="170">
                  <c:v>#N/A</c:v>
                </c:pt>
                <c:pt idx="171">
                  <c:v>#N/A</c:v>
                </c:pt>
                <c:pt idx="172">
                  <c:v>-100</c:v>
                </c:pt>
                <c:pt idx="173">
                  <c:v>-100</c:v>
                </c:pt>
                <c:pt idx="174">
                  <c:v>-100</c:v>
                </c:pt>
                <c:pt idx="175">
                  <c:v>-100</c:v>
                </c:pt>
                <c:pt idx="176">
                  <c:v>-100</c:v>
                </c:pt>
                <c:pt idx="177">
                  <c:v>-100</c:v>
                </c:pt>
                <c:pt idx="178">
                  <c:v>-100</c:v>
                </c:pt>
                <c:pt idx="179">
                  <c:v>-100</c:v>
                </c:pt>
                <c:pt idx="180">
                  <c:v>-100</c:v>
                </c:pt>
                <c:pt idx="181">
                  <c:v>-100</c:v>
                </c:pt>
                <c:pt idx="182">
                  <c:v>-100</c:v>
                </c:pt>
                <c:pt idx="183">
                  <c:v>-100</c:v>
                </c:pt>
                <c:pt idx="184">
                  <c:v>-100</c:v>
                </c:pt>
                <c:pt idx="185">
                  <c:v>-100</c:v>
                </c:pt>
                <c:pt idx="186">
                  <c:v>-100</c:v>
                </c:pt>
                <c:pt idx="187">
                  <c:v>-100</c:v>
                </c:pt>
                <c:pt idx="188">
                  <c:v>-100</c:v>
                </c:pt>
                <c:pt idx="189">
                  <c:v>-100</c:v>
                </c:pt>
                <c:pt idx="190">
                  <c:v>-100</c:v>
                </c:pt>
                <c:pt idx="191">
                  <c:v>-150</c:v>
                </c:pt>
                <c:pt idx="192">
                  <c:v>-50</c:v>
                </c:pt>
                <c:pt idx="193">
                  <c:v>-50</c:v>
                </c:pt>
                <c:pt idx="194">
                  <c:v>#N/A</c:v>
                </c:pt>
                <c:pt idx="195">
                  <c:v>#N/A</c:v>
                </c:pt>
                <c:pt idx="196">
                  <c:v>#N/A</c:v>
                </c:pt>
                <c:pt idx="197">
                  <c:v>#N/A</c:v>
                </c:pt>
                <c:pt idx="198">
                  <c:v>150</c:v>
                </c:pt>
                <c:pt idx="199">
                  <c:v>150</c:v>
                </c:pt>
                <c:pt idx="200">
                  <c:v>150</c:v>
                </c:pt>
                <c:pt idx="201">
                  <c:v>150</c:v>
                </c:pt>
                <c:pt idx="202">
                  <c:v>250</c:v>
                </c:pt>
                <c:pt idx="203">
                  <c:v>250</c:v>
                </c:pt>
                <c:pt idx="204">
                  <c:v>250</c:v>
                </c:pt>
                <c:pt idx="205">
                  <c:v>150</c:v>
                </c:pt>
                <c:pt idx="206">
                  <c:v>150</c:v>
                </c:pt>
                <c:pt idx="207">
                  <c:v>250</c:v>
                </c:pt>
                <c:pt idx="208">
                  <c:v>250</c:v>
                </c:pt>
                <c:pt idx="209">
                  <c:v>250</c:v>
                </c:pt>
                <c:pt idx="210">
                  <c:v>250</c:v>
                </c:pt>
                <c:pt idx="211">
                  <c:v>250</c:v>
                </c:pt>
                <c:pt idx="212">
                  <c:v>250</c:v>
                </c:pt>
                <c:pt idx="213">
                  <c:v>250</c:v>
                </c:pt>
                <c:pt idx="214">
                  <c:v>350</c:v>
                </c:pt>
                <c:pt idx="215">
                  <c:v>350</c:v>
                </c:pt>
                <c:pt idx="216">
                  <c:v>350</c:v>
                </c:pt>
                <c:pt idx="217">
                  <c:v>350</c:v>
                </c:pt>
                <c:pt idx="218">
                  <c:v>350</c:v>
                </c:pt>
                <c:pt idx="219">
                  <c:v>350</c:v>
                </c:pt>
                <c:pt idx="220">
                  <c:v>350</c:v>
                </c:pt>
                <c:pt idx="221">
                  <c:v>350</c:v>
                </c:pt>
                <c:pt idx="222">
                  <c:v>350</c:v>
                </c:pt>
                <c:pt idx="223">
                  <c:v>500</c:v>
                </c:pt>
                <c:pt idx="224">
                  <c:v>500</c:v>
                </c:pt>
                <c:pt idx="225">
                  <c:v>500</c:v>
                </c:pt>
                <c:pt idx="226">
                  <c:v>300</c:v>
                </c:pt>
                <c:pt idx="227">
                  <c:v>300</c:v>
                </c:pt>
                <c:pt idx="228">
                  <c:v>350</c:v>
                </c:pt>
                <c:pt idx="229">
                  <c:v>500</c:v>
                </c:pt>
                <c:pt idx="230">
                  <c:v>500</c:v>
                </c:pt>
                <c:pt idx="231">
                  <c:v>#N/A</c:v>
                </c:pt>
                <c:pt idx="232">
                  <c:v>#N/A</c:v>
                </c:pt>
                <c:pt idx="233">
                  <c:v>500</c:v>
                </c:pt>
                <c:pt idx="234">
                  <c:v>450</c:v>
                </c:pt>
                <c:pt idx="235">
                  <c:v>450</c:v>
                </c:pt>
                <c:pt idx="236">
                  <c:v>450</c:v>
                </c:pt>
                <c:pt idx="237">
                  <c:v>450</c:v>
                </c:pt>
                <c:pt idx="238">
                  <c:v>450</c:v>
                </c:pt>
                <c:pt idx="239">
                  <c:v>450</c:v>
                </c:pt>
                <c:pt idx="240">
                  <c:v>450</c:v>
                </c:pt>
                <c:pt idx="241">
                  <c:v>450</c:v>
                </c:pt>
                <c:pt idx="242">
                  <c:v>450</c:v>
                </c:pt>
                <c:pt idx="243">
                  <c:v>450</c:v>
                </c:pt>
                <c:pt idx="244">
                  <c:v>450</c:v>
                </c:pt>
                <c:pt idx="245">
                  <c:v>450</c:v>
                </c:pt>
                <c:pt idx="246">
                  <c:v>450</c:v>
                </c:pt>
                <c:pt idx="247">
                  <c:v>300</c:v>
                </c:pt>
                <c:pt idx="248">
                  <c:v>-100</c:v>
                </c:pt>
                <c:pt idx="249">
                  <c:v>-50</c:v>
                </c:pt>
                <c:pt idx="250">
                  <c:v>-50</c:v>
                </c:pt>
                <c:pt idx="251">
                  <c:v>-100</c:v>
                </c:pt>
                <c:pt idx="252">
                  <c:v>-100</c:v>
                </c:pt>
                <c:pt idx="253">
                  <c:v>-100</c:v>
                </c:pt>
                <c:pt idx="254">
                  <c:v>-100</c:v>
                </c:pt>
                <c:pt idx="255">
                  <c:v>-50</c:v>
                </c:pt>
                <c:pt idx="256">
                  <c:v>#N/A</c:v>
                </c:pt>
                <c:pt idx="257">
                  <c:v>#N/A</c:v>
                </c:pt>
                <c:pt idx="258">
                  <c:v>50</c:v>
                </c:pt>
                <c:pt idx="259">
                  <c:v>50</c:v>
                </c:pt>
                <c:pt idx="260">
                  <c:v>50</c:v>
                </c:pt>
                <c:pt idx="261">
                  <c:v>50</c:v>
                </c:pt>
                <c:pt idx="262">
                  <c:v>-50</c:v>
                </c:pt>
                <c:pt idx="263">
                  <c:v>-150</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100</c:v>
                </c:pt>
                <c:pt idx="285">
                  <c:v>-100</c:v>
                </c:pt>
                <c:pt idx="286">
                  <c:v>-100</c:v>
                </c:pt>
                <c:pt idx="287">
                  <c:v>-100</c:v>
                </c:pt>
                <c:pt idx="288">
                  <c:v>-100</c:v>
                </c:pt>
                <c:pt idx="289">
                  <c:v>-100</c:v>
                </c:pt>
                <c:pt idx="290">
                  <c:v>-150</c:v>
                </c:pt>
                <c:pt idx="291">
                  <c:v>-150</c:v>
                </c:pt>
                <c:pt idx="292">
                  <c:v>-250</c:v>
                </c:pt>
                <c:pt idx="293">
                  <c:v>-250</c:v>
                </c:pt>
                <c:pt idx="294">
                  <c:v>-250</c:v>
                </c:pt>
                <c:pt idx="295">
                  <c:v>-250</c:v>
                </c:pt>
                <c:pt idx="296">
                  <c:v>-250</c:v>
                </c:pt>
                <c:pt idx="297">
                  <c:v>-150</c:v>
                </c:pt>
                <c:pt idx="298">
                  <c:v>-50</c:v>
                </c:pt>
                <c:pt idx="299">
                  <c:v>-50</c:v>
                </c:pt>
                <c:pt idx="300">
                  <c:v>-100</c:v>
                </c:pt>
                <c:pt idx="301">
                  <c:v>-100</c:v>
                </c:pt>
                <c:pt idx="302">
                  <c:v>-100</c:v>
                </c:pt>
                <c:pt idx="303">
                  <c:v>-100</c:v>
                </c:pt>
                <c:pt idx="304">
                  <c:v>-100</c:v>
                </c:pt>
                <c:pt idx="305">
                  <c:v>-100</c:v>
                </c:pt>
                <c:pt idx="306">
                  <c:v>-100</c:v>
                </c:pt>
                <c:pt idx="307">
                  <c:v>-100</c:v>
                </c:pt>
                <c:pt idx="308">
                  <c:v>-100</c:v>
                </c:pt>
                <c:pt idx="309">
                  <c:v>-100</c:v>
                </c:pt>
                <c:pt idx="310">
                  <c:v>-100</c:v>
                </c:pt>
                <c:pt idx="311">
                  <c:v>-150</c:v>
                </c:pt>
                <c:pt idx="312">
                  <c:v>-150</c:v>
                </c:pt>
                <c:pt idx="313">
                  <c:v>-150</c:v>
                </c:pt>
                <c:pt idx="314">
                  <c:v>-150</c:v>
                </c:pt>
                <c:pt idx="315">
                  <c:v>-150</c:v>
                </c:pt>
                <c:pt idx="316">
                  <c:v>-150</c:v>
                </c:pt>
                <c:pt idx="317">
                  <c:v>-150</c:v>
                </c:pt>
                <c:pt idx="318">
                  <c:v>-100</c:v>
                </c:pt>
                <c:pt idx="319">
                  <c:v>-100</c:v>
                </c:pt>
                <c:pt idx="320">
                  <c:v>-100</c:v>
                </c:pt>
                <c:pt idx="321">
                  <c:v>-100</c:v>
                </c:pt>
                <c:pt idx="322">
                  <c:v>-100</c:v>
                </c:pt>
                <c:pt idx="323">
                  <c:v>-100</c:v>
                </c:pt>
                <c:pt idx="324">
                  <c:v>-100</c:v>
                </c:pt>
                <c:pt idx="325">
                  <c:v>-100</c:v>
                </c:pt>
                <c:pt idx="326">
                  <c:v>-100</c:v>
                </c:pt>
                <c:pt idx="327">
                  <c:v>-100</c:v>
                </c:pt>
                <c:pt idx="328">
                  <c:v>-100</c:v>
                </c:pt>
                <c:pt idx="329">
                  <c:v>-100</c:v>
                </c:pt>
                <c:pt idx="330">
                  <c:v>-100</c:v>
                </c:pt>
                <c:pt idx="331">
                  <c:v>-100</c:v>
                </c:pt>
                <c:pt idx="332">
                  <c:v>-100</c:v>
                </c:pt>
                <c:pt idx="333">
                  <c:v>-100</c:v>
                </c:pt>
                <c:pt idx="334">
                  <c:v>-100</c:v>
                </c:pt>
                <c:pt idx="335">
                  <c:v>-100</c:v>
                </c:pt>
                <c:pt idx="336">
                  <c:v>-100</c:v>
                </c:pt>
                <c:pt idx="337">
                  <c:v>-100</c:v>
                </c:pt>
                <c:pt idx="338">
                  <c:v>-100</c:v>
                </c:pt>
                <c:pt idx="339">
                  <c:v>-50</c:v>
                </c:pt>
                <c:pt idx="340">
                  <c:v>-50</c:v>
                </c:pt>
                <c:pt idx="341">
                  <c:v>-50</c:v>
                </c:pt>
                <c:pt idx="342">
                  <c:v>-50</c:v>
                </c:pt>
                <c:pt idx="343">
                  <c:v>-50</c:v>
                </c:pt>
                <c:pt idx="344">
                  <c:v>-50</c:v>
                </c:pt>
                <c:pt idx="345">
                  <c:v>-50</c:v>
                </c:pt>
                <c:pt idx="346">
                  <c:v>-50</c:v>
                </c:pt>
                <c:pt idx="347">
                  <c:v>-50</c:v>
                </c:pt>
                <c:pt idx="348">
                  <c:v>-50</c:v>
                </c:pt>
                <c:pt idx="349">
                  <c:v>-50</c:v>
                </c:pt>
                <c:pt idx="350">
                  <c:v>-50</c:v>
                </c:pt>
                <c:pt idx="351">
                  <c:v>-50</c:v>
                </c:pt>
                <c:pt idx="352">
                  <c:v>-50</c:v>
                </c:pt>
                <c:pt idx="353">
                  <c:v>-100</c:v>
                </c:pt>
                <c:pt idx="354">
                  <c:v>#N/A</c:v>
                </c:pt>
                <c:pt idx="355">
                  <c:v>#N/A</c:v>
                </c:pt>
                <c:pt idx="356">
                  <c:v>#N/A</c:v>
                </c:pt>
                <c:pt idx="357">
                  <c:v>#N/A</c:v>
                </c:pt>
                <c:pt idx="358">
                  <c:v>#N/A</c:v>
                </c:pt>
                <c:pt idx="359">
                  <c:v>#N/A</c:v>
                </c:pt>
                <c:pt idx="360">
                  <c:v>-300</c:v>
                </c:pt>
                <c:pt idx="361">
                  <c:v>-300</c:v>
                </c:pt>
                <c:pt idx="362">
                  <c:v>-300</c:v>
                </c:pt>
                <c:pt idx="363">
                  <c:v>-300</c:v>
                </c:pt>
                <c:pt idx="364">
                  <c:v>-300</c:v>
                </c:pt>
                <c:pt idx="365">
                  <c:v>-300</c:v>
                </c:pt>
              </c:numCache>
            </c:numRef>
          </c:val>
          <c:smooth val="0"/>
          <c:extLst>
            <c:ext xmlns:c16="http://schemas.microsoft.com/office/drawing/2014/chart" uri="{C3380CC4-5D6E-409C-BE32-E72D297353CC}">
              <c16:uniqueId val="{00000002-B0A2-4A93-B38B-6F119D424157}"/>
            </c:ext>
          </c:extLst>
        </c:ser>
        <c:ser>
          <c:idx val="3"/>
          <c:order val="3"/>
          <c:tx>
            <c:strRef>
              <c:f>现货价差!$AH$4</c:f>
              <c:strCache>
                <c:ptCount val="1"/>
                <c:pt idx="0">
                  <c:v>2024</c:v>
                </c:pt>
              </c:strCache>
            </c:strRef>
          </c:tx>
          <c:spPr>
            <a:ln w="28575" cap="rnd">
              <a:solidFill>
                <a:schemeClr val="tx1"/>
              </a:solidFill>
              <a:round/>
            </a:ln>
            <a:effectLst/>
          </c:spPr>
          <c:marker>
            <c:symbol val="none"/>
          </c:marker>
          <c:cat>
            <c:strRef>
              <c:f>现货价差!$AA$5:$AA$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AH$5:$AH$370</c:f>
              <c:numCache>
                <c:formatCode>General</c:formatCode>
                <c:ptCount val="366"/>
                <c:pt idx="0">
                  <c:v>-300</c:v>
                </c:pt>
                <c:pt idx="1">
                  <c:v>-300</c:v>
                </c:pt>
                <c:pt idx="2">
                  <c:v>-300</c:v>
                </c:pt>
                <c:pt idx="3">
                  <c:v>-300</c:v>
                </c:pt>
                <c:pt idx="4">
                  <c:v>-300</c:v>
                </c:pt>
                <c:pt idx="5">
                  <c:v>-300</c:v>
                </c:pt>
                <c:pt idx="6">
                  <c:v>-300</c:v>
                </c:pt>
                <c:pt idx="7">
                  <c:v>-300</c:v>
                </c:pt>
                <c:pt idx="8">
                  <c:v>-300</c:v>
                </c:pt>
                <c:pt idx="9">
                  <c:v>-300</c:v>
                </c:pt>
                <c:pt idx="10">
                  <c:v>-300</c:v>
                </c:pt>
                <c:pt idx="11">
                  <c:v>-300</c:v>
                </c:pt>
                <c:pt idx="12">
                  <c:v>-300</c:v>
                </c:pt>
                <c:pt idx="13">
                  <c:v>-300</c:v>
                </c:pt>
                <c:pt idx="14">
                  <c:v>-300</c:v>
                </c:pt>
                <c:pt idx="15">
                  <c:v>-300</c:v>
                </c:pt>
                <c:pt idx="16">
                  <c:v>-150</c:v>
                </c:pt>
                <c:pt idx="17">
                  <c:v>-100</c:v>
                </c:pt>
                <c:pt idx="18">
                  <c:v>50</c:v>
                </c:pt>
                <c:pt idx="19">
                  <c:v>50</c:v>
                </c:pt>
                <c:pt idx="20">
                  <c:v>50</c:v>
                </c:pt>
                <c:pt idx="21">
                  <c:v>50</c:v>
                </c:pt>
                <c:pt idx="22">
                  <c:v>50</c:v>
                </c:pt>
                <c:pt idx="23">
                  <c:v>50</c:v>
                </c:pt>
                <c:pt idx="24">
                  <c:v>5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100</c:v>
                </c:pt>
                <c:pt idx="52">
                  <c:v>-100</c:v>
                </c:pt>
                <c:pt idx="53">
                  <c:v>-100</c:v>
                </c:pt>
                <c:pt idx="54">
                  <c:v>-100</c:v>
                </c:pt>
                <c:pt idx="55">
                  <c:v>-100</c:v>
                </c:pt>
                <c:pt idx="56">
                  <c:v>-100</c:v>
                </c:pt>
                <c:pt idx="57">
                  <c:v>-10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50</c:v>
                </c:pt>
                <c:pt idx="74">
                  <c:v>0</c:v>
                </c:pt>
                <c:pt idx="75">
                  <c:v>0</c:v>
                </c:pt>
                <c:pt idx="76">
                  <c:v>0</c:v>
                </c:pt>
                <c:pt idx="77">
                  <c:v>50</c:v>
                </c:pt>
                <c:pt idx="78">
                  <c:v>50</c:v>
                </c:pt>
                <c:pt idx="79">
                  <c:v>100</c:v>
                </c:pt>
                <c:pt idx="80">
                  <c:v>100</c:v>
                </c:pt>
                <c:pt idx="81">
                  <c:v>100</c:v>
                </c:pt>
                <c:pt idx="82">
                  <c:v>100</c:v>
                </c:pt>
                <c:pt idx="83">
                  <c:v>100</c:v>
                </c:pt>
                <c:pt idx="84">
                  <c:v>100</c:v>
                </c:pt>
                <c:pt idx="85">
                  <c:v>100</c:v>
                </c:pt>
                <c:pt idx="86">
                  <c:v>0</c:v>
                </c:pt>
                <c:pt idx="87">
                  <c:v>50</c:v>
                </c:pt>
                <c:pt idx="88">
                  <c:v>50</c:v>
                </c:pt>
                <c:pt idx="89">
                  <c:v>50</c:v>
                </c:pt>
                <c:pt idx="90">
                  <c:v>50</c:v>
                </c:pt>
                <c:pt idx="91">
                  <c:v>50</c:v>
                </c:pt>
                <c:pt idx="92">
                  <c:v>50</c:v>
                </c:pt>
                <c:pt idx="93">
                  <c:v>50</c:v>
                </c:pt>
                <c:pt idx="94">
                  <c:v>50</c:v>
                </c:pt>
                <c:pt idx="95">
                  <c:v>50</c:v>
                </c:pt>
                <c:pt idx="96">
                  <c:v>5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50</c:v>
                </c:pt>
                <c:pt idx="113">
                  <c:v>-50</c:v>
                </c:pt>
                <c:pt idx="114">
                  <c:v>-50</c:v>
                </c:pt>
                <c:pt idx="115">
                  <c:v>-50</c:v>
                </c:pt>
                <c:pt idx="116">
                  <c:v>-50</c:v>
                </c:pt>
                <c:pt idx="117">
                  <c:v>-50</c:v>
                </c:pt>
                <c:pt idx="118">
                  <c:v>-50</c:v>
                </c:pt>
                <c:pt idx="119">
                  <c:v>-50</c:v>
                </c:pt>
                <c:pt idx="120">
                  <c:v>-50</c:v>
                </c:pt>
                <c:pt idx="121">
                  <c:v>-50</c:v>
                </c:pt>
                <c:pt idx="122">
                  <c:v>-50</c:v>
                </c:pt>
                <c:pt idx="123">
                  <c:v>-50</c:v>
                </c:pt>
                <c:pt idx="124">
                  <c:v>-50</c:v>
                </c:pt>
                <c:pt idx="125">
                  <c:v>-50</c:v>
                </c:pt>
                <c:pt idx="126">
                  <c:v>-50</c:v>
                </c:pt>
                <c:pt idx="127">
                  <c:v>-50</c:v>
                </c:pt>
                <c:pt idx="128">
                  <c:v>-50</c:v>
                </c:pt>
                <c:pt idx="129">
                  <c:v>-50</c:v>
                </c:pt>
                <c:pt idx="130">
                  <c:v>-50</c:v>
                </c:pt>
                <c:pt idx="131">
                  <c:v>-50</c:v>
                </c:pt>
                <c:pt idx="132">
                  <c:v>-50</c:v>
                </c:pt>
                <c:pt idx="133">
                  <c:v>-50</c:v>
                </c:pt>
                <c:pt idx="134">
                  <c:v>-50</c:v>
                </c:pt>
                <c:pt idx="135">
                  <c:v>-50</c:v>
                </c:pt>
                <c:pt idx="136">
                  <c:v>-50</c:v>
                </c:pt>
                <c:pt idx="137">
                  <c:v>-50</c:v>
                </c:pt>
                <c:pt idx="138">
                  <c:v>-50</c:v>
                </c:pt>
                <c:pt idx="139">
                  <c:v>-50</c:v>
                </c:pt>
                <c:pt idx="140">
                  <c:v>-5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50</c:v>
                </c:pt>
                <c:pt idx="170">
                  <c:v>-50</c:v>
                </c:pt>
                <c:pt idx="171">
                  <c:v>-50</c:v>
                </c:pt>
                <c:pt idx="172">
                  <c:v>-50</c:v>
                </c:pt>
                <c:pt idx="173">
                  <c:v>-50</c:v>
                </c:pt>
                <c:pt idx="174">
                  <c:v>-50</c:v>
                </c:pt>
                <c:pt idx="175">
                  <c:v>-50</c:v>
                </c:pt>
                <c:pt idx="176">
                  <c:v>-50</c:v>
                </c:pt>
                <c:pt idx="177">
                  <c:v>0</c:v>
                </c:pt>
                <c:pt idx="178">
                  <c:v>0</c:v>
                </c:pt>
                <c:pt idx="179">
                  <c:v>0</c:v>
                </c:pt>
                <c:pt idx="180">
                  <c:v>0</c:v>
                </c:pt>
                <c:pt idx="181">
                  <c:v>0</c:v>
                </c:pt>
                <c:pt idx="182">
                  <c:v>0</c:v>
                </c:pt>
                <c:pt idx="183">
                  <c:v>0</c:v>
                </c:pt>
                <c:pt idx="184">
                  <c:v>0</c:v>
                </c:pt>
                <c:pt idx="185">
                  <c:v>-150</c:v>
                </c:pt>
                <c:pt idx="186">
                  <c:v>-5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3-B0A2-4A93-B38B-6F119D424157}"/>
            </c:ext>
          </c:extLst>
        </c:ser>
        <c:dLbls>
          <c:showLegendKey val="0"/>
          <c:showVal val="0"/>
          <c:showCatName val="0"/>
          <c:showSerName val="0"/>
          <c:showPercent val="0"/>
          <c:showBubbleSize val="0"/>
        </c:dLbls>
        <c:smooth val="0"/>
        <c:axId val="220963920"/>
        <c:axId val="148749296"/>
      </c:lineChart>
      <c:catAx>
        <c:axId val="2209639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48749296"/>
        <c:crosses val="autoZero"/>
        <c:auto val="1"/>
        <c:lblAlgn val="ctr"/>
        <c:lblOffset val="100"/>
        <c:noMultiLvlLbl val="0"/>
      </c:catAx>
      <c:valAx>
        <c:axId val="148749296"/>
        <c:scaling>
          <c:orientation val="minMax"/>
          <c:max val="2500"/>
          <c:min val="-400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2209639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r>
              <a:rPr lang="en-US"/>
              <a:t>553</a:t>
            </a:r>
            <a:r>
              <a:rPr lang="zh-CN"/>
              <a:t>昆明</a:t>
            </a:r>
            <a:r>
              <a:rPr lang="en-US"/>
              <a:t>-</a:t>
            </a:r>
            <a:r>
              <a:rPr lang="zh-CN"/>
              <a:t>天津南北价差</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ea"/>
              <a:sym typeface="+mn-lt"/>
            </a:defRPr>
          </a:pPr>
          <a:endParaRPr lang="zh-CN"/>
        </a:p>
      </c:txPr>
    </c:title>
    <c:autoTitleDeleted val="0"/>
    <c:plotArea>
      <c:layout/>
      <c:lineChart>
        <c:grouping val="standard"/>
        <c:varyColors val="0"/>
        <c:ser>
          <c:idx val="0"/>
          <c:order val="0"/>
          <c:tx>
            <c:strRef>
              <c:f>现货价差!$U$4</c:f>
              <c:strCache>
                <c:ptCount val="1"/>
                <c:pt idx="0">
                  <c:v>2022</c:v>
                </c:pt>
              </c:strCache>
            </c:strRef>
          </c:tx>
          <c:spPr>
            <a:ln w="19050" cap="rnd">
              <a:solidFill>
                <a:schemeClr val="bg1">
                  <a:lumMod val="65000"/>
                </a:schemeClr>
              </a:solidFill>
              <a:round/>
            </a:ln>
            <a:effectLst/>
          </c:spPr>
          <c:marker>
            <c:symbol val="none"/>
          </c:marker>
          <c:cat>
            <c:strRef>
              <c:f>现货价差!$P$5:$P$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U$5:$U$370</c:f>
              <c:numCache>
                <c:formatCode>General</c:formatCode>
                <c:ptCount val="36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5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00</c:v>
                </c:pt>
                <c:pt idx="42">
                  <c:v>-100</c:v>
                </c:pt>
                <c:pt idx="43">
                  <c:v>-100</c:v>
                </c:pt>
                <c:pt idx="44">
                  <c:v>0</c:v>
                </c:pt>
                <c:pt idx="45">
                  <c:v>-50</c:v>
                </c:pt>
                <c:pt idx="46">
                  <c:v>0</c:v>
                </c:pt>
                <c:pt idx="47">
                  <c:v>50</c:v>
                </c:pt>
                <c:pt idx="48">
                  <c:v>50</c:v>
                </c:pt>
                <c:pt idx="49">
                  <c:v>50</c:v>
                </c:pt>
                <c:pt idx="50">
                  <c:v>50</c:v>
                </c:pt>
                <c:pt idx="51">
                  <c:v>-50</c:v>
                </c:pt>
                <c:pt idx="52">
                  <c:v>-50</c:v>
                </c:pt>
                <c:pt idx="53">
                  <c:v>-50</c:v>
                </c:pt>
                <c:pt idx="54">
                  <c:v>0</c:v>
                </c:pt>
                <c:pt idx="55">
                  <c:v>0</c:v>
                </c:pt>
                <c:pt idx="56">
                  <c:v>0</c:v>
                </c:pt>
                <c:pt idx="57">
                  <c:v>0</c:v>
                </c:pt>
                <c:pt idx="58">
                  <c:v>0</c:v>
                </c:pt>
                <c:pt idx="60">
                  <c:v>100</c:v>
                </c:pt>
                <c:pt idx="61">
                  <c:v>5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100</c:v>
                </c:pt>
                <c:pt idx="83">
                  <c:v>0</c:v>
                </c:pt>
                <c:pt idx="84">
                  <c:v>0</c:v>
                </c:pt>
                <c:pt idx="85">
                  <c:v>0</c:v>
                </c:pt>
                <c:pt idx="86">
                  <c:v>0</c:v>
                </c:pt>
                <c:pt idx="87">
                  <c:v>50</c:v>
                </c:pt>
                <c:pt idx="88">
                  <c:v>-150</c:v>
                </c:pt>
                <c:pt idx="89">
                  <c:v>-50</c:v>
                </c:pt>
                <c:pt idx="90">
                  <c:v>0</c:v>
                </c:pt>
                <c:pt idx="91">
                  <c:v>0</c:v>
                </c:pt>
                <c:pt idx="92">
                  <c:v>0</c:v>
                </c:pt>
                <c:pt idx="93">
                  <c:v>0</c:v>
                </c:pt>
                <c:pt idx="94">
                  <c:v>0</c:v>
                </c:pt>
                <c:pt idx="95">
                  <c:v>0</c:v>
                </c:pt>
                <c:pt idx="96">
                  <c:v>0</c:v>
                </c:pt>
                <c:pt idx="97">
                  <c:v>0</c:v>
                </c:pt>
                <c:pt idx="98">
                  <c:v>0</c:v>
                </c:pt>
                <c:pt idx="99">
                  <c:v>0</c:v>
                </c:pt>
                <c:pt idx="100">
                  <c:v>0</c:v>
                </c:pt>
                <c:pt idx="101">
                  <c:v>50</c:v>
                </c:pt>
                <c:pt idx="102">
                  <c:v>50</c:v>
                </c:pt>
                <c:pt idx="103">
                  <c:v>100</c:v>
                </c:pt>
                <c:pt idx="104">
                  <c:v>100</c:v>
                </c:pt>
                <c:pt idx="105">
                  <c:v>100</c:v>
                </c:pt>
                <c:pt idx="106">
                  <c:v>100</c:v>
                </c:pt>
                <c:pt idx="107">
                  <c:v>100</c:v>
                </c:pt>
                <c:pt idx="108">
                  <c:v>100</c:v>
                </c:pt>
                <c:pt idx="109">
                  <c:v>100</c:v>
                </c:pt>
                <c:pt idx="110">
                  <c:v>100</c:v>
                </c:pt>
                <c:pt idx="111">
                  <c:v>100</c:v>
                </c:pt>
                <c:pt idx="112">
                  <c:v>100</c:v>
                </c:pt>
                <c:pt idx="113">
                  <c:v>100</c:v>
                </c:pt>
                <c:pt idx="114">
                  <c:v>100</c:v>
                </c:pt>
                <c:pt idx="115">
                  <c:v>100</c:v>
                </c:pt>
                <c:pt idx="116">
                  <c:v>50</c:v>
                </c:pt>
                <c:pt idx="117">
                  <c:v>50</c:v>
                </c:pt>
                <c:pt idx="118">
                  <c:v>50</c:v>
                </c:pt>
                <c:pt idx="119">
                  <c:v>50</c:v>
                </c:pt>
                <c:pt idx="120">
                  <c:v>50</c:v>
                </c:pt>
                <c:pt idx="121">
                  <c:v>50</c:v>
                </c:pt>
                <c:pt idx="122">
                  <c:v>50</c:v>
                </c:pt>
                <c:pt idx="123">
                  <c:v>50</c:v>
                </c:pt>
                <c:pt idx="124">
                  <c:v>50</c:v>
                </c:pt>
                <c:pt idx="125">
                  <c:v>50</c:v>
                </c:pt>
                <c:pt idx="126">
                  <c:v>-50</c:v>
                </c:pt>
                <c:pt idx="127">
                  <c:v>-50</c:v>
                </c:pt>
                <c:pt idx="128">
                  <c:v>-50</c:v>
                </c:pt>
                <c:pt idx="129">
                  <c:v>-50</c:v>
                </c:pt>
                <c:pt idx="130">
                  <c:v>-50</c:v>
                </c:pt>
                <c:pt idx="131">
                  <c:v>-50</c:v>
                </c:pt>
                <c:pt idx="132">
                  <c:v>-50</c:v>
                </c:pt>
                <c:pt idx="133">
                  <c:v>100</c:v>
                </c:pt>
                <c:pt idx="134">
                  <c:v>100</c:v>
                </c:pt>
                <c:pt idx="135">
                  <c:v>100</c:v>
                </c:pt>
                <c:pt idx="136">
                  <c:v>100</c:v>
                </c:pt>
                <c:pt idx="137">
                  <c:v>-100</c:v>
                </c:pt>
                <c:pt idx="138">
                  <c:v>0</c:v>
                </c:pt>
                <c:pt idx="139">
                  <c:v>0</c:v>
                </c:pt>
                <c:pt idx="140">
                  <c:v>0</c:v>
                </c:pt>
                <c:pt idx="141">
                  <c:v>0</c:v>
                </c:pt>
                <c:pt idx="142">
                  <c:v>0</c:v>
                </c:pt>
                <c:pt idx="143">
                  <c:v>-250</c:v>
                </c:pt>
                <c:pt idx="144">
                  <c:v>-50</c:v>
                </c:pt>
                <c:pt idx="145">
                  <c:v>-50</c:v>
                </c:pt>
                <c:pt idx="146">
                  <c:v>-50</c:v>
                </c:pt>
                <c:pt idx="147">
                  <c:v>50</c:v>
                </c:pt>
                <c:pt idx="148">
                  <c:v>50</c:v>
                </c:pt>
                <c:pt idx="149">
                  <c:v>50</c:v>
                </c:pt>
                <c:pt idx="150">
                  <c:v>50</c:v>
                </c:pt>
                <c:pt idx="151">
                  <c:v>50</c:v>
                </c:pt>
                <c:pt idx="152">
                  <c:v>50</c:v>
                </c:pt>
                <c:pt idx="153">
                  <c:v>100</c:v>
                </c:pt>
                <c:pt idx="154">
                  <c:v>100</c:v>
                </c:pt>
                <c:pt idx="155">
                  <c:v>100</c:v>
                </c:pt>
                <c:pt idx="156">
                  <c:v>100</c:v>
                </c:pt>
                <c:pt idx="157">
                  <c:v>100</c:v>
                </c:pt>
                <c:pt idx="158">
                  <c:v>250</c:v>
                </c:pt>
                <c:pt idx="159">
                  <c:v>200</c:v>
                </c:pt>
                <c:pt idx="160">
                  <c:v>200</c:v>
                </c:pt>
                <c:pt idx="161">
                  <c:v>200</c:v>
                </c:pt>
                <c:pt idx="162">
                  <c:v>200</c:v>
                </c:pt>
                <c:pt idx="163">
                  <c:v>200</c:v>
                </c:pt>
                <c:pt idx="164">
                  <c:v>200</c:v>
                </c:pt>
                <c:pt idx="165">
                  <c:v>200</c:v>
                </c:pt>
                <c:pt idx="166">
                  <c:v>200</c:v>
                </c:pt>
                <c:pt idx="167">
                  <c:v>100</c:v>
                </c:pt>
                <c:pt idx="168">
                  <c:v>100</c:v>
                </c:pt>
                <c:pt idx="169">
                  <c:v>100</c:v>
                </c:pt>
                <c:pt idx="170">
                  <c:v>100</c:v>
                </c:pt>
                <c:pt idx="171">
                  <c:v>0</c:v>
                </c:pt>
                <c:pt idx="172">
                  <c:v>0</c:v>
                </c:pt>
                <c:pt idx="173">
                  <c:v>0</c:v>
                </c:pt>
                <c:pt idx="174">
                  <c:v>0</c:v>
                </c:pt>
                <c:pt idx="175">
                  <c:v>0</c:v>
                </c:pt>
                <c:pt idx="176">
                  <c:v>0</c:v>
                </c:pt>
                <c:pt idx="177">
                  <c:v>0</c:v>
                </c:pt>
                <c:pt idx="178">
                  <c:v>0</c:v>
                </c:pt>
                <c:pt idx="179">
                  <c:v>0</c:v>
                </c:pt>
                <c:pt idx="180">
                  <c:v>0</c:v>
                </c:pt>
                <c:pt idx="181">
                  <c:v>50</c:v>
                </c:pt>
                <c:pt idx="182">
                  <c:v>50</c:v>
                </c:pt>
                <c:pt idx="183">
                  <c:v>50</c:v>
                </c:pt>
                <c:pt idx="184">
                  <c:v>5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25</c:v>
                </c:pt>
                <c:pt idx="210">
                  <c:v>25</c:v>
                </c:pt>
                <c:pt idx="211">
                  <c:v>25</c:v>
                </c:pt>
                <c:pt idx="212">
                  <c:v>25</c:v>
                </c:pt>
                <c:pt idx="213">
                  <c:v>25</c:v>
                </c:pt>
                <c:pt idx="214">
                  <c:v>25</c:v>
                </c:pt>
                <c:pt idx="215">
                  <c:v>25</c:v>
                </c:pt>
                <c:pt idx="216">
                  <c:v>25</c:v>
                </c:pt>
                <c:pt idx="217">
                  <c:v>25</c:v>
                </c:pt>
                <c:pt idx="218">
                  <c:v>25</c:v>
                </c:pt>
                <c:pt idx="219">
                  <c:v>25</c:v>
                </c:pt>
                <c:pt idx="220">
                  <c:v>25</c:v>
                </c:pt>
                <c:pt idx="221">
                  <c:v>-50</c:v>
                </c:pt>
                <c:pt idx="222">
                  <c:v>-50</c:v>
                </c:pt>
                <c:pt idx="223">
                  <c:v>0</c:v>
                </c:pt>
                <c:pt idx="224">
                  <c:v>0</c:v>
                </c:pt>
                <c:pt idx="225">
                  <c:v>0</c:v>
                </c:pt>
                <c:pt idx="226">
                  <c:v>0</c:v>
                </c:pt>
                <c:pt idx="227">
                  <c:v>50</c:v>
                </c:pt>
                <c:pt idx="228">
                  <c:v>50</c:v>
                </c:pt>
                <c:pt idx="229">
                  <c:v>50</c:v>
                </c:pt>
                <c:pt idx="230">
                  <c:v>50</c:v>
                </c:pt>
                <c:pt idx="231">
                  <c:v>50</c:v>
                </c:pt>
                <c:pt idx="232">
                  <c:v>50</c:v>
                </c:pt>
                <c:pt idx="233">
                  <c:v>50</c:v>
                </c:pt>
                <c:pt idx="234">
                  <c:v>50</c:v>
                </c:pt>
                <c:pt idx="235">
                  <c:v>5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50</c:v>
                </c:pt>
                <c:pt idx="266">
                  <c:v>50</c:v>
                </c:pt>
                <c:pt idx="267">
                  <c:v>50</c:v>
                </c:pt>
                <c:pt idx="268">
                  <c:v>50</c:v>
                </c:pt>
                <c:pt idx="269">
                  <c:v>5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150</c:v>
                </c:pt>
                <c:pt idx="307">
                  <c:v>-150</c:v>
                </c:pt>
                <c:pt idx="308">
                  <c:v>-350</c:v>
                </c:pt>
                <c:pt idx="309">
                  <c:v>-350</c:v>
                </c:pt>
                <c:pt idx="310">
                  <c:v>-350</c:v>
                </c:pt>
                <c:pt idx="311">
                  <c:v>-350</c:v>
                </c:pt>
                <c:pt idx="312">
                  <c:v>-350</c:v>
                </c:pt>
                <c:pt idx="313">
                  <c:v>-350</c:v>
                </c:pt>
                <c:pt idx="314">
                  <c:v>-350</c:v>
                </c:pt>
                <c:pt idx="315">
                  <c:v>-350</c:v>
                </c:pt>
                <c:pt idx="316">
                  <c:v>-350</c:v>
                </c:pt>
                <c:pt idx="317">
                  <c:v>-350</c:v>
                </c:pt>
                <c:pt idx="318">
                  <c:v>-350</c:v>
                </c:pt>
                <c:pt idx="319">
                  <c:v>-400</c:v>
                </c:pt>
                <c:pt idx="320">
                  <c:v>-400</c:v>
                </c:pt>
                <c:pt idx="321">
                  <c:v>-250</c:v>
                </c:pt>
                <c:pt idx="322">
                  <c:v>-300</c:v>
                </c:pt>
                <c:pt idx="323">
                  <c:v>-300</c:v>
                </c:pt>
                <c:pt idx="324">
                  <c:v>-300</c:v>
                </c:pt>
                <c:pt idx="325">
                  <c:v>-200</c:v>
                </c:pt>
                <c:pt idx="326">
                  <c:v>-100</c:v>
                </c:pt>
                <c:pt idx="327">
                  <c:v>-100</c:v>
                </c:pt>
                <c:pt idx="328">
                  <c:v>0</c:v>
                </c:pt>
                <c:pt idx="329">
                  <c:v>0</c:v>
                </c:pt>
                <c:pt idx="330">
                  <c:v>0</c:v>
                </c:pt>
                <c:pt idx="331">
                  <c:v>0</c:v>
                </c:pt>
                <c:pt idx="332">
                  <c:v>0</c:v>
                </c:pt>
                <c:pt idx="333">
                  <c:v>0</c:v>
                </c:pt>
                <c:pt idx="334">
                  <c:v>0</c:v>
                </c:pt>
                <c:pt idx="335">
                  <c:v>0</c:v>
                </c:pt>
                <c:pt idx="336">
                  <c:v>-100</c:v>
                </c:pt>
                <c:pt idx="337">
                  <c:v>-100</c:v>
                </c:pt>
                <c:pt idx="338">
                  <c:v>-100</c:v>
                </c:pt>
                <c:pt idx="339">
                  <c:v>-100</c:v>
                </c:pt>
                <c:pt idx="340">
                  <c:v>-100</c:v>
                </c:pt>
                <c:pt idx="341">
                  <c:v>-100</c:v>
                </c:pt>
                <c:pt idx="342">
                  <c:v>-100</c:v>
                </c:pt>
                <c:pt idx="343">
                  <c:v>-100</c:v>
                </c:pt>
                <c:pt idx="344">
                  <c:v>-100</c:v>
                </c:pt>
                <c:pt idx="345">
                  <c:v>-100</c:v>
                </c:pt>
                <c:pt idx="346">
                  <c:v>-100</c:v>
                </c:pt>
                <c:pt idx="347">
                  <c:v>-100</c:v>
                </c:pt>
                <c:pt idx="348">
                  <c:v>-100</c:v>
                </c:pt>
                <c:pt idx="349">
                  <c:v>-100</c:v>
                </c:pt>
                <c:pt idx="350">
                  <c:v>-100</c:v>
                </c:pt>
                <c:pt idx="351">
                  <c:v>-100</c:v>
                </c:pt>
                <c:pt idx="352">
                  <c:v>-100</c:v>
                </c:pt>
                <c:pt idx="353">
                  <c:v>-100</c:v>
                </c:pt>
                <c:pt idx="354">
                  <c:v>-100</c:v>
                </c:pt>
                <c:pt idx="355">
                  <c:v>-50</c:v>
                </c:pt>
                <c:pt idx="356">
                  <c:v>-50</c:v>
                </c:pt>
                <c:pt idx="357">
                  <c:v>0</c:v>
                </c:pt>
                <c:pt idx="358">
                  <c:v>0</c:v>
                </c:pt>
                <c:pt idx="359">
                  <c:v>0</c:v>
                </c:pt>
                <c:pt idx="360">
                  <c:v>0</c:v>
                </c:pt>
                <c:pt idx="361">
                  <c:v>0</c:v>
                </c:pt>
                <c:pt idx="362">
                  <c:v>0</c:v>
                </c:pt>
                <c:pt idx="363">
                  <c:v>0</c:v>
                </c:pt>
                <c:pt idx="364">
                  <c:v>0</c:v>
                </c:pt>
                <c:pt idx="365">
                  <c:v>0</c:v>
                </c:pt>
              </c:numCache>
            </c:numRef>
          </c:val>
          <c:smooth val="0"/>
          <c:extLst>
            <c:ext xmlns:c16="http://schemas.microsoft.com/office/drawing/2014/chart" uri="{C3380CC4-5D6E-409C-BE32-E72D297353CC}">
              <c16:uniqueId val="{00000000-F061-4A2F-92C7-392F357AC578}"/>
            </c:ext>
          </c:extLst>
        </c:ser>
        <c:ser>
          <c:idx val="1"/>
          <c:order val="1"/>
          <c:tx>
            <c:strRef>
              <c:f>现货价差!$V$4</c:f>
              <c:strCache>
                <c:ptCount val="1"/>
                <c:pt idx="0">
                  <c:v>2023</c:v>
                </c:pt>
              </c:strCache>
            </c:strRef>
          </c:tx>
          <c:spPr>
            <a:ln w="19050" cap="rnd">
              <a:solidFill>
                <a:srgbClr val="277E85">
                  <a:alpha val="60000"/>
                </a:srgbClr>
              </a:solidFill>
              <a:round/>
            </a:ln>
            <a:effectLst/>
          </c:spPr>
          <c:marker>
            <c:symbol val="none"/>
          </c:marker>
          <c:cat>
            <c:strRef>
              <c:f>现货价差!$P$5:$P$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V$5:$V$370</c:f>
              <c:numCache>
                <c:formatCode>General</c:formatCode>
                <c:ptCount val="366"/>
                <c:pt idx="0">
                  <c:v>0</c:v>
                </c:pt>
                <c:pt idx="1">
                  <c:v>0</c:v>
                </c:pt>
                <c:pt idx="2">
                  <c:v>0</c:v>
                </c:pt>
                <c:pt idx="3">
                  <c:v>100</c:v>
                </c:pt>
                <c:pt idx="4">
                  <c:v>100</c:v>
                </c:pt>
                <c:pt idx="5">
                  <c:v>100</c:v>
                </c:pt>
                <c:pt idx="6">
                  <c:v>100</c:v>
                </c:pt>
                <c:pt idx="7">
                  <c:v>100</c:v>
                </c:pt>
                <c:pt idx="8">
                  <c:v>250</c:v>
                </c:pt>
                <c:pt idx="9">
                  <c:v>250</c:v>
                </c:pt>
                <c:pt idx="10">
                  <c:v>5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60">
                  <c:v>-100</c:v>
                </c:pt>
                <c:pt idx="61">
                  <c:v>-100</c:v>
                </c:pt>
                <c:pt idx="62">
                  <c:v>-100</c:v>
                </c:pt>
                <c:pt idx="63">
                  <c:v>-100</c:v>
                </c:pt>
                <c:pt idx="64">
                  <c:v>-100</c:v>
                </c:pt>
                <c:pt idx="65">
                  <c:v>-100</c:v>
                </c:pt>
                <c:pt idx="66">
                  <c:v>-10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100</c:v>
                </c:pt>
                <c:pt idx="161">
                  <c:v>-100</c:v>
                </c:pt>
                <c:pt idx="162">
                  <c:v>-10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50</c:v>
                </c:pt>
                <c:pt idx="203">
                  <c:v>50</c:v>
                </c:pt>
                <c:pt idx="204">
                  <c:v>50</c:v>
                </c:pt>
                <c:pt idx="205">
                  <c:v>0</c:v>
                </c:pt>
                <c:pt idx="206">
                  <c:v>0</c:v>
                </c:pt>
                <c:pt idx="207">
                  <c:v>50</c:v>
                </c:pt>
                <c:pt idx="208">
                  <c:v>50</c:v>
                </c:pt>
                <c:pt idx="209">
                  <c:v>50</c:v>
                </c:pt>
                <c:pt idx="210">
                  <c:v>50</c:v>
                </c:pt>
                <c:pt idx="211">
                  <c:v>50</c:v>
                </c:pt>
                <c:pt idx="212">
                  <c:v>50</c:v>
                </c:pt>
                <c:pt idx="213">
                  <c:v>50</c:v>
                </c:pt>
                <c:pt idx="214">
                  <c:v>50</c:v>
                </c:pt>
                <c:pt idx="215">
                  <c:v>50</c:v>
                </c:pt>
                <c:pt idx="216">
                  <c:v>50</c:v>
                </c:pt>
                <c:pt idx="217">
                  <c:v>50</c:v>
                </c:pt>
                <c:pt idx="218">
                  <c:v>50</c:v>
                </c:pt>
                <c:pt idx="219">
                  <c:v>0</c:v>
                </c:pt>
                <c:pt idx="220">
                  <c:v>0</c:v>
                </c:pt>
                <c:pt idx="221">
                  <c:v>0</c:v>
                </c:pt>
                <c:pt idx="222">
                  <c:v>0</c:v>
                </c:pt>
                <c:pt idx="223">
                  <c:v>100</c:v>
                </c:pt>
                <c:pt idx="224">
                  <c:v>100</c:v>
                </c:pt>
                <c:pt idx="225">
                  <c:v>100</c:v>
                </c:pt>
                <c:pt idx="226">
                  <c:v>100</c:v>
                </c:pt>
                <c:pt idx="227">
                  <c:v>100</c:v>
                </c:pt>
                <c:pt idx="228">
                  <c:v>100</c:v>
                </c:pt>
                <c:pt idx="229">
                  <c:v>100</c:v>
                </c:pt>
                <c:pt idx="230">
                  <c:v>-50</c:v>
                </c:pt>
                <c:pt idx="231">
                  <c:v>#N/A</c:v>
                </c:pt>
                <c:pt idx="232">
                  <c:v>#N/A</c:v>
                </c:pt>
                <c:pt idx="233">
                  <c:v>-50</c:v>
                </c:pt>
                <c:pt idx="234">
                  <c:v>-50</c:v>
                </c:pt>
                <c:pt idx="235">
                  <c:v>-5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100</c:v>
                </c:pt>
                <c:pt idx="285">
                  <c:v>-100</c:v>
                </c:pt>
                <c:pt idx="286">
                  <c:v>-100</c:v>
                </c:pt>
                <c:pt idx="287">
                  <c:v>-100</c:v>
                </c:pt>
                <c:pt idx="288">
                  <c:v>-100</c:v>
                </c:pt>
                <c:pt idx="289">
                  <c:v>-100</c:v>
                </c:pt>
                <c:pt idx="290">
                  <c:v>0</c:v>
                </c:pt>
                <c:pt idx="291">
                  <c:v>-100</c:v>
                </c:pt>
                <c:pt idx="292">
                  <c:v>-150</c:v>
                </c:pt>
                <c:pt idx="293">
                  <c:v>-150</c:v>
                </c:pt>
                <c:pt idx="294">
                  <c:v>-150</c:v>
                </c:pt>
                <c:pt idx="295">
                  <c:v>-150</c:v>
                </c:pt>
                <c:pt idx="296">
                  <c:v>-150</c:v>
                </c:pt>
                <c:pt idx="297">
                  <c:v>-150</c:v>
                </c:pt>
                <c:pt idx="298">
                  <c:v>-100</c:v>
                </c:pt>
                <c:pt idx="299">
                  <c:v>-100</c:v>
                </c:pt>
                <c:pt idx="300">
                  <c:v>-100</c:v>
                </c:pt>
                <c:pt idx="301">
                  <c:v>-100</c:v>
                </c:pt>
                <c:pt idx="302">
                  <c:v>-100</c:v>
                </c:pt>
                <c:pt idx="303">
                  <c:v>-150</c:v>
                </c:pt>
                <c:pt idx="304">
                  <c:v>-150</c:v>
                </c:pt>
                <c:pt idx="305">
                  <c:v>-150</c:v>
                </c:pt>
                <c:pt idx="306">
                  <c:v>-50</c:v>
                </c:pt>
                <c:pt idx="307">
                  <c:v>0</c:v>
                </c:pt>
                <c:pt idx="308">
                  <c:v>0</c:v>
                </c:pt>
                <c:pt idx="309">
                  <c:v>0</c:v>
                </c:pt>
                <c:pt idx="310">
                  <c:v>0</c:v>
                </c:pt>
                <c:pt idx="311">
                  <c:v>-200</c:v>
                </c:pt>
                <c:pt idx="312">
                  <c:v>-200</c:v>
                </c:pt>
                <c:pt idx="313">
                  <c:v>-200</c:v>
                </c:pt>
                <c:pt idx="314">
                  <c:v>-200</c:v>
                </c:pt>
                <c:pt idx="315">
                  <c:v>-200</c:v>
                </c:pt>
                <c:pt idx="316">
                  <c:v>-200</c:v>
                </c:pt>
                <c:pt idx="317">
                  <c:v>-200</c:v>
                </c:pt>
                <c:pt idx="318">
                  <c:v>-150</c:v>
                </c:pt>
                <c:pt idx="319">
                  <c:v>-150</c:v>
                </c:pt>
                <c:pt idx="320">
                  <c:v>-150</c:v>
                </c:pt>
                <c:pt idx="321">
                  <c:v>-150</c:v>
                </c:pt>
                <c:pt idx="322">
                  <c:v>-150</c:v>
                </c:pt>
                <c:pt idx="323">
                  <c:v>-150</c:v>
                </c:pt>
                <c:pt idx="324">
                  <c:v>-150</c:v>
                </c:pt>
                <c:pt idx="325">
                  <c:v>-150</c:v>
                </c:pt>
                <c:pt idx="326">
                  <c:v>-150</c:v>
                </c:pt>
                <c:pt idx="327">
                  <c:v>-150</c:v>
                </c:pt>
                <c:pt idx="328">
                  <c:v>-150</c:v>
                </c:pt>
                <c:pt idx="329">
                  <c:v>-150</c:v>
                </c:pt>
                <c:pt idx="330">
                  <c:v>-150</c:v>
                </c:pt>
                <c:pt idx="331">
                  <c:v>-150</c:v>
                </c:pt>
                <c:pt idx="332">
                  <c:v>-150</c:v>
                </c:pt>
                <c:pt idx="333">
                  <c:v>-150</c:v>
                </c:pt>
                <c:pt idx="334">
                  <c:v>-150</c:v>
                </c:pt>
                <c:pt idx="335">
                  <c:v>-150</c:v>
                </c:pt>
                <c:pt idx="336">
                  <c:v>-150</c:v>
                </c:pt>
                <c:pt idx="337">
                  <c:v>-150</c:v>
                </c:pt>
                <c:pt idx="338">
                  <c:v>-150</c:v>
                </c:pt>
                <c:pt idx="339">
                  <c:v>-150</c:v>
                </c:pt>
                <c:pt idx="340">
                  <c:v>-150</c:v>
                </c:pt>
                <c:pt idx="341">
                  <c:v>-150</c:v>
                </c:pt>
                <c:pt idx="342">
                  <c:v>-150</c:v>
                </c:pt>
                <c:pt idx="343">
                  <c:v>-150</c:v>
                </c:pt>
                <c:pt idx="344">
                  <c:v>-150</c:v>
                </c:pt>
                <c:pt idx="345">
                  <c:v>-150</c:v>
                </c:pt>
                <c:pt idx="346">
                  <c:v>-150</c:v>
                </c:pt>
                <c:pt idx="347">
                  <c:v>-150</c:v>
                </c:pt>
                <c:pt idx="348">
                  <c:v>0</c:v>
                </c:pt>
                <c:pt idx="349">
                  <c:v>0</c:v>
                </c:pt>
                <c:pt idx="350">
                  <c:v>0</c:v>
                </c:pt>
                <c:pt idx="351">
                  <c:v>0</c:v>
                </c:pt>
                <c:pt idx="352">
                  <c:v>0</c:v>
                </c:pt>
                <c:pt idx="353">
                  <c:v>0</c:v>
                </c:pt>
                <c:pt idx="354">
                  <c:v>200</c:v>
                </c:pt>
                <c:pt idx="355">
                  <c:v>350</c:v>
                </c:pt>
                <c:pt idx="356">
                  <c:v>350</c:v>
                </c:pt>
                <c:pt idx="357">
                  <c:v>350</c:v>
                </c:pt>
                <c:pt idx="358">
                  <c:v>350</c:v>
                </c:pt>
                <c:pt idx="359">
                  <c:v>350</c:v>
                </c:pt>
                <c:pt idx="360">
                  <c:v>150</c:v>
                </c:pt>
                <c:pt idx="361">
                  <c:v>50</c:v>
                </c:pt>
                <c:pt idx="362">
                  <c:v>50</c:v>
                </c:pt>
                <c:pt idx="363">
                  <c:v>50</c:v>
                </c:pt>
                <c:pt idx="364">
                  <c:v>50</c:v>
                </c:pt>
                <c:pt idx="365">
                  <c:v>50</c:v>
                </c:pt>
              </c:numCache>
            </c:numRef>
          </c:val>
          <c:smooth val="0"/>
          <c:extLst>
            <c:ext xmlns:c16="http://schemas.microsoft.com/office/drawing/2014/chart" uri="{C3380CC4-5D6E-409C-BE32-E72D297353CC}">
              <c16:uniqueId val="{00000001-F061-4A2F-92C7-392F357AC578}"/>
            </c:ext>
          </c:extLst>
        </c:ser>
        <c:ser>
          <c:idx val="2"/>
          <c:order val="2"/>
          <c:tx>
            <c:strRef>
              <c:f>现货价差!$W$4</c:f>
              <c:strCache>
                <c:ptCount val="1"/>
                <c:pt idx="0">
                  <c:v>2024</c:v>
                </c:pt>
              </c:strCache>
            </c:strRef>
          </c:tx>
          <c:spPr>
            <a:ln w="28575" cap="rnd">
              <a:solidFill>
                <a:schemeClr val="tx1"/>
              </a:solidFill>
              <a:round/>
            </a:ln>
            <a:effectLst/>
          </c:spPr>
          <c:marker>
            <c:symbol val="none"/>
          </c:marker>
          <c:cat>
            <c:strRef>
              <c:f>现货价差!$P$5:$P$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现货价差!$W$5:$W$370</c:f>
              <c:numCache>
                <c:formatCode>General</c:formatCode>
                <c:ptCount val="366"/>
                <c:pt idx="0">
                  <c:v>50</c:v>
                </c:pt>
                <c:pt idx="1">
                  <c:v>50</c:v>
                </c:pt>
                <c:pt idx="2">
                  <c:v>-50</c:v>
                </c:pt>
                <c:pt idx="3">
                  <c:v>-50</c:v>
                </c:pt>
                <c:pt idx="4">
                  <c:v>-50</c:v>
                </c:pt>
                <c:pt idx="5">
                  <c:v>-50</c:v>
                </c:pt>
                <c:pt idx="6">
                  <c:v>-50</c:v>
                </c:pt>
                <c:pt idx="7">
                  <c:v>-50</c:v>
                </c:pt>
                <c:pt idx="8">
                  <c:v>-50</c:v>
                </c:pt>
                <c:pt idx="9">
                  <c:v>-50</c:v>
                </c:pt>
                <c:pt idx="10">
                  <c:v>-50</c:v>
                </c:pt>
                <c:pt idx="11">
                  <c:v>-50</c:v>
                </c:pt>
                <c:pt idx="12">
                  <c:v>-50</c:v>
                </c:pt>
                <c:pt idx="13">
                  <c:v>-50</c:v>
                </c:pt>
                <c:pt idx="14">
                  <c:v>-50</c:v>
                </c:pt>
                <c:pt idx="15">
                  <c:v>-100</c:v>
                </c:pt>
                <c:pt idx="16">
                  <c:v>-100</c:v>
                </c:pt>
                <c:pt idx="17">
                  <c:v>-100</c:v>
                </c:pt>
                <c:pt idx="18">
                  <c:v>-100</c:v>
                </c:pt>
                <c:pt idx="19">
                  <c:v>-100</c:v>
                </c:pt>
                <c:pt idx="20">
                  <c:v>-100</c:v>
                </c:pt>
                <c:pt idx="21">
                  <c:v>-100</c:v>
                </c:pt>
                <c:pt idx="22">
                  <c:v>-100</c:v>
                </c:pt>
                <c:pt idx="23">
                  <c:v>-100</c:v>
                </c:pt>
                <c:pt idx="24">
                  <c:v>-100</c:v>
                </c:pt>
                <c:pt idx="25">
                  <c:v>-100</c:v>
                </c:pt>
                <c:pt idx="26">
                  <c:v>-100</c:v>
                </c:pt>
                <c:pt idx="27">
                  <c:v>-100</c:v>
                </c:pt>
                <c:pt idx="28">
                  <c:v>-50</c:v>
                </c:pt>
                <c:pt idx="29">
                  <c:v>-50</c:v>
                </c:pt>
                <c:pt idx="30">
                  <c:v>-50</c:v>
                </c:pt>
                <c:pt idx="31">
                  <c:v>-50</c:v>
                </c:pt>
                <c:pt idx="32">
                  <c:v>-50</c:v>
                </c:pt>
                <c:pt idx="33">
                  <c:v>-50</c:v>
                </c:pt>
                <c:pt idx="34">
                  <c:v>-50</c:v>
                </c:pt>
                <c:pt idx="35">
                  <c:v>-50</c:v>
                </c:pt>
                <c:pt idx="36">
                  <c:v>-50</c:v>
                </c:pt>
                <c:pt idx="37">
                  <c:v>-50</c:v>
                </c:pt>
                <c:pt idx="38">
                  <c:v>-50</c:v>
                </c:pt>
                <c:pt idx="39">
                  <c:v>-50</c:v>
                </c:pt>
                <c:pt idx="40">
                  <c:v>-50</c:v>
                </c:pt>
                <c:pt idx="41">
                  <c:v>-50</c:v>
                </c:pt>
                <c:pt idx="42">
                  <c:v>-50</c:v>
                </c:pt>
                <c:pt idx="43">
                  <c:v>-50</c:v>
                </c:pt>
                <c:pt idx="44">
                  <c:v>-50</c:v>
                </c:pt>
                <c:pt idx="45">
                  <c:v>-50</c:v>
                </c:pt>
                <c:pt idx="46">
                  <c:v>-50</c:v>
                </c:pt>
                <c:pt idx="47">
                  <c:v>-50</c:v>
                </c:pt>
                <c:pt idx="48">
                  <c:v>-50</c:v>
                </c:pt>
                <c:pt idx="49">
                  <c:v>-50</c:v>
                </c:pt>
                <c:pt idx="50">
                  <c:v>-5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50</c:v>
                </c:pt>
                <c:pt idx="72">
                  <c:v>-50</c:v>
                </c:pt>
                <c:pt idx="73">
                  <c:v>-50</c:v>
                </c:pt>
                <c:pt idx="74">
                  <c:v>0</c:v>
                </c:pt>
                <c:pt idx="75">
                  <c:v>0</c:v>
                </c:pt>
                <c:pt idx="76">
                  <c:v>0</c:v>
                </c:pt>
                <c:pt idx="77">
                  <c:v>0</c:v>
                </c:pt>
                <c:pt idx="78">
                  <c:v>-5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50</c:v>
                </c:pt>
                <c:pt idx="149">
                  <c:v>50</c:v>
                </c:pt>
                <c:pt idx="150">
                  <c:v>50</c:v>
                </c:pt>
                <c:pt idx="151">
                  <c:v>50</c:v>
                </c:pt>
                <c:pt idx="152">
                  <c:v>50</c:v>
                </c:pt>
                <c:pt idx="153">
                  <c:v>50</c:v>
                </c:pt>
                <c:pt idx="154">
                  <c:v>50</c:v>
                </c:pt>
                <c:pt idx="155">
                  <c:v>50</c:v>
                </c:pt>
                <c:pt idx="156">
                  <c:v>50</c:v>
                </c:pt>
                <c:pt idx="157">
                  <c:v>50</c:v>
                </c:pt>
                <c:pt idx="158">
                  <c:v>50</c:v>
                </c:pt>
                <c:pt idx="159">
                  <c:v>50</c:v>
                </c:pt>
                <c:pt idx="160">
                  <c:v>50</c:v>
                </c:pt>
                <c:pt idx="161">
                  <c:v>50</c:v>
                </c:pt>
                <c:pt idx="162">
                  <c:v>50</c:v>
                </c:pt>
                <c:pt idx="163">
                  <c:v>50</c:v>
                </c:pt>
                <c:pt idx="164">
                  <c:v>50</c:v>
                </c:pt>
                <c:pt idx="165">
                  <c:v>50</c:v>
                </c:pt>
                <c:pt idx="166">
                  <c:v>50</c:v>
                </c:pt>
                <c:pt idx="167">
                  <c:v>50</c:v>
                </c:pt>
                <c:pt idx="168">
                  <c:v>0</c:v>
                </c:pt>
                <c:pt idx="169">
                  <c:v>0</c:v>
                </c:pt>
                <c:pt idx="170">
                  <c:v>0</c:v>
                </c:pt>
                <c:pt idx="171">
                  <c:v>0</c:v>
                </c:pt>
                <c:pt idx="172">
                  <c:v>0</c:v>
                </c:pt>
                <c:pt idx="173">
                  <c:v>0</c:v>
                </c:pt>
                <c:pt idx="174">
                  <c:v>0</c:v>
                </c:pt>
                <c:pt idx="175">
                  <c:v>0</c:v>
                </c:pt>
                <c:pt idx="176">
                  <c:v>-100</c:v>
                </c:pt>
                <c:pt idx="177">
                  <c:v>-100</c:v>
                </c:pt>
                <c:pt idx="178">
                  <c:v>-100</c:v>
                </c:pt>
                <c:pt idx="179">
                  <c:v>-100</c:v>
                </c:pt>
                <c:pt idx="180">
                  <c:v>-100</c:v>
                </c:pt>
                <c:pt idx="181">
                  <c:v>-100</c:v>
                </c:pt>
                <c:pt idx="182">
                  <c:v>-100</c:v>
                </c:pt>
                <c:pt idx="183">
                  <c:v>-100</c:v>
                </c:pt>
                <c:pt idx="184">
                  <c:v>0</c:v>
                </c:pt>
                <c:pt idx="185">
                  <c:v>0</c:v>
                </c:pt>
                <c:pt idx="186">
                  <c:v>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2-F061-4A2F-92C7-392F357AC578}"/>
            </c:ext>
          </c:extLst>
        </c:ser>
        <c:dLbls>
          <c:showLegendKey val="0"/>
          <c:showVal val="0"/>
          <c:showCatName val="0"/>
          <c:showSerName val="0"/>
          <c:showPercent val="0"/>
          <c:showBubbleSize val="0"/>
        </c:dLbls>
        <c:smooth val="0"/>
        <c:axId val="1528289791"/>
        <c:axId val="2059769487"/>
      </c:lineChart>
      <c:catAx>
        <c:axId val="152828979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2059769487"/>
        <c:crosses val="autoZero"/>
        <c:auto val="1"/>
        <c:lblAlgn val="ctr"/>
        <c:lblOffset val="100"/>
        <c:noMultiLvlLbl val="0"/>
      </c:catAx>
      <c:valAx>
        <c:axId val="2059769487"/>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crossAx val="15282897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lt"/>
          <a:ea typeface="+mn-ea"/>
          <a:cs typeface="+mn-ea"/>
          <a:sym typeface="+mn-lt"/>
        </a:defRPr>
      </a:pPr>
      <a:endParaRPr lang="zh-C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主力合约SMM基差!$BR$3</c:f>
          <c:strCache>
            <c:ptCount val="1"/>
            <c:pt idx="0">
              <c:v>07基差</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mn-lt"/>
              <a:ea typeface="+mn-ea"/>
              <a:cs typeface="+mn-cs"/>
            </a:defRPr>
          </a:pPr>
          <a:endParaRPr lang="zh-CN"/>
        </a:p>
      </c:txPr>
    </c:title>
    <c:autoTitleDeleted val="0"/>
    <c:plotArea>
      <c:layout/>
      <c:lineChart>
        <c:grouping val="standard"/>
        <c:varyColors val="0"/>
        <c:ser>
          <c:idx val="0"/>
          <c:order val="0"/>
          <c:tx>
            <c:strRef>
              <c:f>主力合约SMM基差!$BS$4</c:f>
              <c:strCache>
                <c:ptCount val="1"/>
                <c:pt idx="0">
                  <c:v>2022</c:v>
                </c:pt>
              </c:strCache>
            </c:strRef>
          </c:tx>
          <c:spPr>
            <a:ln w="28575" cap="rnd">
              <a:solidFill>
                <a:schemeClr val="accent1"/>
              </a:solidFill>
              <a:round/>
            </a:ln>
            <a:effectLst/>
          </c:spPr>
          <c:marker>
            <c:symbol val="none"/>
          </c:marker>
          <c:cat>
            <c:strRef>
              <c:f>主力合约SMM基差!$BR$5:$BR$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BS$5:$BS$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0-4D9D-4367-B133-70A23B45F5D1}"/>
            </c:ext>
          </c:extLst>
        </c:ser>
        <c:ser>
          <c:idx val="1"/>
          <c:order val="1"/>
          <c:tx>
            <c:strRef>
              <c:f>主力合约SMM基差!$BT$4</c:f>
              <c:strCache>
                <c:ptCount val="1"/>
                <c:pt idx="0">
                  <c:v>2023</c:v>
                </c:pt>
              </c:strCache>
            </c:strRef>
          </c:tx>
          <c:spPr>
            <a:ln w="19050" cap="rnd">
              <a:solidFill>
                <a:schemeClr val="accent4">
                  <a:lumMod val="60000"/>
                  <a:lumOff val="40000"/>
                </a:schemeClr>
              </a:solidFill>
              <a:round/>
            </a:ln>
            <a:effectLst/>
          </c:spPr>
          <c:marker>
            <c:symbol val="none"/>
          </c:marker>
          <c:cat>
            <c:strRef>
              <c:f>主力合约SMM基差!$BR$5:$BR$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BT$5:$BT$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410</c:v>
                </c:pt>
                <c:pt idx="320">
                  <c:v>310</c:v>
                </c:pt>
                <c:pt idx="321">
                  <c:v>160</c:v>
                </c:pt>
                <c:pt idx="322">
                  <c:v>#N/A</c:v>
                </c:pt>
                <c:pt idx="323">
                  <c:v>#N/A</c:v>
                </c:pt>
                <c:pt idx="324">
                  <c:v>125</c:v>
                </c:pt>
                <c:pt idx="325">
                  <c:v>125</c:v>
                </c:pt>
                <c:pt idx="326">
                  <c:v>145</c:v>
                </c:pt>
                <c:pt idx="327">
                  <c:v>145</c:v>
                </c:pt>
                <c:pt idx="328">
                  <c:v>145</c:v>
                </c:pt>
                <c:pt idx="329">
                  <c:v>#N/A</c:v>
                </c:pt>
                <c:pt idx="330">
                  <c:v>#N/A</c:v>
                </c:pt>
                <c:pt idx="331">
                  <c:v>290</c:v>
                </c:pt>
                <c:pt idx="332">
                  <c:v>300</c:v>
                </c:pt>
                <c:pt idx="333">
                  <c:v>455</c:v>
                </c:pt>
                <c:pt idx="334">
                  <c:v>575</c:v>
                </c:pt>
                <c:pt idx="335">
                  <c:v>535</c:v>
                </c:pt>
                <c:pt idx="336">
                  <c:v>#N/A</c:v>
                </c:pt>
                <c:pt idx="337">
                  <c:v>#N/A</c:v>
                </c:pt>
                <c:pt idx="338">
                  <c:v>510</c:v>
                </c:pt>
                <c:pt idx="339">
                  <c:v>850</c:v>
                </c:pt>
                <c:pt idx="340">
                  <c:v>830</c:v>
                </c:pt>
                <c:pt idx="341">
                  <c:v>790</c:v>
                </c:pt>
                <c:pt idx="342">
                  <c:v>685</c:v>
                </c:pt>
                <c:pt idx="343">
                  <c:v>#N/A</c:v>
                </c:pt>
                <c:pt idx="344">
                  <c:v>#N/A</c:v>
                </c:pt>
                <c:pt idx="345">
                  <c:v>780</c:v>
                </c:pt>
                <c:pt idx="346">
                  <c:v>780</c:v>
                </c:pt>
                <c:pt idx="347">
                  <c:v>935</c:v>
                </c:pt>
                <c:pt idx="348">
                  <c:v>930</c:v>
                </c:pt>
                <c:pt idx="349">
                  <c:v>865</c:v>
                </c:pt>
                <c:pt idx="350">
                  <c:v>#N/A</c:v>
                </c:pt>
                <c:pt idx="351">
                  <c:v>#N/A</c:v>
                </c:pt>
                <c:pt idx="352">
                  <c:v>1005</c:v>
                </c:pt>
                <c:pt idx="353">
                  <c:v>850</c:v>
                </c:pt>
                <c:pt idx="354">
                  <c:v>855</c:v>
                </c:pt>
                <c:pt idx="355">
                  <c:v>1000</c:v>
                </c:pt>
                <c:pt idx="356">
                  <c:v>1065</c:v>
                </c:pt>
                <c:pt idx="357">
                  <c:v>#N/A</c:v>
                </c:pt>
                <c:pt idx="358">
                  <c:v>#N/A</c:v>
                </c:pt>
                <c:pt idx="359">
                  <c:v>1110</c:v>
                </c:pt>
                <c:pt idx="360">
                  <c:v>1110</c:v>
                </c:pt>
                <c:pt idx="361">
                  <c:v>1185</c:v>
                </c:pt>
                <c:pt idx="362">
                  <c:v>1195</c:v>
                </c:pt>
                <c:pt idx="363">
                  <c:v>1205</c:v>
                </c:pt>
                <c:pt idx="364">
                  <c:v>#N/A</c:v>
                </c:pt>
                <c:pt idx="365">
                  <c:v>#N/A</c:v>
                </c:pt>
              </c:numCache>
            </c:numRef>
          </c:val>
          <c:smooth val="0"/>
          <c:extLst>
            <c:ext xmlns:c16="http://schemas.microsoft.com/office/drawing/2014/chart" uri="{C3380CC4-5D6E-409C-BE32-E72D297353CC}">
              <c16:uniqueId val="{00000001-4D9D-4367-B133-70A23B45F5D1}"/>
            </c:ext>
          </c:extLst>
        </c:ser>
        <c:ser>
          <c:idx val="2"/>
          <c:order val="2"/>
          <c:tx>
            <c:strRef>
              <c:f>主力合约SMM基差!$BU$4</c:f>
              <c:strCache>
                <c:ptCount val="1"/>
                <c:pt idx="0">
                  <c:v>2024</c:v>
                </c:pt>
              </c:strCache>
            </c:strRef>
          </c:tx>
          <c:spPr>
            <a:ln w="28575" cap="rnd">
              <a:solidFill>
                <a:schemeClr val="tx1"/>
              </a:solidFill>
              <a:round/>
            </a:ln>
            <a:effectLst/>
          </c:spPr>
          <c:marker>
            <c:symbol val="none"/>
          </c:marker>
          <c:cat>
            <c:strRef>
              <c:f>主力合约SMM基差!$BR$5:$BR$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BU$5:$BU$370</c:f>
              <c:numCache>
                <c:formatCode>#,##0.00_);[Red]\(#,##0.00\)</c:formatCode>
                <c:ptCount val="366"/>
                <c:pt idx="0">
                  <c:v>#N/A</c:v>
                </c:pt>
                <c:pt idx="1">
                  <c:v>1145</c:v>
                </c:pt>
                <c:pt idx="2">
                  <c:v>1145</c:v>
                </c:pt>
                <c:pt idx="3">
                  <c:v>1170</c:v>
                </c:pt>
                <c:pt idx="4">
                  <c:v>1360</c:v>
                </c:pt>
                <c:pt idx="5">
                  <c:v>#N/A</c:v>
                </c:pt>
                <c:pt idx="6">
                  <c:v>#N/A</c:v>
                </c:pt>
                <c:pt idx="7">
                  <c:v>1455</c:v>
                </c:pt>
                <c:pt idx="8">
                  <c:v>1485</c:v>
                </c:pt>
                <c:pt idx="9">
                  <c:v>1415</c:v>
                </c:pt>
                <c:pt idx="10">
                  <c:v>1320</c:v>
                </c:pt>
                <c:pt idx="11">
                  <c:v>1540</c:v>
                </c:pt>
                <c:pt idx="12">
                  <c:v>#N/A</c:v>
                </c:pt>
                <c:pt idx="13">
                  <c:v>#N/A</c:v>
                </c:pt>
                <c:pt idx="14">
                  <c:v>1425</c:v>
                </c:pt>
                <c:pt idx="15">
                  <c:v>1450</c:v>
                </c:pt>
                <c:pt idx="16">
                  <c:v>1615</c:v>
                </c:pt>
                <c:pt idx="17">
                  <c:v>1640</c:v>
                </c:pt>
                <c:pt idx="18">
                  <c:v>1505</c:v>
                </c:pt>
                <c:pt idx="19">
                  <c:v>#N/A</c:v>
                </c:pt>
                <c:pt idx="20">
                  <c:v>#N/A</c:v>
                </c:pt>
                <c:pt idx="21">
                  <c:v>1500</c:v>
                </c:pt>
                <c:pt idx="22">
                  <c:v>1530</c:v>
                </c:pt>
                <c:pt idx="23">
                  <c:v>1530</c:v>
                </c:pt>
                <c:pt idx="24">
                  <c:v>1415</c:v>
                </c:pt>
                <c:pt idx="25">
                  <c:v>1435</c:v>
                </c:pt>
                <c:pt idx="26">
                  <c:v>#N/A</c:v>
                </c:pt>
                <c:pt idx="27">
                  <c:v>#N/A</c:v>
                </c:pt>
                <c:pt idx="28">
                  <c:v>1515</c:v>
                </c:pt>
                <c:pt idx="29">
                  <c:v>1400</c:v>
                </c:pt>
                <c:pt idx="30">
                  <c:v>1510</c:v>
                </c:pt>
                <c:pt idx="31">
                  <c:v>1590</c:v>
                </c:pt>
                <c:pt idx="32">
                  <c:v>1540</c:v>
                </c:pt>
                <c:pt idx="33">
                  <c:v>#N/A</c:v>
                </c:pt>
                <c:pt idx="34">
                  <c:v>#N/A</c:v>
                </c:pt>
                <c:pt idx="35">
                  <c:v>1525</c:v>
                </c:pt>
                <c:pt idx="36">
                  <c:v>1595</c:v>
                </c:pt>
                <c:pt idx="37">
                  <c:v>1395</c:v>
                </c:pt>
                <c:pt idx="38">
                  <c:v>1330</c:v>
                </c:pt>
                <c:pt idx="39">
                  <c:v>#N/A</c:v>
                </c:pt>
                <c:pt idx="40">
                  <c:v>#N/A</c:v>
                </c:pt>
                <c:pt idx="41">
                  <c:v>#N/A</c:v>
                </c:pt>
                <c:pt idx="42">
                  <c:v>#N/A</c:v>
                </c:pt>
                <c:pt idx="43">
                  <c:v>#N/A</c:v>
                </c:pt>
                <c:pt idx="44">
                  <c:v>#N/A</c:v>
                </c:pt>
                <c:pt idx="45">
                  <c:v>#N/A</c:v>
                </c:pt>
                <c:pt idx="46">
                  <c:v>#N/A</c:v>
                </c:pt>
                <c:pt idx="47">
                  <c:v>#N/A</c:v>
                </c:pt>
                <c:pt idx="48">
                  <c:v>#N/A</c:v>
                </c:pt>
                <c:pt idx="49">
                  <c:v>1565</c:v>
                </c:pt>
                <c:pt idx="50">
                  <c:v>1470</c:v>
                </c:pt>
                <c:pt idx="51">
                  <c:v>1440</c:v>
                </c:pt>
                <c:pt idx="52">
                  <c:v>1425</c:v>
                </c:pt>
                <c:pt idx="53">
                  <c:v>1350</c:v>
                </c:pt>
                <c:pt idx="54">
                  <c:v>#N/A</c:v>
                </c:pt>
                <c:pt idx="55">
                  <c:v>#N/A</c:v>
                </c:pt>
                <c:pt idx="56">
                  <c:v>1450</c:v>
                </c:pt>
                <c:pt idx="57">
                  <c:v>1425</c:v>
                </c:pt>
                <c:pt idx="58">
                  <c:v>1330</c:v>
                </c:pt>
                <c:pt idx="59">
                  <c:v>1395</c:v>
                </c:pt>
                <c:pt idx="60">
                  <c:v>1175</c:v>
                </c:pt>
                <c:pt idx="61">
                  <c:v>#N/A</c:v>
                </c:pt>
                <c:pt idx="62">
                  <c:v>#N/A</c:v>
                </c:pt>
                <c:pt idx="63">
                  <c:v>1170</c:v>
                </c:pt>
                <c:pt idx="64">
                  <c:v>1265</c:v>
                </c:pt>
                <c:pt idx="65">
                  <c:v>1335</c:v>
                </c:pt>
                <c:pt idx="66">
                  <c:v>1335</c:v>
                </c:pt>
                <c:pt idx="67">
                  <c:v>1330</c:v>
                </c:pt>
                <c:pt idx="68">
                  <c:v>#N/A</c:v>
                </c:pt>
                <c:pt idx="69">
                  <c:v>#N/A</c:v>
                </c:pt>
                <c:pt idx="70">
                  <c:v>1370</c:v>
                </c:pt>
                <c:pt idx="71">
                  <c:v>1255</c:v>
                </c:pt>
                <c:pt idx="72">
                  <c:v>1250</c:v>
                </c:pt>
                <c:pt idx="73">
                  <c:v>1185</c:v>
                </c:pt>
                <c:pt idx="74">
                  <c:v>1535</c:v>
                </c:pt>
                <c:pt idx="75">
                  <c:v>#N/A</c:v>
                </c:pt>
                <c:pt idx="76">
                  <c:v>#N/A</c:v>
                </c:pt>
                <c:pt idx="77">
                  <c:v>1550</c:v>
                </c:pt>
                <c:pt idx="78">
                  <c:v>1435</c:v>
                </c:pt>
                <c:pt idx="79">
                  <c:v>1380</c:v>
                </c:pt>
                <c:pt idx="80">
                  <c:v>1335</c:v>
                </c:pt>
                <c:pt idx="81">
                  <c:v>1400</c:v>
                </c:pt>
                <c:pt idx="82">
                  <c:v>#N/A</c:v>
                </c:pt>
                <c:pt idx="83">
                  <c:v>#N/A</c:v>
                </c:pt>
                <c:pt idx="84">
                  <c:v>1390</c:v>
                </c:pt>
                <c:pt idx="85">
                  <c:v>1450</c:v>
                </c:pt>
                <c:pt idx="86">
                  <c:v>1450</c:v>
                </c:pt>
                <c:pt idx="87">
                  <c:v>1475</c:v>
                </c:pt>
                <c:pt idx="88">
                  <c:v>1525</c:v>
                </c:pt>
                <c:pt idx="89">
                  <c:v>#N/A</c:v>
                </c:pt>
                <c:pt idx="90">
                  <c:v>#N/A</c:v>
                </c:pt>
                <c:pt idx="91">
                  <c:v>1625</c:v>
                </c:pt>
                <c:pt idx="92">
                  <c:v>1400</c:v>
                </c:pt>
                <c:pt idx="93">
                  <c:v>1320</c:v>
                </c:pt>
                <c:pt idx="94">
                  <c:v>#N/A</c:v>
                </c:pt>
                <c:pt idx="95">
                  <c:v>#N/A</c:v>
                </c:pt>
                <c:pt idx="96">
                  <c:v>#N/A</c:v>
                </c:pt>
                <c:pt idx="97">
                  <c:v>#N/A</c:v>
                </c:pt>
                <c:pt idx="98">
                  <c:v>1185</c:v>
                </c:pt>
                <c:pt idx="99">
                  <c:v>1010</c:v>
                </c:pt>
                <c:pt idx="100">
                  <c:v>940</c:v>
                </c:pt>
                <c:pt idx="101">
                  <c:v>1010</c:v>
                </c:pt>
                <c:pt idx="102">
                  <c:v>1060</c:v>
                </c:pt>
                <c:pt idx="103">
                  <c:v>#N/A</c:v>
                </c:pt>
                <c:pt idx="104">
                  <c:v>#N/A</c:v>
                </c:pt>
                <c:pt idx="105">
                  <c:v>1015</c:v>
                </c:pt>
                <c:pt idx="106">
                  <c:v>1130</c:v>
                </c:pt>
                <c:pt idx="107">
                  <c:v>1315</c:v>
                </c:pt>
                <c:pt idx="108">
                  <c:v>1405</c:v>
                </c:pt>
                <c:pt idx="109">
                  <c:v>1585</c:v>
                </c:pt>
                <c:pt idx="110">
                  <c:v>#N/A</c:v>
                </c:pt>
                <c:pt idx="111">
                  <c:v>#N/A</c:v>
                </c:pt>
                <c:pt idx="112">
                  <c:v>1530</c:v>
                </c:pt>
                <c:pt idx="113">
                  <c:v>1425</c:v>
                </c:pt>
                <c:pt idx="114">
                  <c:v>1385</c:v>
                </c:pt>
                <c:pt idx="115">
                  <c:v>1385</c:v>
                </c:pt>
                <c:pt idx="116">
                  <c:v>1480</c:v>
                </c:pt>
                <c:pt idx="117">
                  <c:v>#N/A</c:v>
                </c:pt>
                <c:pt idx="118">
                  <c:v>#N/A</c:v>
                </c:pt>
                <c:pt idx="119">
                  <c:v>1300</c:v>
                </c:pt>
                <c:pt idx="120">
                  <c:v>1150</c:v>
                </c:pt>
                <c:pt idx="121">
                  <c:v>#N/A</c:v>
                </c:pt>
                <c:pt idx="122">
                  <c:v>#N/A</c:v>
                </c:pt>
                <c:pt idx="123">
                  <c:v>#N/A</c:v>
                </c:pt>
                <c:pt idx="124">
                  <c:v>#N/A</c:v>
                </c:pt>
                <c:pt idx="125">
                  <c:v>#N/A</c:v>
                </c:pt>
                <c:pt idx="126">
                  <c:v>1205</c:v>
                </c:pt>
                <c:pt idx="127">
                  <c:v>1225</c:v>
                </c:pt>
                <c:pt idx="128">
                  <c:v>1305</c:v>
                </c:pt>
                <c:pt idx="129">
                  <c:v>1155</c:v>
                </c:pt>
                <c:pt idx="130">
                  <c:v>1220</c:v>
                </c:pt>
                <c:pt idx="131">
                  <c:v>#N/A</c:v>
                </c:pt>
                <c:pt idx="132">
                  <c:v>#N/A</c:v>
                </c:pt>
                <c:pt idx="133">
                  <c:v>1265</c:v>
                </c:pt>
                <c:pt idx="134">
                  <c:v>1435</c:v>
                </c:pt>
                <c:pt idx="135">
                  <c:v>1480</c:v>
                </c:pt>
                <c:pt idx="136">
                  <c:v>1465</c:v>
                </c:pt>
                <c:pt idx="137">
                  <c:v>1340</c:v>
                </c:pt>
                <c:pt idx="138">
                  <c:v>#N/A</c:v>
                </c:pt>
                <c:pt idx="139">
                  <c:v>#N/A</c:v>
                </c:pt>
                <c:pt idx="140">
                  <c:v>1185</c:v>
                </c:pt>
                <c:pt idx="141">
                  <c:v>880</c:v>
                </c:pt>
                <c:pt idx="142">
                  <c:v>770</c:v>
                </c:pt>
                <c:pt idx="143">
                  <c:v>865</c:v>
                </c:pt>
                <c:pt idx="144">
                  <c:v>435</c:v>
                </c:pt>
                <c:pt idx="145">
                  <c:v>#N/A</c:v>
                </c:pt>
                <c:pt idx="146">
                  <c:v>#N/A</c:v>
                </c:pt>
                <c:pt idx="147">
                  <c:v>320</c:v>
                </c:pt>
                <c:pt idx="148">
                  <c:v>310</c:v>
                </c:pt>
                <c:pt idx="149">
                  <c:v>675</c:v>
                </c:pt>
                <c:pt idx="150">
                  <c:v>285</c:v>
                </c:pt>
                <c:pt idx="151">
                  <c:v>345</c:v>
                </c:pt>
                <c:pt idx="152">
                  <c:v>#N/A</c:v>
                </c:pt>
                <c:pt idx="153">
                  <c:v>#N/A</c:v>
                </c:pt>
                <c:pt idx="154">
                  <c:v>690</c:v>
                </c:pt>
                <c:pt idx="155">
                  <c:v>815</c:v>
                </c:pt>
                <c:pt idx="156">
                  <c:v>840</c:v>
                </c:pt>
                <c:pt idx="157">
                  <c:v>770</c:v>
                </c:pt>
                <c:pt idx="158">
                  <c:v>920</c:v>
                </c:pt>
                <c:pt idx="159">
                  <c:v>#N/A</c:v>
                </c:pt>
                <c:pt idx="160">
                  <c:v>#N/A</c:v>
                </c:pt>
                <c:pt idx="161">
                  <c:v>#N/A</c:v>
                </c:pt>
                <c:pt idx="162">
                  <c:v>1105</c:v>
                </c:pt>
                <c:pt idx="163">
                  <c:v>1135</c:v>
                </c:pt>
                <c:pt idx="164">
                  <c:v>1220</c:v>
                </c:pt>
                <c:pt idx="165">
                  <c:v>1045</c:v>
                </c:pt>
                <c:pt idx="166">
                  <c:v>#N/A</c:v>
                </c:pt>
                <c:pt idx="167">
                  <c:v>#N/A</c:v>
                </c:pt>
                <c:pt idx="168">
                  <c:v>1115</c:v>
                </c:pt>
                <c:pt idx="169">
                  <c:v>1140</c:v>
                </c:pt>
                <c:pt idx="170">
                  <c:v>1275</c:v>
                </c:pt>
                <c:pt idx="171">
                  <c:v>1145</c:v>
                </c:pt>
                <c:pt idx="172">
                  <c:v>1170</c:v>
                </c:pt>
                <c:pt idx="173">
                  <c:v>#N/A</c:v>
                </c:pt>
                <c:pt idx="174">
                  <c:v>#N/A</c:v>
                </c:pt>
                <c:pt idx="175">
                  <c:v>1520</c:v>
                </c:pt>
                <c:pt idx="176">
                  <c:v>1915</c:v>
                </c:pt>
                <c:pt idx="177">
                  <c:v>1620</c:v>
                </c:pt>
                <c:pt idx="178">
                  <c:v>1550</c:v>
                </c:pt>
                <c:pt idx="179">
                  <c:v>1515</c:v>
                </c:pt>
                <c:pt idx="180">
                  <c:v>#N/A</c:v>
                </c:pt>
                <c:pt idx="181">
                  <c:v>#N/A</c:v>
                </c:pt>
                <c:pt idx="182">
                  <c:v>1475</c:v>
                </c:pt>
                <c:pt idx="183">
                  <c:v>1385</c:v>
                </c:pt>
                <c:pt idx="184">
                  <c:v>1310</c:v>
                </c:pt>
                <c:pt idx="185">
                  <c:v>1320</c:v>
                </c:pt>
                <c:pt idx="186">
                  <c:v>134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2-4D9D-4367-B133-70A23B45F5D1}"/>
            </c:ext>
          </c:extLst>
        </c:ser>
        <c:dLbls>
          <c:showLegendKey val="0"/>
          <c:showVal val="0"/>
          <c:showCatName val="0"/>
          <c:showSerName val="0"/>
          <c:showPercent val="0"/>
          <c:showBubbleSize val="0"/>
        </c:dLbls>
        <c:smooth val="0"/>
        <c:axId val="1885480975"/>
        <c:axId val="1885480495"/>
      </c:lineChart>
      <c:catAx>
        <c:axId val="1885480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zh-CN"/>
          </a:p>
        </c:txPr>
        <c:crossAx val="1885480495"/>
        <c:crosses val="autoZero"/>
        <c:auto val="1"/>
        <c:lblAlgn val="ctr"/>
        <c:lblOffset val="100"/>
        <c:noMultiLvlLbl val="0"/>
      </c:catAx>
      <c:valAx>
        <c:axId val="1885480495"/>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zh-CN"/>
          </a:p>
        </c:txPr>
        <c:crossAx val="1885480975"/>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ysClr val="windowText" lastClr="000000"/>
          </a:solidFill>
        </a:defRPr>
      </a:pPr>
      <a:endParaRPr lang="zh-C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主力合约钢联基差!$K$3</c:f>
          <c:strCache>
            <c:ptCount val="1"/>
            <c:pt idx="0">
              <c:v>08基差</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ea"/>
              <a:ea typeface="+mn-ea"/>
              <a:cs typeface="+mn-cs"/>
            </a:defRPr>
          </a:pPr>
          <a:endParaRPr lang="zh-CN"/>
        </a:p>
      </c:txPr>
    </c:title>
    <c:autoTitleDeleted val="0"/>
    <c:plotArea>
      <c:layout/>
      <c:lineChart>
        <c:grouping val="standard"/>
        <c:varyColors val="0"/>
        <c:ser>
          <c:idx val="0"/>
          <c:order val="0"/>
          <c:tx>
            <c:strRef>
              <c:f>主力合约SMM基差!$P$4</c:f>
              <c:strCache>
                <c:ptCount val="1"/>
                <c:pt idx="0">
                  <c:v>2022</c:v>
                </c:pt>
              </c:strCache>
            </c:strRef>
          </c:tx>
          <c:spPr>
            <a:ln w="19050" cap="rnd">
              <a:solidFill>
                <a:schemeClr val="bg1">
                  <a:lumMod val="75000"/>
                </a:schemeClr>
              </a:solidFill>
              <a:round/>
            </a:ln>
            <a:effectLst/>
          </c:spPr>
          <c:marker>
            <c:symbol val="none"/>
          </c:marker>
          <c:cat>
            <c:strRef>
              <c:f>主力合约SMM基差!$O$5:$O$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P$5:$P$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440</c:v>
                </c:pt>
                <c:pt idx="357">
                  <c:v>1590</c:v>
                </c:pt>
                <c:pt idx="358">
                  <c:v>#N/A</c:v>
                </c:pt>
                <c:pt idx="359">
                  <c:v>#N/A</c:v>
                </c:pt>
                <c:pt idx="360">
                  <c:v>1480</c:v>
                </c:pt>
                <c:pt idx="361">
                  <c:v>1285</c:v>
                </c:pt>
                <c:pt idx="362">
                  <c:v>1025</c:v>
                </c:pt>
                <c:pt idx="363">
                  <c:v>935</c:v>
                </c:pt>
                <c:pt idx="364">
                  <c:v>455</c:v>
                </c:pt>
                <c:pt idx="365">
                  <c:v>#N/A</c:v>
                </c:pt>
              </c:numCache>
            </c:numRef>
          </c:val>
          <c:smooth val="0"/>
          <c:extLst>
            <c:ext xmlns:c16="http://schemas.microsoft.com/office/drawing/2014/chart" uri="{C3380CC4-5D6E-409C-BE32-E72D297353CC}">
              <c16:uniqueId val="{00000000-0659-4C63-9095-711AB720F5EA}"/>
            </c:ext>
          </c:extLst>
        </c:ser>
        <c:ser>
          <c:idx val="1"/>
          <c:order val="1"/>
          <c:tx>
            <c:strRef>
              <c:f>主力合约SMM基差!$Q$4</c:f>
              <c:strCache>
                <c:ptCount val="1"/>
                <c:pt idx="0">
                  <c:v>2023</c:v>
                </c:pt>
              </c:strCache>
            </c:strRef>
          </c:tx>
          <c:spPr>
            <a:ln w="19050" cap="rnd">
              <a:solidFill>
                <a:schemeClr val="accent4">
                  <a:lumMod val="60000"/>
                  <a:lumOff val="40000"/>
                </a:schemeClr>
              </a:solidFill>
              <a:round/>
            </a:ln>
            <a:effectLst/>
          </c:spPr>
          <c:marker>
            <c:symbol val="none"/>
          </c:marker>
          <c:dPt>
            <c:idx val="226"/>
            <c:marker>
              <c:symbol val="none"/>
            </c:marker>
            <c:bubble3D val="0"/>
            <c:spPr>
              <a:ln w="19050" cap="rnd">
                <a:noFill/>
                <a:round/>
              </a:ln>
              <a:effectLst/>
            </c:spPr>
            <c:extLst>
              <c:ext xmlns:c16="http://schemas.microsoft.com/office/drawing/2014/chart" uri="{C3380CC4-5D6E-409C-BE32-E72D297353CC}">
                <c16:uniqueId val="{00000001-1406-43F2-93B1-601D8201C453}"/>
              </c:ext>
            </c:extLst>
          </c:dPt>
          <c:dPt>
            <c:idx val="349"/>
            <c:marker>
              <c:symbol val="none"/>
            </c:marker>
            <c:bubble3D val="0"/>
            <c:spPr>
              <a:ln w="19050" cap="rnd">
                <a:noFill/>
                <a:round/>
              </a:ln>
              <a:effectLst/>
            </c:spPr>
            <c:extLst>
              <c:ext xmlns:c16="http://schemas.microsoft.com/office/drawing/2014/chart" uri="{C3380CC4-5D6E-409C-BE32-E72D297353CC}">
                <c16:uniqueId val="{00000002-1406-43F2-93B1-601D8201C453}"/>
              </c:ext>
            </c:extLst>
          </c:dPt>
          <c:cat>
            <c:strRef>
              <c:f>主力合约SMM基差!$O$5:$O$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Q$5:$Q$370</c:f>
              <c:numCache>
                <c:formatCode>#,##0.00_);[Red]\(#,##0.00\)</c:formatCode>
                <c:ptCount val="366"/>
                <c:pt idx="0">
                  <c:v>#N/A</c:v>
                </c:pt>
                <c:pt idx="1">
                  <c:v>#N/A</c:v>
                </c:pt>
                <c:pt idx="2">
                  <c:v>580</c:v>
                </c:pt>
                <c:pt idx="3">
                  <c:v>510</c:v>
                </c:pt>
                <c:pt idx="4">
                  <c:v>515</c:v>
                </c:pt>
                <c:pt idx="5">
                  <c:v>280</c:v>
                </c:pt>
                <c:pt idx="6">
                  <c:v>#N/A</c:v>
                </c:pt>
                <c:pt idx="7">
                  <c:v>#N/A</c:v>
                </c:pt>
                <c:pt idx="8">
                  <c:v>305</c:v>
                </c:pt>
                <c:pt idx="9">
                  <c:v>425</c:v>
                </c:pt>
                <c:pt idx="10">
                  <c:v>550</c:v>
                </c:pt>
                <c:pt idx="11">
                  <c:v>455</c:v>
                </c:pt>
                <c:pt idx="12">
                  <c:v>180</c:v>
                </c:pt>
                <c:pt idx="13">
                  <c:v>#N/A</c:v>
                </c:pt>
                <c:pt idx="14">
                  <c:v>#N/A</c:v>
                </c:pt>
                <c:pt idx="15">
                  <c:v>185</c:v>
                </c:pt>
                <c:pt idx="16">
                  <c:v>85</c:v>
                </c:pt>
                <c:pt idx="17">
                  <c:v>-10</c:v>
                </c:pt>
                <c:pt idx="18">
                  <c:v>-630</c:v>
                </c:pt>
                <c:pt idx="19">
                  <c:v>-890</c:v>
                </c:pt>
                <c:pt idx="20">
                  <c:v>#N/A</c:v>
                </c:pt>
                <c:pt idx="21">
                  <c:v>#N/A</c:v>
                </c:pt>
                <c:pt idx="22">
                  <c:v>#N/A</c:v>
                </c:pt>
                <c:pt idx="23">
                  <c:v>#N/A</c:v>
                </c:pt>
                <c:pt idx="24">
                  <c:v>#N/A</c:v>
                </c:pt>
                <c:pt idx="25">
                  <c:v>#N/A</c:v>
                </c:pt>
                <c:pt idx="26">
                  <c:v>#N/A</c:v>
                </c:pt>
                <c:pt idx="27">
                  <c:v>#N/A</c:v>
                </c:pt>
                <c:pt idx="28">
                  <c:v>#N/A</c:v>
                </c:pt>
                <c:pt idx="29">
                  <c:v>-625</c:v>
                </c:pt>
                <c:pt idx="30">
                  <c:v>-460</c:v>
                </c:pt>
                <c:pt idx="31">
                  <c:v>-650</c:v>
                </c:pt>
                <c:pt idx="32">
                  <c:v>-525</c:v>
                </c:pt>
                <c:pt idx="33">
                  <c:v>-695</c:v>
                </c:pt>
                <c:pt idx="34">
                  <c:v>#N/A</c:v>
                </c:pt>
                <c:pt idx="35">
                  <c:v>#N/A</c:v>
                </c:pt>
                <c:pt idx="36">
                  <c:v>-715</c:v>
                </c:pt>
                <c:pt idx="37">
                  <c:v>-665</c:v>
                </c:pt>
                <c:pt idx="38">
                  <c:v>-825</c:v>
                </c:pt>
                <c:pt idx="39">
                  <c:v>-870</c:v>
                </c:pt>
                <c:pt idx="40">
                  <c:v>-655</c:v>
                </c:pt>
                <c:pt idx="41">
                  <c:v>#N/A</c:v>
                </c:pt>
                <c:pt idx="42">
                  <c:v>#N/A</c:v>
                </c:pt>
                <c:pt idx="43">
                  <c:v>-470</c:v>
                </c:pt>
                <c:pt idx="44">
                  <c:v>-445</c:v>
                </c:pt>
                <c:pt idx="45">
                  <c:v>-385</c:v>
                </c:pt>
                <c:pt idx="46">
                  <c:v>-130</c:v>
                </c:pt>
                <c:pt idx="47">
                  <c:v>125</c:v>
                </c:pt>
                <c:pt idx="48">
                  <c:v>#N/A</c:v>
                </c:pt>
                <c:pt idx="49">
                  <c:v>#N/A</c:v>
                </c:pt>
                <c:pt idx="50">
                  <c:v>30</c:v>
                </c:pt>
                <c:pt idx="51">
                  <c:v>-175</c:v>
                </c:pt>
                <c:pt idx="52">
                  <c:v>-75</c:v>
                </c:pt>
                <c:pt idx="53">
                  <c:v>-120</c:v>
                </c:pt>
                <c:pt idx="54">
                  <c:v>-135</c:v>
                </c:pt>
                <c:pt idx="55">
                  <c:v>#N/A</c:v>
                </c:pt>
                <c:pt idx="56">
                  <c:v>#N/A</c:v>
                </c:pt>
                <c:pt idx="57">
                  <c:v>20</c:v>
                </c:pt>
                <c:pt idx="58">
                  <c:v>-70</c:v>
                </c:pt>
                <c:pt idx="60">
                  <c:v>-190</c:v>
                </c:pt>
                <c:pt idx="61">
                  <c:v>-175</c:v>
                </c:pt>
                <c:pt idx="62">
                  <c:v>-140</c:v>
                </c:pt>
                <c:pt idx="63">
                  <c:v>#N/A</c:v>
                </c:pt>
                <c:pt idx="64">
                  <c:v>#N/A</c:v>
                </c:pt>
                <c:pt idx="65">
                  <c:v>-50</c:v>
                </c:pt>
                <c:pt idx="66">
                  <c:v>120</c:v>
                </c:pt>
                <c:pt idx="67">
                  <c:v>25</c:v>
                </c:pt>
                <c:pt idx="68">
                  <c:v>125</c:v>
                </c:pt>
                <c:pt idx="69">
                  <c:v>190</c:v>
                </c:pt>
                <c:pt idx="70">
                  <c:v>#N/A</c:v>
                </c:pt>
                <c:pt idx="71">
                  <c:v>#N/A</c:v>
                </c:pt>
                <c:pt idx="72">
                  <c:v>80</c:v>
                </c:pt>
                <c:pt idx="73">
                  <c:v>145</c:v>
                </c:pt>
                <c:pt idx="74">
                  <c:v>210</c:v>
                </c:pt>
                <c:pt idx="75">
                  <c:v>925</c:v>
                </c:pt>
                <c:pt idx="76">
                  <c:v>680</c:v>
                </c:pt>
                <c:pt idx="77">
                  <c:v>#N/A</c:v>
                </c:pt>
                <c:pt idx="78">
                  <c:v>#N/A</c:v>
                </c:pt>
                <c:pt idx="79">
                  <c:v>720</c:v>
                </c:pt>
                <c:pt idx="80">
                  <c:v>880</c:v>
                </c:pt>
                <c:pt idx="81">
                  <c:v>535</c:v>
                </c:pt>
                <c:pt idx="82">
                  <c:v>505</c:v>
                </c:pt>
                <c:pt idx="83">
                  <c:v>455</c:v>
                </c:pt>
                <c:pt idx="84">
                  <c:v>#N/A</c:v>
                </c:pt>
                <c:pt idx="85">
                  <c:v>#N/A</c:v>
                </c:pt>
                <c:pt idx="86">
                  <c:v>435</c:v>
                </c:pt>
                <c:pt idx="87">
                  <c:v>440</c:v>
                </c:pt>
                <c:pt idx="88">
                  <c:v>600</c:v>
                </c:pt>
                <c:pt idx="89">
                  <c:v>620</c:v>
                </c:pt>
                <c:pt idx="90">
                  <c:v>835</c:v>
                </c:pt>
                <c:pt idx="91">
                  <c:v>#N/A</c:v>
                </c:pt>
                <c:pt idx="92">
                  <c:v>#N/A</c:v>
                </c:pt>
                <c:pt idx="93">
                  <c:v>1040</c:v>
                </c:pt>
                <c:pt idx="94">
                  <c:v>1180</c:v>
                </c:pt>
                <c:pt idx="95">
                  <c:v>#N/A</c:v>
                </c:pt>
                <c:pt idx="96">
                  <c:v>825</c:v>
                </c:pt>
                <c:pt idx="97">
                  <c:v>625</c:v>
                </c:pt>
                <c:pt idx="98">
                  <c:v>#N/A</c:v>
                </c:pt>
                <c:pt idx="99">
                  <c:v>#N/A</c:v>
                </c:pt>
                <c:pt idx="100">
                  <c:v>870</c:v>
                </c:pt>
                <c:pt idx="101">
                  <c:v>735</c:v>
                </c:pt>
                <c:pt idx="102">
                  <c:v>445</c:v>
                </c:pt>
                <c:pt idx="103">
                  <c:v>535</c:v>
                </c:pt>
                <c:pt idx="104">
                  <c:v>515</c:v>
                </c:pt>
                <c:pt idx="105">
                  <c:v>#N/A</c:v>
                </c:pt>
                <c:pt idx="106">
                  <c:v>#N/A</c:v>
                </c:pt>
                <c:pt idx="107">
                  <c:v>205</c:v>
                </c:pt>
                <c:pt idx="108">
                  <c:v>120</c:v>
                </c:pt>
                <c:pt idx="109">
                  <c:v>160</c:v>
                </c:pt>
                <c:pt idx="110">
                  <c:v>290</c:v>
                </c:pt>
                <c:pt idx="111">
                  <c:v>210</c:v>
                </c:pt>
                <c:pt idx="112">
                  <c:v>#N/A</c:v>
                </c:pt>
                <c:pt idx="113">
                  <c:v>#N/A</c:v>
                </c:pt>
                <c:pt idx="114">
                  <c:v>230</c:v>
                </c:pt>
                <c:pt idx="115">
                  <c:v>-50</c:v>
                </c:pt>
                <c:pt idx="116">
                  <c:v>25</c:v>
                </c:pt>
                <c:pt idx="117">
                  <c:v>175</c:v>
                </c:pt>
                <c:pt idx="118">
                  <c:v>160</c:v>
                </c:pt>
                <c:pt idx="119">
                  <c:v>#N/A</c:v>
                </c:pt>
                <c:pt idx="120">
                  <c:v>#N/A</c:v>
                </c:pt>
                <c:pt idx="121">
                  <c:v>#N/A</c:v>
                </c:pt>
                <c:pt idx="122">
                  <c:v>#N/A</c:v>
                </c:pt>
                <c:pt idx="123">
                  <c:v>#N/A</c:v>
                </c:pt>
                <c:pt idx="124">
                  <c:v>160</c:v>
                </c:pt>
                <c:pt idx="125">
                  <c:v>-25</c:v>
                </c:pt>
                <c:pt idx="126">
                  <c:v>#N/A</c:v>
                </c:pt>
                <c:pt idx="127">
                  <c:v>#N/A</c:v>
                </c:pt>
                <c:pt idx="128">
                  <c:v>-185</c:v>
                </c:pt>
                <c:pt idx="129">
                  <c:v>-150</c:v>
                </c:pt>
                <c:pt idx="130">
                  <c:v>385</c:v>
                </c:pt>
                <c:pt idx="131">
                  <c:v>450</c:v>
                </c:pt>
                <c:pt idx="132">
                  <c:v>700</c:v>
                </c:pt>
                <c:pt idx="133">
                  <c:v>#N/A</c:v>
                </c:pt>
                <c:pt idx="134">
                  <c:v>#N/A</c:v>
                </c:pt>
                <c:pt idx="135">
                  <c:v>665</c:v>
                </c:pt>
                <c:pt idx="136">
                  <c:v>650</c:v>
                </c:pt>
                <c:pt idx="137">
                  <c:v>690</c:v>
                </c:pt>
                <c:pt idx="138">
                  <c:v>730</c:v>
                </c:pt>
                <c:pt idx="139">
                  <c:v>900</c:v>
                </c:pt>
                <c:pt idx="140">
                  <c:v>#N/A</c:v>
                </c:pt>
                <c:pt idx="141">
                  <c:v>#N/A</c:v>
                </c:pt>
                <c:pt idx="142">
                  <c:v>1070</c:v>
                </c:pt>
                <c:pt idx="143">
                  <c:v>650</c:v>
                </c:pt>
                <c:pt idx="144">
                  <c:v>660</c:v>
                </c:pt>
                <c:pt idx="145">
                  <c:v>1015</c:v>
                </c:pt>
                <c:pt idx="146">
                  <c:v>740</c:v>
                </c:pt>
                <c:pt idx="147">
                  <c:v>#N/A</c:v>
                </c:pt>
                <c:pt idx="148">
                  <c:v>#N/A</c:v>
                </c:pt>
                <c:pt idx="149">
                  <c:v>670</c:v>
                </c:pt>
                <c:pt idx="150">
                  <c:v>670</c:v>
                </c:pt>
                <c:pt idx="151">
                  <c:v>735</c:v>
                </c:pt>
                <c:pt idx="152">
                  <c:v>575</c:v>
                </c:pt>
                <c:pt idx="153">
                  <c:v>330</c:v>
                </c:pt>
                <c:pt idx="154">
                  <c:v>#N/A</c:v>
                </c:pt>
                <c:pt idx="155">
                  <c:v>#N/A</c:v>
                </c:pt>
                <c:pt idx="156">
                  <c:v>530</c:v>
                </c:pt>
                <c:pt idx="157">
                  <c:v>560</c:v>
                </c:pt>
                <c:pt idx="158">
                  <c:v>845</c:v>
                </c:pt>
                <c:pt idx="159">
                  <c:v>785</c:v>
                </c:pt>
                <c:pt idx="160">
                  <c:v>820</c:v>
                </c:pt>
                <c:pt idx="161">
                  <c:v>#N/A</c:v>
                </c:pt>
                <c:pt idx="162">
                  <c:v>#N/A</c:v>
                </c:pt>
                <c:pt idx="163">
                  <c:v>1005</c:v>
                </c:pt>
                <c:pt idx="164">
                  <c:v>915</c:v>
                </c:pt>
                <c:pt idx="165">
                  <c:v>660</c:v>
                </c:pt>
                <c:pt idx="166">
                  <c:v>780</c:v>
                </c:pt>
                <c:pt idx="167">
                  <c:v>655</c:v>
                </c:pt>
                <c:pt idx="168">
                  <c:v>#N/A</c:v>
                </c:pt>
                <c:pt idx="169">
                  <c:v>#N/A</c:v>
                </c:pt>
                <c:pt idx="170">
                  <c:v>-90</c:v>
                </c:pt>
                <c:pt idx="171">
                  <c:v>-610</c:v>
                </c:pt>
                <c:pt idx="172">
                  <c:v>20</c:v>
                </c:pt>
                <c:pt idx="173">
                  <c:v>#N/A</c:v>
                </c:pt>
                <c:pt idx="174">
                  <c:v>#N/A</c:v>
                </c:pt>
                <c:pt idx="175">
                  <c:v>#N/A</c:v>
                </c:pt>
                <c:pt idx="176">
                  <c:v>#N/A</c:v>
                </c:pt>
                <c:pt idx="177">
                  <c:v>135</c:v>
                </c:pt>
                <c:pt idx="178">
                  <c:v>80</c:v>
                </c:pt>
                <c:pt idx="179">
                  <c:v>60</c:v>
                </c:pt>
                <c:pt idx="180">
                  <c:v>-175</c:v>
                </c:pt>
                <c:pt idx="181">
                  <c:v>-75</c:v>
                </c:pt>
                <c:pt idx="182">
                  <c:v>#N/A</c:v>
                </c:pt>
                <c:pt idx="183">
                  <c:v>#N/A</c:v>
                </c:pt>
                <c:pt idx="184">
                  <c:v>-180</c:v>
                </c:pt>
                <c:pt idx="185">
                  <c:v>-35</c:v>
                </c:pt>
                <c:pt idx="186">
                  <c:v>150</c:v>
                </c:pt>
                <c:pt idx="187">
                  <c:v>60</c:v>
                </c:pt>
                <c:pt idx="188">
                  <c:v>65</c:v>
                </c:pt>
                <c:pt idx="189">
                  <c:v>#N/A</c:v>
                </c:pt>
                <c:pt idx="190">
                  <c:v>#N/A</c:v>
                </c:pt>
                <c:pt idx="191">
                  <c:v>-35</c:v>
                </c:pt>
                <c:pt idx="192">
                  <c:v>-85</c:v>
                </c:pt>
                <c:pt idx="193">
                  <c:v>-665</c:v>
                </c:pt>
                <c:pt idx="194">
                  <c:v>-605</c:v>
                </c:pt>
                <c:pt idx="195">
                  <c:v>-730</c:v>
                </c:pt>
                <c:pt idx="196">
                  <c:v>#N/A</c:v>
                </c:pt>
                <c:pt idx="197">
                  <c:v>#N/A</c:v>
                </c:pt>
                <c:pt idx="198">
                  <c:v>-320</c:v>
                </c:pt>
                <c:pt idx="199">
                  <c:v>-375</c:v>
                </c:pt>
                <c:pt idx="200">
                  <c:v>-560</c:v>
                </c:pt>
                <c:pt idx="201">
                  <c:v>-690</c:v>
                </c:pt>
                <c:pt idx="202">
                  <c:v>-430</c:v>
                </c:pt>
                <c:pt idx="203">
                  <c:v>#N/A</c:v>
                </c:pt>
                <c:pt idx="204">
                  <c:v>#N/A</c:v>
                </c:pt>
                <c:pt idx="205">
                  <c:v>-500</c:v>
                </c:pt>
                <c:pt idx="206">
                  <c:v>-590</c:v>
                </c:pt>
                <c:pt idx="207">
                  <c:v>-650</c:v>
                </c:pt>
                <c:pt idx="208">
                  <c:v>-600</c:v>
                </c:pt>
                <c:pt idx="209">
                  <c:v>-620</c:v>
                </c:pt>
                <c:pt idx="210">
                  <c:v>#N/A</c:v>
                </c:pt>
                <c:pt idx="211">
                  <c:v>#N/A</c:v>
                </c:pt>
                <c:pt idx="212">
                  <c:v>-750</c:v>
                </c:pt>
                <c:pt idx="213">
                  <c:v>-780</c:v>
                </c:pt>
                <c:pt idx="214">
                  <c:v>-900</c:v>
                </c:pt>
                <c:pt idx="215">
                  <c:v>-305</c:v>
                </c:pt>
                <c:pt idx="216">
                  <c:v>-360</c:v>
                </c:pt>
                <c:pt idx="217">
                  <c:v>#N/A</c:v>
                </c:pt>
                <c:pt idx="218">
                  <c:v>#N/A</c:v>
                </c:pt>
                <c:pt idx="219">
                  <c:v>-235</c:v>
                </c:pt>
                <c:pt idx="220">
                  <c:v>-200</c:v>
                </c:pt>
                <c:pt idx="221">
                  <c:v>-440</c:v>
                </c:pt>
                <c:pt idx="222">
                  <c:v>-175</c:v>
                </c:pt>
                <c:pt idx="223">
                  <c:v>-95</c:v>
                </c:pt>
                <c:pt idx="224">
                  <c:v>#N/A</c:v>
                </c:pt>
                <c:pt idx="225">
                  <c:v>#N/A</c:v>
                </c:pt>
                <c:pt idx="226">
                  <c:v>15</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690</c:v>
                </c:pt>
                <c:pt idx="350">
                  <c:v>#N/A</c:v>
                </c:pt>
                <c:pt idx="351">
                  <c:v>#N/A</c:v>
                </c:pt>
                <c:pt idx="352">
                  <c:v>895</c:v>
                </c:pt>
                <c:pt idx="353">
                  <c:v>785</c:v>
                </c:pt>
                <c:pt idx="354">
                  <c:v>900</c:v>
                </c:pt>
                <c:pt idx="355">
                  <c:v>1055</c:v>
                </c:pt>
                <c:pt idx="356">
                  <c:v>1150</c:v>
                </c:pt>
                <c:pt idx="357">
                  <c:v>#N/A</c:v>
                </c:pt>
                <c:pt idx="358">
                  <c:v>#N/A</c:v>
                </c:pt>
                <c:pt idx="359">
                  <c:v>1210</c:v>
                </c:pt>
                <c:pt idx="360">
                  <c:v>1025</c:v>
                </c:pt>
                <c:pt idx="361">
                  <c:v>1215</c:v>
                </c:pt>
                <c:pt idx="362">
                  <c:v>1185</c:v>
                </c:pt>
                <c:pt idx="363">
                  <c:v>1250</c:v>
                </c:pt>
                <c:pt idx="364">
                  <c:v>#N/A</c:v>
                </c:pt>
                <c:pt idx="365">
                  <c:v>#N/A</c:v>
                </c:pt>
              </c:numCache>
            </c:numRef>
          </c:val>
          <c:smooth val="0"/>
          <c:extLst>
            <c:ext xmlns:c16="http://schemas.microsoft.com/office/drawing/2014/chart" uri="{C3380CC4-5D6E-409C-BE32-E72D297353CC}">
              <c16:uniqueId val="{00000001-0659-4C63-9095-711AB720F5EA}"/>
            </c:ext>
          </c:extLst>
        </c:ser>
        <c:ser>
          <c:idx val="2"/>
          <c:order val="2"/>
          <c:tx>
            <c:strRef>
              <c:f>主力合约SMM基差!$R$4</c:f>
              <c:strCache>
                <c:ptCount val="1"/>
                <c:pt idx="0">
                  <c:v>2024</c:v>
                </c:pt>
              </c:strCache>
            </c:strRef>
          </c:tx>
          <c:spPr>
            <a:ln w="28575" cap="rnd">
              <a:solidFill>
                <a:schemeClr val="tx1"/>
              </a:solidFill>
              <a:round/>
            </a:ln>
            <a:effectLst/>
          </c:spPr>
          <c:marker>
            <c:symbol val="none"/>
          </c:marker>
          <c:cat>
            <c:strRef>
              <c:f>主力合约SMM基差!$O$5:$O$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R$5:$R$370</c:f>
              <c:numCache>
                <c:formatCode>#,##0.00_);[Red]\(#,##0.00\)</c:formatCode>
                <c:ptCount val="366"/>
                <c:pt idx="0">
                  <c:v>#N/A</c:v>
                </c:pt>
                <c:pt idx="1">
                  <c:v>1115</c:v>
                </c:pt>
                <c:pt idx="2">
                  <c:v>1220</c:v>
                </c:pt>
                <c:pt idx="3">
                  <c:v>1195</c:v>
                </c:pt>
                <c:pt idx="4">
                  <c:v>1405</c:v>
                </c:pt>
                <c:pt idx="5">
                  <c:v>#N/A</c:v>
                </c:pt>
                <c:pt idx="6">
                  <c:v>#N/A</c:v>
                </c:pt>
                <c:pt idx="7">
                  <c:v>1510</c:v>
                </c:pt>
                <c:pt idx="8">
                  <c:v>1510</c:v>
                </c:pt>
                <c:pt idx="9">
                  <c:v>1400</c:v>
                </c:pt>
                <c:pt idx="10">
                  <c:v>1355</c:v>
                </c:pt>
                <c:pt idx="11">
                  <c:v>1575</c:v>
                </c:pt>
                <c:pt idx="12">
                  <c:v>#N/A</c:v>
                </c:pt>
                <c:pt idx="13">
                  <c:v>#N/A</c:v>
                </c:pt>
                <c:pt idx="14">
                  <c:v>1390</c:v>
                </c:pt>
                <c:pt idx="15">
                  <c:v>1430</c:v>
                </c:pt>
                <c:pt idx="16">
                  <c:v>1570</c:v>
                </c:pt>
                <c:pt idx="17">
                  <c:v>1565</c:v>
                </c:pt>
                <c:pt idx="18">
                  <c:v>1375</c:v>
                </c:pt>
                <c:pt idx="19">
                  <c:v>#N/A</c:v>
                </c:pt>
                <c:pt idx="20">
                  <c:v>#N/A</c:v>
                </c:pt>
                <c:pt idx="21">
                  <c:v>1465</c:v>
                </c:pt>
                <c:pt idx="22">
                  <c:v>1410</c:v>
                </c:pt>
                <c:pt idx="23">
                  <c:v>1450</c:v>
                </c:pt>
                <c:pt idx="24">
                  <c:v>1380</c:v>
                </c:pt>
                <c:pt idx="25">
                  <c:v>1410</c:v>
                </c:pt>
                <c:pt idx="26">
                  <c:v>#N/A</c:v>
                </c:pt>
                <c:pt idx="27">
                  <c:v>#N/A</c:v>
                </c:pt>
                <c:pt idx="28">
                  <c:v>1500</c:v>
                </c:pt>
                <c:pt idx="29">
                  <c:v>1415</c:v>
                </c:pt>
                <c:pt idx="30">
                  <c:v>1495</c:v>
                </c:pt>
                <c:pt idx="31">
                  <c:v>1520</c:v>
                </c:pt>
                <c:pt idx="32">
                  <c:v>1465</c:v>
                </c:pt>
                <c:pt idx="33">
                  <c:v>#N/A</c:v>
                </c:pt>
                <c:pt idx="34">
                  <c:v>#N/A</c:v>
                </c:pt>
                <c:pt idx="35">
                  <c:v>1465</c:v>
                </c:pt>
                <c:pt idx="36">
                  <c:v>1545</c:v>
                </c:pt>
                <c:pt idx="37">
                  <c:v>1315</c:v>
                </c:pt>
                <c:pt idx="38">
                  <c:v>1330</c:v>
                </c:pt>
                <c:pt idx="39">
                  <c:v>#N/A</c:v>
                </c:pt>
                <c:pt idx="40">
                  <c:v>#N/A</c:v>
                </c:pt>
                <c:pt idx="41">
                  <c:v>#N/A</c:v>
                </c:pt>
                <c:pt idx="42">
                  <c:v>#N/A</c:v>
                </c:pt>
                <c:pt idx="43">
                  <c:v>#N/A</c:v>
                </c:pt>
                <c:pt idx="44">
                  <c:v>#N/A</c:v>
                </c:pt>
                <c:pt idx="45">
                  <c:v>#N/A</c:v>
                </c:pt>
                <c:pt idx="46">
                  <c:v>#N/A</c:v>
                </c:pt>
                <c:pt idx="47">
                  <c:v>#N/A</c:v>
                </c:pt>
                <c:pt idx="48">
                  <c:v>#N/A</c:v>
                </c:pt>
                <c:pt idx="49">
                  <c:v>1525</c:v>
                </c:pt>
                <c:pt idx="50">
                  <c:v>1475</c:v>
                </c:pt>
                <c:pt idx="51">
                  <c:v>1435</c:v>
                </c:pt>
                <c:pt idx="52">
                  <c:v>1410</c:v>
                </c:pt>
                <c:pt idx="53">
                  <c:v>1290</c:v>
                </c:pt>
                <c:pt idx="54">
                  <c:v>#N/A</c:v>
                </c:pt>
                <c:pt idx="55">
                  <c:v>#N/A</c:v>
                </c:pt>
                <c:pt idx="56">
                  <c:v>1405</c:v>
                </c:pt>
                <c:pt idx="57">
                  <c:v>1370</c:v>
                </c:pt>
                <c:pt idx="58">
                  <c:v>1295</c:v>
                </c:pt>
                <c:pt idx="59">
                  <c:v>1300</c:v>
                </c:pt>
                <c:pt idx="60">
                  <c:v>1185</c:v>
                </c:pt>
                <c:pt idx="61">
                  <c:v>#N/A</c:v>
                </c:pt>
                <c:pt idx="62">
                  <c:v>#N/A</c:v>
                </c:pt>
                <c:pt idx="63">
                  <c:v>1110</c:v>
                </c:pt>
                <c:pt idx="64">
                  <c:v>1200</c:v>
                </c:pt>
                <c:pt idx="65">
                  <c:v>1285</c:v>
                </c:pt>
                <c:pt idx="66">
                  <c:v>1305</c:v>
                </c:pt>
                <c:pt idx="67">
                  <c:v>1260</c:v>
                </c:pt>
                <c:pt idx="68">
                  <c:v>#N/A</c:v>
                </c:pt>
                <c:pt idx="69">
                  <c:v>#N/A</c:v>
                </c:pt>
                <c:pt idx="70">
                  <c:v>1330</c:v>
                </c:pt>
                <c:pt idx="71">
                  <c:v>1195</c:v>
                </c:pt>
                <c:pt idx="72">
                  <c:v>1250</c:v>
                </c:pt>
                <c:pt idx="73">
                  <c:v>1135</c:v>
                </c:pt>
                <c:pt idx="74">
                  <c:v>1500</c:v>
                </c:pt>
                <c:pt idx="75">
                  <c:v>#N/A</c:v>
                </c:pt>
                <c:pt idx="76">
                  <c:v>#N/A</c:v>
                </c:pt>
                <c:pt idx="77">
                  <c:v>1495</c:v>
                </c:pt>
                <c:pt idx="78">
                  <c:v>1425</c:v>
                </c:pt>
                <c:pt idx="79">
                  <c:v>1330</c:v>
                </c:pt>
                <c:pt idx="80">
                  <c:v>1280</c:v>
                </c:pt>
                <c:pt idx="81">
                  <c:v>1400</c:v>
                </c:pt>
                <c:pt idx="82">
                  <c:v>#N/A</c:v>
                </c:pt>
                <c:pt idx="83">
                  <c:v>#N/A</c:v>
                </c:pt>
                <c:pt idx="84">
                  <c:v>1430</c:v>
                </c:pt>
                <c:pt idx="85">
                  <c:v>1410</c:v>
                </c:pt>
                <c:pt idx="86">
                  <c:v>1480</c:v>
                </c:pt>
                <c:pt idx="87">
                  <c:v>1430</c:v>
                </c:pt>
                <c:pt idx="88">
                  <c:v>1575</c:v>
                </c:pt>
                <c:pt idx="89">
                  <c:v>#N/A</c:v>
                </c:pt>
                <c:pt idx="90">
                  <c:v>#N/A</c:v>
                </c:pt>
                <c:pt idx="91">
                  <c:v>1465</c:v>
                </c:pt>
                <c:pt idx="92">
                  <c:v>1310</c:v>
                </c:pt>
                <c:pt idx="93">
                  <c:v>1220</c:v>
                </c:pt>
                <c:pt idx="94">
                  <c:v>#N/A</c:v>
                </c:pt>
                <c:pt idx="95">
                  <c:v>#N/A</c:v>
                </c:pt>
                <c:pt idx="96">
                  <c:v>#N/A</c:v>
                </c:pt>
                <c:pt idx="97">
                  <c:v>#N/A</c:v>
                </c:pt>
                <c:pt idx="98">
                  <c:v>1090</c:v>
                </c:pt>
                <c:pt idx="99">
                  <c:v>890</c:v>
                </c:pt>
                <c:pt idx="100">
                  <c:v>910</c:v>
                </c:pt>
                <c:pt idx="101">
                  <c:v>980</c:v>
                </c:pt>
                <c:pt idx="102">
                  <c:v>925</c:v>
                </c:pt>
                <c:pt idx="103">
                  <c:v>#N/A</c:v>
                </c:pt>
                <c:pt idx="104">
                  <c:v>#N/A</c:v>
                </c:pt>
                <c:pt idx="105">
                  <c:v>925</c:v>
                </c:pt>
                <c:pt idx="106">
                  <c:v>1160</c:v>
                </c:pt>
                <c:pt idx="107">
                  <c:v>1420</c:v>
                </c:pt>
                <c:pt idx="108">
                  <c:v>1470</c:v>
                </c:pt>
                <c:pt idx="109">
                  <c:v>1590</c:v>
                </c:pt>
                <c:pt idx="110">
                  <c:v>#N/A</c:v>
                </c:pt>
                <c:pt idx="111">
                  <c:v>#N/A</c:v>
                </c:pt>
                <c:pt idx="112">
                  <c:v>1420</c:v>
                </c:pt>
                <c:pt idx="113">
                  <c:v>1420</c:v>
                </c:pt>
                <c:pt idx="114">
                  <c:v>1320</c:v>
                </c:pt>
                <c:pt idx="115">
                  <c:v>1365</c:v>
                </c:pt>
                <c:pt idx="116">
                  <c:v>1350</c:v>
                </c:pt>
                <c:pt idx="117">
                  <c:v>#N/A</c:v>
                </c:pt>
                <c:pt idx="118">
                  <c:v>#N/A</c:v>
                </c:pt>
                <c:pt idx="119">
                  <c:v>1150</c:v>
                </c:pt>
                <c:pt idx="120">
                  <c:v>1155</c:v>
                </c:pt>
                <c:pt idx="121">
                  <c:v>#N/A</c:v>
                </c:pt>
                <c:pt idx="122">
                  <c:v>#N/A</c:v>
                </c:pt>
                <c:pt idx="123">
                  <c:v>#N/A</c:v>
                </c:pt>
                <c:pt idx="124">
                  <c:v>#N/A</c:v>
                </c:pt>
                <c:pt idx="125">
                  <c:v>#N/A</c:v>
                </c:pt>
                <c:pt idx="126">
                  <c:v>1170</c:v>
                </c:pt>
                <c:pt idx="127">
                  <c:v>1190</c:v>
                </c:pt>
                <c:pt idx="128">
                  <c:v>1275</c:v>
                </c:pt>
                <c:pt idx="129">
                  <c:v>1110</c:v>
                </c:pt>
                <c:pt idx="130">
                  <c:v>1220</c:v>
                </c:pt>
                <c:pt idx="131">
                  <c:v>#N/A</c:v>
                </c:pt>
                <c:pt idx="132">
                  <c:v>#N/A</c:v>
                </c:pt>
                <c:pt idx="133">
                  <c:v>1175</c:v>
                </c:pt>
                <c:pt idx="134">
                  <c:v>1415</c:v>
                </c:pt>
                <c:pt idx="135">
                  <c:v>1455</c:v>
                </c:pt>
                <c:pt idx="136">
                  <c:v>1400</c:v>
                </c:pt>
                <c:pt idx="137">
                  <c:v>1245</c:v>
                </c:pt>
                <c:pt idx="138">
                  <c:v>#N/A</c:v>
                </c:pt>
                <c:pt idx="139">
                  <c:v>#N/A</c:v>
                </c:pt>
                <c:pt idx="140">
                  <c:v>1070</c:v>
                </c:pt>
                <c:pt idx="141">
                  <c:v>760</c:v>
                </c:pt>
                <c:pt idx="142">
                  <c:v>685</c:v>
                </c:pt>
                <c:pt idx="143">
                  <c:v>790</c:v>
                </c:pt>
                <c:pt idx="144">
                  <c:v>245</c:v>
                </c:pt>
                <c:pt idx="145">
                  <c:v>#N/A</c:v>
                </c:pt>
                <c:pt idx="146">
                  <c:v>#N/A</c:v>
                </c:pt>
                <c:pt idx="147">
                  <c:v>310</c:v>
                </c:pt>
                <c:pt idx="148">
                  <c:v>545</c:v>
                </c:pt>
                <c:pt idx="149">
                  <c:v>680</c:v>
                </c:pt>
                <c:pt idx="150">
                  <c:v>135</c:v>
                </c:pt>
                <c:pt idx="151">
                  <c:v>360</c:v>
                </c:pt>
                <c:pt idx="152">
                  <c:v>#N/A</c:v>
                </c:pt>
                <c:pt idx="153">
                  <c:v>#N/A</c:v>
                </c:pt>
                <c:pt idx="154">
                  <c:v>805</c:v>
                </c:pt>
                <c:pt idx="155">
                  <c:v>670</c:v>
                </c:pt>
                <c:pt idx="156">
                  <c:v>790</c:v>
                </c:pt>
                <c:pt idx="157">
                  <c:v>735</c:v>
                </c:pt>
                <c:pt idx="158">
                  <c:v>885</c:v>
                </c:pt>
                <c:pt idx="159">
                  <c:v>#N/A</c:v>
                </c:pt>
                <c:pt idx="160">
                  <c:v>#N/A</c:v>
                </c:pt>
                <c:pt idx="161">
                  <c:v>#N/A</c:v>
                </c:pt>
                <c:pt idx="162">
                  <c:v>1060</c:v>
                </c:pt>
                <c:pt idx="163">
                  <c:v>1005</c:v>
                </c:pt>
                <c:pt idx="164">
                  <c:v>1030</c:v>
                </c:pt>
                <c:pt idx="165">
                  <c:v>1020</c:v>
                </c:pt>
                <c:pt idx="166">
                  <c:v>#N/A</c:v>
                </c:pt>
                <c:pt idx="167">
                  <c:v>#N/A</c:v>
                </c:pt>
                <c:pt idx="168">
                  <c:v>1035</c:v>
                </c:pt>
                <c:pt idx="169">
                  <c:v>1195</c:v>
                </c:pt>
                <c:pt idx="170">
                  <c:v>1125</c:v>
                </c:pt>
                <c:pt idx="171">
                  <c:v>1085</c:v>
                </c:pt>
                <c:pt idx="172">
                  <c:v>1165</c:v>
                </c:pt>
                <c:pt idx="173">
                  <c:v>#N/A</c:v>
                </c:pt>
                <c:pt idx="174">
                  <c:v>#N/A</c:v>
                </c:pt>
                <c:pt idx="175">
                  <c:v>1720</c:v>
                </c:pt>
                <c:pt idx="176">
                  <c:v>1770</c:v>
                </c:pt>
                <c:pt idx="177">
                  <c:v>1470</c:v>
                </c:pt>
                <c:pt idx="178">
                  <c:v>1475</c:v>
                </c:pt>
                <c:pt idx="179">
                  <c:v>1425</c:v>
                </c:pt>
                <c:pt idx="180">
                  <c:v>#N/A</c:v>
                </c:pt>
                <c:pt idx="181">
                  <c:v>#N/A</c:v>
                </c:pt>
                <c:pt idx="182">
                  <c:v>1335</c:v>
                </c:pt>
                <c:pt idx="183">
                  <c:v>1315</c:v>
                </c:pt>
                <c:pt idx="184">
                  <c:v>1250</c:v>
                </c:pt>
                <c:pt idx="185">
                  <c:v>1345</c:v>
                </c:pt>
                <c:pt idx="186">
                  <c:v>141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2-0659-4C63-9095-711AB720F5EA}"/>
            </c:ext>
          </c:extLst>
        </c:ser>
        <c:dLbls>
          <c:showLegendKey val="0"/>
          <c:showVal val="0"/>
          <c:showCatName val="0"/>
          <c:showSerName val="0"/>
          <c:showPercent val="0"/>
          <c:showBubbleSize val="0"/>
        </c:dLbls>
        <c:smooth val="0"/>
        <c:axId val="315009231"/>
        <c:axId val="314998415"/>
      </c:lineChart>
      <c:catAx>
        <c:axId val="31500923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314998415"/>
        <c:crosses val="autoZero"/>
        <c:auto val="1"/>
        <c:lblAlgn val="ctr"/>
        <c:lblOffset val="100"/>
        <c:noMultiLvlLbl val="0"/>
      </c:catAx>
      <c:valAx>
        <c:axId val="314998415"/>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3150092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ea"/>
          <a:ea typeface="+mn-ea"/>
        </a:defRPr>
      </a:pPr>
      <a:endParaRPr lang="zh-CN"/>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主力合约钢联基差!$P$3</c:f>
          <c:strCache>
            <c:ptCount val="1"/>
            <c:pt idx="0">
              <c:v>09基差</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ea"/>
              <a:ea typeface="+mn-ea"/>
              <a:cs typeface="+mn-cs"/>
            </a:defRPr>
          </a:pPr>
          <a:endParaRPr lang="zh-CN"/>
        </a:p>
      </c:txPr>
    </c:title>
    <c:autoTitleDeleted val="0"/>
    <c:plotArea>
      <c:layout/>
      <c:lineChart>
        <c:grouping val="standard"/>
        <c:varyColors val="0"/>
        <c:ser>
          <c:idx val="0"/>
          <c:order val="0"/>
          <c:tx>
            <c:strRef>
              <c:f>主力合约SMM基差!$U$4</c:f>
              <c:strCache>
                <c:ptCount val="1"/>
                <c:pt idx="0">
                  <c:v>2022</c:v>
                </c:pt>
              </c:strCache>
            </c:strRef>
          </c:tx>
          <c:spPr>
            <a:ln w="19050" cap="rnd">
              <a:solidFill>
                <a:schemeClr val="bg1">
                  <a:lumMod val="75000"/>
                </a:schemeClr>
              </a:solidFill>
              <a:round/>
            </a:ln>
            <a:effectLst/>
          </c:spPr>
          <c:marker>
            <c:symbol val="none"/>
          </c:marker>
          <c:cat>
            <c:strRef>
              <c:f>主力合约SMM基差!$T$5:$T$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U$5:$U$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pt idx="126">
                  <c:v>#N/A</c:v>
                </c:pt>
                <c:pt idx="127">
                  <c:v>#N/A</c:v>
                </c:pt>
                <c:pt idx="128">
                  <c:v>#N/A</c:v>
                </c:pt>
                <c:pt idx="129">
                  <c:v>#N/A</c:v>
                </c:pt>
                <c:pt idx="130">
                  <c:v>#N/A</c:v>
                </c:pt>
                <c:pt idx="131">
                  <c:v>#N/A</c:v>
                </c:pt>
                <c:pt idx="132">
                  <c:v>#N/A</c:v>
                </c:pt>
                <c:pt idx="133">
                  <c:v>#N/A</c:v>
                </c:pt>
                <c:pt idx="134">
                  <c:v>#N/A</c:v>
                </c:pt>
                <c:pt idx="135">
                  <c:v>#N/A</c:v>
                </c:pt>
                <c:pt idx="136">
                  <c:v>#N/A</c:v>
                </c:pt>
                <c:pt idx="137">
                  <c:v>#N/A</c:v>
                </c:pt>
                <c:pt idx="138">
                  <c:v>#N/A</c:v>
                </c:pt>
                <c:pt idx="139">
                  <c:v>#N/A</c:v>
                </c:pt>
                <c:pt idx="140">
                  <c:v>#N/A</c:v>
                </c:pt>
                <c:pt idx="141">
                  <c:v>#N/A</c:v>
                </c:pt>
                <c:pt idx="142">
                  <c:v>#N/A</c:v>
                </c:pt>
                <c:pt idx="143">
                  <c:v>#N/A</c:v>
                </c:pt>
                <c:pt idx="144">
                  <c:v>#N/A</c:v>
                </c:pt>
                <c:pt idx="145">
                  <c:v>#N/A</c:v>
                </c:pt>
                <c:pt idx="146">
                  <c:v>#N/A</c:v>
                </c:pt>
                <c:pt idx="147">
                  <c:v>#N/A</c:v>
                </c:pt>
                <c:pt idx="148">
                  <c:v>#N/A</c:v>
                </c:pt>
                <c:pt idx="149">
                  <c:v>#N/A</c:v>
                </c:pt>
                <c:pt idx="150">
                  <c:v>#N/A</c:v>
                </c:pt>
                <c:pt idx="151">
                  <c:v>#N/A</c:v>
                </c:pt>
                <c:pt idx="152">
                  <c:v>#N/A</c:v>
                </c:pt>
                <c:pt idx="153">
                  <c:v>#N/A</c:v>
                </c:pt>
                <c:pt idx="154">
                  <c:v>#N/A</c:v>
                </c:pt>
                <c:pt idx="155">
                  <c:v>#N/A</c:v>
                </c:pt>
                <c:pt idx="156">
                  <c:v>#N/A</c:v>
                </c:pt>
                <c:pt idx="157">
                  <c:v>#N/A</c:v>
                </c:pt>
                <c:pt idx="158">
                  <c:v>#N/A</c:v>
                </c:pt>
                <c:pt idx="159">
                  <c:v>#N/A</c:v>
                </c:pt>
                <c:pt idx="160">
                  <c:v>#N/A</c:v>
                </c:pt>
                <c:pt idx="161">
                  <c:v>#N/A</c:v>
                </c:pt>
                <c:pt idx="162">
                  <c:v>#N/A</c:v>
                </c:pt>
                <c:pt idx="163">
                  <c:v>#N/A</c:v>
                </c:pt>
                <c:pt idx="164">
                  <c:v>#N/A</c:v>
                </c:pt>
                <c:pt idx="165">
                  <c:v>#N/A</c:v>
                </c:pt>
                <c:pt idx="166">
                  <c:v>#N/A</c:v>
                </c:pt>
                <c:pt idx="167">
                  <c:v>#N/A</c:v>
                </c:pt>
                <c:pt idx="168">
                  <c:v>#N/A</c:v>
                </c:pt>
                <c:pt idx="169">
                  <c:v>#N/A</c:v>
                </c:pt>
                <c:pt idx="170">
                  <c:v>#N/A</c:v>
                </c:pt>
                <c:pt idx="171">
                  <c:v>#N/A</c:v>
                </c:pt>
                <c:pt idx="172">
                  <c:v>#N/A</c:v>
                </c:pt>
                <c:pt idx="173">
                  <c:v>#N/A</c:v>
                </c:pt>
                <c:pt idx="174">
                  <c:v>#N/A</c:v>
                </c:pt>
                <c:pt idx="175">
                  <c:v>#N/A</c:v>
                </c:pt>
                <c:pt idx="176">
                  <c:v>#N/A</c:v>
                </c:pt>
                <c:pt idx="177">
                  <c:v>#N/A</c:v>
                </c:pt>
                <c:pt idx="178">
                  <c:v>#N/A</c:v>
                </c:pt>
                <c:pt idx="179">
                  <c:v>#N/A</c:v>
                </c:pt>
                <c:pt idx="180">
                  <c:v>#N/A</c:v>
                </c:pt>
                <c:pt idx="181">
                  <c:v>#N/A</c:v>
                </c:pt>
                <c:pt idx="182">
                  <c:v>#N/A</c:v>
                </c:pt>
                <c:pt idx="183">
                  <c:v>#N/A</c:v>
                </c:pt>
                <c:pt idx="184">
                  <c:v>#N/A</c:v>
                </c:pt>
                <c:pt idx="185">
                  <c:v>#N/A</c:v>
                </c:pt>
                <c:pt idx="186">
                  <c:v>#N/A</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535</c:v>
                </c:pt>
                <c:pt idx="357">
                  <c:v>1555</c:v>
                </c:pt>
                <c:pt idx="358">
                  <c:v>#N/A</c:v>
                </c:pt>
                <c:pt idx="359">
                  <c:v>#N/A</c:v>
                </c:pt>
                <c:pt idx="360">
                  <c:v>1555</c:v>
                </c:pt>
                <c:pt idx="361">
                  <c:v>1360</c:v>
                </c:pt>
                <c:pt idx="362">
                  <c:v>1140</c:v>
                </c:pt>
                <c:pt idx="363">
                  <c:v>1055</c:v>
                </c:pt>
                <c:pt idx="364">
                  <c:v>630</c:v>
                </c:pt>
                <c:pt idx="365">
                  <c:v>#N/A</c:v>
                </c:pt>
              </c:numCache>
            </c:numRef>
          </c:val>
          <c:smooth val="0"/>
          <c:extLst>
            <c:ext xmlns:c16="http://schemas.microsoft.com/office/drawing/2014/chart" uri="{C3380CC4-5D6E-409C-BE32-E72D297353CC}">
              <c16:uniqueId val="{00000000-C006-4C7D-95D8-471BCA4E8490}"/>
            </c:ext>
          </c:extLst>
        </c:ser>
        <c:ser>
          <c:idx val="1"/>
          <c:order val="1"/>
          <c:tx>
            <c:strRef>
              <c:f>主力合约SMM基差!$V$4</c:f>
              <c:strCache>
                <c:ptCount val="1"/>
                <c:pt idx="0">
                  <c:v>2023</c:v>
                </c:pt>
              </c:strCache>
            </c:strRef>
          </c:tx>
          <c:spPr>
            <a:ln w="19050" cap="rnd">
              <a:solidFill>
                <a:schemeClr val="accent4">
                  <a:lumMod val="60000"/>
                  <a:lumOff val="40000"/>
                </a:schemeClr>
              </a:solidFill>
              <a:round/>
            </a:ln>
            <a:effectLst/>
          </c:spPr>
          <c:marker>
            <c:symbol val="none"/>
          </c:marker>
          <c:cat>
            <c:strRef>
              <c:f>主力合约SMM基差!$T$5:$T$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V$5:$V$370</c:f>
              <c:numCache>
                <c:formatCode>#,##0.00_);[Red]\(#,##0.00\)</c:formatCode>
                <c:ptCount val="366"/>
                <c:pt idx="0">
                  <c:v>#N/A</c:v>
                </c:pt>
                <c:pt idx="1">
                  <c:v>#N/A</c:v>
                </c:pt>
                <c:pt idx="2">
                  <c:v>720</c:v>
                </c:pt>
                <c:pt idx="3">
                  <c:v>650</c:v>
                </c:pt>
                <c:pt idx="4">
                  <c:v>660</c:v>
                </c:pt>
                <c:pt idx="5">
                  <c:v>455</c:v>
                </c:pt>
                <c:pt idx="6">
                  <c:v>#N/A</c:v>
                </c:pt>
                <c:pt idx="7">
                  <c:v>#N/A</c:v>
                </c:pt>
                <c:pt idx="8">
                  <c:v>420</c:v>
                </c:pt>
                <c:pt idx="9">
                  <c:v>510</c:v>
                </c:pt>
                <c:pt idx="10">
                  <c:v>690</c:v>
                </c:pt>
                <c:pt idx="11">
                  <c:v>600</c:v>
                </c:pt>
                <c:pt idx="12">
                  <c:v>350</c:v>
                </c:pt>
                <c:pt idx="13">
                  <c:v>#N/A</c:v>
                </c:pt>
                <c:pt idx="14">
                  <c:v>#N/A</c:v>
                </c:pt>
                <c:pt idx="15">
                  <c:v>295</c:v>
                </c:pt>
                <c:pt idx="16">
                  <c:v>165</c:v>
                </c:pt>
                <c:pt idx="17">
                  <c:v>120</c:v>
                </c:pt>
                <c:pt idx="18">
                  <c:v>-495</c:v>
                </c:pt>
                <c:pt idx="19">
                  <c:v>-780</c:v>
                </c:pt>
                <c:pt idx="20">
                  <c:v>#N/A</c:v>
                </c:pt>
                <c:pt idx="21">
                  <c:v>#N/A</c:v>
                </c:pt>
                <c:pt idx="22">
                  <c:v>#N/A</c:v>
                </c:pt>
                <c:pt idx="23">
                  <c:v>#N/A</c:v>
                </c:pt>
                <c:pt idx="24">
                  <c:v>#N/A</c:v>
                </c:pt>
                <c:pt idx="25">
                  <c:v>#N/A</c:v>
                </c:pt>
                <c:pt idx="26">
                  <c:v>#N/A</c:v>
                </c:pt>
                <c:pt idx="27">
                  <c:v>#N/A</c:v>
                </c:pt>
                <c:pt idx="28">
                  <c:v>#N/A</c:v>
                </c:pt>
                <c:pt idx="29">
                  <c:v>-490</c:v>
                </c:pt>
                <c:pt idx="30">
                  <c:v>-400</c:v>
                </c:pt>
                <c:pt idx="31">
                  <c:v>-560</c:v>
                </c:pt>
                <c:pt idx="32">
                  <c:v>-460</c:v>
                </c:pt>
                <c:pt idx="33">
                  <c:v>-595</c:v>
                </c:pt>
                <c:pt idx="34">
                  <c:v>#N/A</c:v>
                </c:pt>
                <c:pt idx="35">
                  <c:v>#N/A</c:v>
                </c:pt>
                <c:pt idx="36">
                  <c:v>-610</c:v>
                </c:pt>
                <c:pt idx="37">
                  <c:v>-590</c:v>
                </c:pt>
                <c:pt idx="38">
                  <c:v>-750</c:v>
                </c:pt>
                <c:pt idx="39">
                  <c:v>-760</c:v>
                </c:pt>
                <c:pt idx="40">
                  <c:v>-585</c:v>
                </c:pt>
                <c:pt idx="41">
                  <c:v>#N/A</c:v>
                </c:pt>
                <c:pt idx="42">
                  <c:v>#N/A</c:v>
                </c:pt>
                <c:pt idx="43">
                  <c:v>-370</c:v>
                </c:pt>
                <c:pt idx="44">
                  <c:v>-355</c:v>
                </c:pt>
                <c:pt idx="45">
                  <c:v>-295</c:v>
                </c:pt>
                <c:pt idx="46">
                  <c:v>0</c:v>
                </c:pt>
                <c:pt idx="47">
                  <c:v>215</c:v>
                </c:pt>
                <c:pt idx="48">
                  <c:v>#N/A</c:v>
                </c:pt>
                <c:pt idx="49">
                  <c:v>#N/A</c:v>
                </c:pt>
                <c:pt idx="50">
                  <c:v>135</c:v>
                </c:pt>
                <c:pt idx="51">
                  <c:v>-80</c:v>
                </c:pt>
                <c:pt idx="52">
                  <c:v>25</c:v>
                </c:pt>
                <c:pt idx="53">
                  <c:v>-35</c:v>
                </c:pt>
                <c:pt idx="54">
                  <c:v>-15</c:v>
                </c:pt>
                <c:pt idx="55">
                  <c:v>#N/A</c:v>
                </c:pt>
                <c:pt idx="56">
                  <c:v>#N/A</c:v>
                </c:pt>
                <c:pt idx="57">
                  <c:v>140</c:v>
                </c:pt>
                <c:pt idx="58">
                  <c:v>25</c:v>
                </c:pt>
                <c:pt idx="60">
                  <c:v>-80</c:v>
                </c:pt>
                <c:pt idx="61">
                  <c:v>-85</c:v>
                </c:pt>
                <c:pt idx="62">
                  <c:v>-55</c:v>
                </c:pt>
                <c:pt idx="63">
                  <c:v>#N/A</c:v>
                </c:pt>
                <c:pt idx="64">
                  <c:v>#N/A</c:v>
                </c:pt>
                <c:pt idx="65">
                  <c:v>35</c:v>
                </c:pt>
                <c:pt idx="66">
                  <c:v>225</c:v>
                </c:pt>
                <c:pt idx="67">
                  <c:v>110</c:v>
                </c:pt>
                <c:pt idx="68">
                  <c:v>195</c:v>
                </c:pt>
                <c:pt idx="69">
                  <c:v>290</c:v>
                </c:pt>
                <c:pt idx="70">
                  <c:v>#N/A</c:v>
                </c:pt>
                <c:pt idx="71">
                  <c:v>#N/A</c:v>
                </c:pt>
                <c:pt idx="72">
                  <c:v>175</c:v>
                </c:pt>
                <c:pt idx="73">
                  <c:v>250</c:v>
                </c:pt>
                <c:pt idx="74">
                  <c:v>290</c:v>
                </c:pt>
                <c:pt idx="75">
                  <c:v>960</c:v>
                </c:pt>
                <c:pt idx="76">
                  <c:v>760</c:v>
                </c:pt>
                <c:pt idx="77">
                  <c:v>#N/A</c:v>
                </c:pt>
                <c:pt idx="78">
                  <c:v>#N/A</c:v>
                </c:pt>
                <c:pt idx="79">
                  <c:v>785</c:v>
                </c:pt>
                <c:pt idx="80">
                  <c:v>945</c:v>
                </c:pt>
                <c:pt idx="81">
                  <c:v>625</c:v>
                </c:pt>
                <c:pt idx="82">
                  <c:v>585</c:v>
                </c:pt>
                <c:pt idx="83">
                  <c:v>515</c:v>
                </c:pt>
                <c:pt idx="84">
                  <c:v>#N/A</c:v>
                </c:pt>
                <c:pt idx="85">
                  <c:v>#N/A</c:v>
                </c:pt>
                <c:pt idx="86">
                  <c:v>515</c:v>
                </c:pt>
                <c:pt idx="87">
                  <c:v>515</c:v>
                </c:pt>
                <c:pt idx="88">
                  <c:v>650</c:v>
                </c:pt>
                <c:pt idx="89">
                  <c:v>685</c:v>
                </c:pt>
                <c:pt idx="90">
                  <c:v>895</c:v>
                </c:pt>
                <c:pt idx="91">
                  <c:v>#N/A</c:v>
                </c:pt>
                <c:pt idx="92">
                  <c:v>#N/A</c:v>
                </c:pt>
                <c:pt idx="93">
                  <c:v>1090</c:v>
                </c:pt>
                <c:pt idx="94">
                  <c:v>1240</c:v>
                </c:pt>
                <c:pt idx="95">
                  <c:v>#N/A</c:v>
                </c:pt>
                <c:pt idx="96">
                  <c:v>840</c:v>
                </c:pt>
                <c:pt idx="97">
                  <c:v>640</c:v>
                </c:pt>
                <c:pt idx="98">
                  <c:v>#N/A</c:v>
                </c:pt>
                <c:pt idx="99">
                  <c:v>#N/A</c:v>
                </c:pt>
                <c:pt idx="100">
                  <c:v>900</c:v>
                </c:pt>
                <c:pt idx="101">
                  <c:v>765</c:v>
                </c:pt>
                <c:pt idx="102">
                  <c:v>465</c:v>
                </c:pt>
                <c:pt idx="103">
                  <c:v>550</c:v>
                </c:pt>
                <c:pt idx="104">
                  <c:v>535</c:v>
                </c:pt>
                <c:pt idx="105">
                  <c:v>#N/A</c:v>
                </c:pt>
                <c:pt idx="106">
                  <c:v>#N/A</c:v>
                </c:pt>
                <c:pt idx="107">
                  <c:v>230</c:v>
                </c:pt>
                <c:pt idx="108">
                  <c:v>125</c:v>
                </c:pt>
                <c:pt idx="109">
                  <c:v>170</c:v>
                </c:pt>
                <c:pt idx="110">
                  <c:v>300</c:v>
                </c:pt>
                <c:pt idx="111">
                  <c:v>240</c:v>
                </c:pt>
                <c:pt idx="112">
                  <c:v>#N/A</c:v>
                </c:pt>
                <c:pt idx="113">
                  <c:v>#N/A</c:v>
                </c:pt>
                <c:pt idx="114">
                  <c:v>255</c:v>
                </c:pt>
                <c:pt idx="115">
                  <c:v>-25</c:v>
                </c:pt>
                <c:pt idx="116">
                  <c:v>40</c:v>
                </c:pt>
                <c:pt idx="117">
                  <c:v>200</c:v>
                </c:pt>
                <c:pt idx="118">
                  <c:v>170</c:v>
                </c:pt>
                <c:pt idx="119">
                  <c:v>#N/A</c:v>
                </c:pt>
                <c:pt idx="120">
                  <c:v>#N/A</c:v>
                </c:pt>
                <c:pt idx="121">
                  <c:v>#N/A</c:v>
                </c:pt>
                <c:pt idx="122">
                  <c:v>#N/A</c:v>
                </c:pt>
                <c:pt idx="123">
                  <c:v>#N/A</c:v>
                </c:pt>
                <c:pt idx="124">
                  <c:v>195</c:v>
                </c:pt>
                <c:pt idx="125">
                  <c:v>5</c:v>
                </c:pt>
                <c:pt idx="126">
                  <c:v>#N/A</c:v>
                </c:pt>
                <c:pt idx="127">
                  <c:v>#N/A</c:v>
                </c:pt>
                <c:pt idx="128">
                  <c:v>-135</c:v>
                </c:pt>
                <c:pt idx="129">
                  <c:v>-110</c:v>
                </c:pt>
                <c:pt idx="130">
                  <c:v>410</c:v>
                </c:pt>
                <c:pt idx="131">
                  <c:v>475</c:v>
                </c:pt>
                <c:pt idx="132">
                  <c:v>710</c:v>
                </c:pt>
                <c:pt idx="133">
                  <c:v>#N/A</c:v>
                </c:pt>
                <c:pt idx="134">
                  <c:v>#N/A</c:v>
                </c:pt>
                <c:pt idx="135">
                  <c:v>670</c:v>
                </c:pt>
                <c:pt idx="136">
                  <c:v>670</c:v>
                </c:pt>
                <c:pt idx="137">
                  <c:v>700</c:v>
                </c:pt>
                <c:pt idx="138">
                  <c:v>690</c:v>
                </c:pt>
                <c:pt idx="139">
                  <c:v>855</c:v>
                </c:pt>
                <c:pt idx="140">
                  <c:v>#N/A</c:v>
                </c:pt>
                <c:pt idx="141">
                  <c:v>#N/A</c:v>
                </c:pt>
                <c:pt idx="142">
                  <c:v>1045</c:v>
                </c:pt>
                <c:pt idx="143">
                  <c:v>620</c:v>
                </c:pt>
                <c:pt idx="144">
                  <c:v>630</c:v>
                </c:pt>
                <c:pt idx="145">
                  <c:v>970</c:v>
                </c:pt>
                <c:pt idx="146">
                  <c:v>710</c:v>
                </c:pt>
                <c:pt idx="147">
                  <c:v>#N/A</c:v>
                </c:pt>
                <c:pt idx="148">
                  <c:v>#N/A</c:v>
                </c:pt>
                <c:pt idx="149">
                  <c:v>630</c:v>
                </c:pt>
                <c:pt idx="150">
                  <c:v>650</c:v>
                </c:pt>
                <c:pt idx="151">
                  <c:v>715</c:v>
                </c:pt>
                <c:pt idx="152">
                  <c:v>535</c:v>
                </c:pt>
                <c:pt idx="153">
                  <c:v>305</c:v>
                </c:pt>
                <c:pt idx="154">
                  <c:v>#N/A</c:v>
                </c:pt>
                <c:pt idx="155">
                  <c:v>#N/A</c:v>
                </c:pt>
                <c:pt idx="156">
                  <c:v>500</c:v>
                </c:pt>
                <c:pt idx="157">
                  <c:v>540</c:v>
                </c:pt>
                <c:pt idx="158">
                  <c:v>820</c:v>
                </c:pt>
                <c:pt idx="159">
                  <c:v>760</c:v>
                </c:pt>
                <c:pt idx="160">
                  <c:v>785</c:v>
                </c:pt>
                <c:pt idx="161">
                  <c:v>#N/A</c:v>
                </c:pt>
                <c:pt idx="162">
                  <c:v>#N/A</c:v>
                </c:pt>
                <c:pt idx="163">
                  <c:v>970</c:v>
                </c:pt>
                <c:pt idx="164">
                  <c:v>875</c:v>
                </c:pt>
                <c:pt idx="165">
                  <c:v>645</c:v>
                </c:pt>
                <c:pt idx="166">
                  <c:v>755</c:v>
                </c:pt>
                <c:pt idx="167">
                  <c:v>620</c:v>
                </c:pt>
                <c:pt idx="168">
                  <c:v>#N/A</c:v>
                </c:pt>
                <c:pt idx="169">
                  <c:v>#N/A</c:v>
                </c:pt>
                <c:pt idx="170">
                  <c:v>-115</c:v>
                </c:pt>
                <c:pt idx="171">
                  <c:v>-590</c:v>
                </c:pt>
                <c:pt idx="172">
                  <c:v>10</c:v>
                </c:pt>
                <c:pt idx="173">
                  <c:v>#N/A</c:v>
                </c:pt>
                <c:pt idx="174">
                  <c:v>#N/A</c:v>
                </c:pt>
                <c:pt idx="175">
                  <c:v>#N/A</c:v>
                </c:pt>
                <c:pt idx="176">
                  <c:v>#N/A</c:v>
                </c:pt>
                <c:pt idx="177">
                  <c:v>130</c:v>
                </c:pt>
                <c:pt idx="178">
                  <c:v>60</c:v>
                </c:pt>
                <c:pt idx="179">
                  <c:v>40</c:v>
                </c:pt>
                <c:pt idx="180">
                  <c:v>-190</c:v>
                </c:pt>
                <c:pt idx="181">
                  <c:v>-85</c:v>
                </c:pt>
                <c:pt idx="182">
                  <c:v>#N/A</c:v>
                </c:pt>
                <c:pt idx="183">
                  <c:v>#N/A</c:v>
                </c:pt>
                <c:pt idx="184">
                  <c:v>-185</c:v>
                </c:pt>
                <c:pt idx="185">
                  <c:v>-55</c:v>
                </c:pt>
                <c:pt idx="186">
                  <c:v>130</c:v>
                </c:pt>
                <c:pt idx="187">
                  <c:v>35</c:v>
                </c:pt>
                <c:pt idx="188">
                  <c:v>30</c:v>
                </c:pt>
                <c:pt idx="189">
                  <c:v>#N/A</c:v>
                </c:pt>
                <c:pt idx="190">
                  <c:v>#N/A</c:v>
                </c:pt>
                <c:pt idx="191">
                  <c:v>-80</c:v>
                </c:pt>
                <c:pt idx="192">
                  <c:v>-130</c:v>
                </c:pt>
                <c:pt idx="193">
                  <c:v>-700</c:v>
                </c:pt>
                <c:pt idx="194">
                  <c:v>-650</c:v>
                </c:pt>
                <c:pt idx="195">
                  <c:v>-765</c:v>
                </c:pt>
                <c:pt idx="196">
                  <c:v>#N/A</c:v>
                </c:pt>
                <c:pt idx="197">
                  <c:v>#N/A</c:v>
                </c:pt>
                <c:pt idx="198">
                  <c:v>-360</c:v>
                </c:pt>
                <c:pt idx="199">
                  <c:v>-425</c:v>
                </c:pt>
                <c:pt idx="200">
                  <c:v>-595</c:v>
                </c:pt>
                <c:pt idx="201">
                  <c:v>-740</c:v>
                </c:pt>
                <c:pt idx="202">
                  <c:v>-465</c:v>
                </c:pt>
                <c:pt idx="203">
                  <c:v>#N/A</c:v>
                </c:pt>
                <c:pt idx="204">
                  <c:v>#N/A</c:v>
                </c:pt>
                <c:pt idx="205">
                  <c:v>-540</c:v>
                </c:pt>
                <c:pt idx="206">
                  <c:v>-655</c:v>
                </c:pt>
                <c:pt idx="207">
                  <c:v>-715</c:v>
                </c:pt>
                <c:pt idx="208">
                  <c:v>-670</c:v>
                </c:pt>
                <c:pt idx="209">
                  <c:v>-710</c:v>
                </c:pt>
                <c:pt idx="210">
                  <c:v>#N/A</c:v>
                </c:pt>
                <c:pt idx="211">
                  <c:v>#N/A</c:v>
                </c:pt>
                <c:pt idx="212">
                  <c:v>-825</c:v>
                </c:pt>
                <c:pt idx="213">
                  <c:v>-845</c:v>
                </c:pt>
                <c:pt idx="214">
                  <c:v>-960</c:v>
                </c:pt>
                <c:pt idx="215">
                  <c:v>-390</c:v>
                </c:pt>
                <c:pt idx="216">
                  <c:v>-430</c:v>
                </c:pt>
                <c:pt idx="217">
                  <c:v>#N/A</c:v>
                </c:pt>
                <c:pt idx="218">
                  <c:v>#N/A</c:v>
                </c:pt>
                <c:pt idx="219">
                  <c:v>-300</c:v>
                </c:pt>
                <c:pt idx="220">
                  <c:v>-285</c:v>
                </c:pt>
                <c:pt idx="221">
                  <c:v>-580</c:v>
                </c:pt>
                <c:pt idx="222">
                  <c:v>-250</c:v>
                </c:pt>
                <c:pt idx="223">
                  <c:v>-165</c:v>
                </c:pt>
                <c:pt idx="224">
                  <c:v>#N/A</c:v>
                </c:pt>
                <c:pt idx="225">
                  <c:v>#N/A</c:v>
                </c:pt>
                <c:pt idx="226">
                  <c:v>20</c:v>
                </c:pt>
                <c:pt idx="227">
                  <c:v>40</c:v>
                </c:pt>
                <c:pt idx="228">
                  <c:v>220</c:v>
                </c:pt>
                <c:pt idx="229">
                  <c:v>145</c:v>
                </c:pt>
                <c:pt idx="230">
                  <c:v>145</c:v>
                </c:pt>
                <c:pt idx="231">
                  <c:v>#N/A</c:v>
                </c:pt>
                <c:pt idx="232">
                  <c:v>#N/A</c:v>
                </c:pt>
                <c:pt idx="233">
                  <c:v>95</c:v>
                </c:pt>
                <c:pt idx="234">
                  <c:v>85</c:v>
                </c:pt>
                <c:pt idx="235">
                  <c:v>150</c:v>
                </c:pt>
                <c:pt idx="236">
                  <c:v>200</c:v>
                </c:pt>
                <c:pt idx="237">
                  <c:v>205</c:v>
                </c:pt>
                <c:pt idx="238">
                  <c:v>#N/A</c:v>
                </c:pt>
                <c:pt idx="239">
                  <c:v>#N/A</c:v>
                </c:pt>
                <c:pt idx="240">
                  <c:v>730</c:v>
                </c:pt>
                <c:pt idx="241">
                  <c:v>635</c:v>
                </c:pt>
                <c:pt idx="242">
                  <c:v>605</c:v>
                </c:pt>
                <c:pt idx="243">
                  <c:v>605</c:v>
                </c:pt>
                <c:pt idx="244">
                  <c:v>370</c:v>
                </c:pt>
                <c:pt idx="245">
                  <c:v>#N/A</c:v>
                </c:pt>
                <c:pt idx="246">
                  <c:v>#N/A</c:v>
                </c:pt>
                <c:pt idx="247">
                  <c:v>390</c:v>
                </c:pt>
                <c:pt idx="248">
                  <c:v>465</c:v>
                </c:pt>
                <c:pt idx="249">
                  <c:v>400</c:v>
                </c:pt>
                <c:pt idx="250">
                  <c:v>580</c:v>
                </c:pt>
                <c:pt idx="251">
                  <c:v>455</c:v>
                </c:pt>
                <c:pt idx="252">
                  <c:v>#N/A</c:v>
                </c:pt>
                <c:pt idx="253">
                  <c:v>#N/A</c:v>
                </c:pt>
                <c:pt idx="254">
                  <c:v>330</c:v>
                </c:pt>
                <c:pt idx="255">
                  <c:v>400</c:v>
                </c:pt>
                <c:pt idx="256">
                  <c:v>710</c:v>
                </c:pt>
                <c:pt idx="257">
                  <c:v>550</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1-C006-4C7D-95D8-471BCA4E8490}"/>
            </c:ext>
          </c:extLst>
        </c:ser>
        <c:ser>
          <c:idx val="2"/>
          <c:order val="2"/>
          <c:tx>
            <c:strRef>
              <c:f>主力合约SMM基差!$W$4</c:f>
              <c:strCache>
                <c:ptCount val="1"/>
                <c:pt idx="0">
                  <c:v>2024</c:v>
                </c:pt>
              </c:strCache>
            </c:strRef>
          </c:tx>
          <c:spPr>
            <a:ln w="28575" cap="rnd">
              <a:solidFill>
                <a:schemeClr val="tx1"/>
              </a:solidFill>
              <a:round/>
            </a:ln>
            <a:effectLst/>
          </c:spPr>
          <c:marker>
            <c:symbol val="none"/>
          </c:marker>
          <c:cat>
            <c:strRef>
              <c:f>主力合约SMM基差!$T$5:$T$370</c:f>
              <c:strCache>
                <c:ptCount val="366"/>
                <c:pt idx="0">
                  <c:v>01-01</c:v>
                </c:pt>
                <c:pt idx="1">
                  <c:v>01-02</c:v>
                </c:pt>
                <c:pt idx="2">
                  <c:v>01-03</c:v>
                </c:pt>
                <c:pt idx="3">
                  <c:v>01-04</c:v>
                </c:pt>
                <c:pt idx="4">
                  <c:v>01-05</c:v>
                </c:pt>
                <c:pt idx="5">
                  <c:v>01-06</c:v>
                </c:pt>
                <c:pt idx="6">
                  <c:v>01-07</c:v>
                </c:pt>
                <c:pt idx="7">
                  <c:v>01-08</c:v>
                </c:pt>
                <c:pt idx="8">
                  <c:v>01-09</c:v>
                </c:pt>
                <c:pt idx="9">
                  <c:v>01-10</c:v>
                </c:pt>
                <c:pt idx="10">
                  <c:v>01-11</c:v>
                </c:pt>
                <c:pt idx="11">
                  <c:v>01-12</c:v>
                </c:pt>
                <c:pt idx="12">
                  <c:v>01-13</c:v>
                </c:pt>
                <c:pt idx="13">
                  <c:v>01-14</c:v>
                </c:pt>
                <c:pt idx="14">
                  <c:v>01-15</c:v>
                </c:pt>
                <c:pt idx="15">
                  <c:v>01-16</c:v>
                </c:pt>
                <c:pt idx="16">
                  <c:v>01-17</c:v>
                </c:pt>
                <c:pt idx="17">
                  <c:v>01-18</c:v>
                </c:pt>
                <c:pt idx="18">
                  <c:v>01-19</c:v>
                </c:pt>
                <c:pt idx="19">
                  <c:v>01-20</c:v>
                </c:pt>
                <c:pt idx="20">
                  <c:v>01-21</c:v>
                </c:pt>
                <c:pt idx="21">
                  <c:v>01-22</c:v>
                </c:pt>
                <c:pt idx="22">
                  <c:v>01-23</c:v>
                </c:pt>
                <c:pt idx="23">
                  <c:v>01-24</c:v>
                </c:pt>
                <c:pt idx="24">
                  <c:v>01-25</c:v>
                </c:pt>
                <c:pt idx="25">
                  <c:v>01-26</c:v>
                </c:pt>
                <c:pt idx="26">
                  <c:v>01-27</c:v>
                </c:pt>
                <c:pt idx="27">
                  <c:v>01-28</c:v>
                </c:pt>
                <c:pt idx="28">
                  <c:v>01-29</c:v>
                </c:pt>
                <c:pt idx="29">
                  <c:v>01-30</c:v>
                </c:pt>
                <c:pt idx="30">
                  <c:v>01-31</c:v>
                </c:pt>
                <c:pt idx="31">
                  <c:v>02-01</c:v>
                </c:pt>
                <c:pt idx="32">
                  <c:v>02-02</c:v>
                </c:pt>
                <c:pt idx="33">
                  <c:v>02-03</c:v>
                </c:pt>
                <c:pt idx="34">
                  <c:v>02-04</c:v>
                </c:pt>
                <c:pt idx="35">
                  <c:v>02-05</c:v>
                </c:pt>
                <c:pt idx="36">
                  <c:v>02-06</c:v>
                </c:pt>
                <c:pt idx="37">
                  <c:v>02-07</c:v>
                </c:pt>
                <c:pt idx="38">
                  <c:v>02-08</c:v>
                </c:pt>
                <c:pt idx="39">
                  <c:v>02-09</c:v>
                </c:pt>
                <c:pt idx="40">
                  <c:v>02-10</c:v>
                </c:pt>
                <c:pt idx="41">
                  <c:v>02-11</c:v>
                </c:pt>
                <c:pt idx="42">
                  <c:v>02-12</c:v>
                </c:pt>
                <c:pt idx="43">
                  <c:v>02-13</c:v>
                </c:pt>
                <c:pt idx="44">
                  <c:v>02-14</c:v>
                </c:pt>
                <c:pt idx="45">
                  <c:v>02-15</c:v>
                </c:pt>
                <c:pt idx="46">
                  <c:v>02-16</c:v>
                </c:pt>
                <c:pt idx="47">
                  <c:v>02-17</c:v>
                </c:pt>
                <c:pt idx="48">
                  <c:v>02-18</c:v>
                </c:pt>
                <c:pt idx="49">
                  <c:v>02-19</c:v>
                </c:pt>
                <c:pt idx="50">
                  <c:v>02-20</c:v>
                </c:pt>
                <c:pt idx="51">
                  <c:v>02-21</c:v>
                </c:pt>
                <c:pt idx="52">
                  <c:v>02-22</c:v>
                </c:pt>
                <c:pt idx="53">
                  <c:v>02-23</c:v>
                </c:pt>
                <c:pt idx="54">
                  <c:v>02-24</c:v>
                </c:pt>
                <c:pt idx="55">
                  <c:v>02-25</c:v>
                </c:pt>
                <c:pt idx="56">
                  <c:v>02-26</c:v>
                </c:pt>
                <c:pt idx="57">
                  <c:v>02-27</c:v>
                </c:pt>
                <c:pt idx="58">
                  <c:v>02-28</c:v>
                </c:pt>
                <c:pt idx="59">
                  <c:v>02-29</c:v>
                </c:pt>
                <c:pt idx="60">
                  <c:v>03-01</c:v>
                </c:pt>
                <c:pt idx="61">
                  <c:v>03-02</c:v>
                </c:pt>
                <c:pt idx="62">
                  <c:v>03-03</c:v>
                </c:pt>
                <c:pt idx="63">
                  <c:v>03-04</c:v>
                </c:pt>
                <c:pt idx="64">
                  <c:v>03-05</c:v>
                </c:pt>
                <c:pt idx="65">
                  <c:v>03-06</c:v>
                </c:pt>
                <c:pt idx="66">
                  <c:v>03-07</c:v>
                </c:pt>
                <c:pt idx="67">
                  <c:v>03-08</c:v>
                </c:pt>
                <c:pt idx="68">
                  <c:v>03-09</c:v>
                </c:pt>
                <c:pt idx="69">
                  <c:v>03-10</c:v>
                </c:pt>
                <c:pt idx="70">
                  <c:v>03-11</c:v>
                </c:pt>
                <c:pt idx="71">
                  <c:v>03-12</c:v>
                </c:pt>
                <c:pt idx="72">
                  <c:v>03-13</c:v>
                </c:pt>
                <c:pt idx="73">
                  <c:v>03-14</c:v>
                </c:pt>
                <c:pt idx="74">
                  <c:v>03-15</c:v>
                </c:pt>
                <c:pt idx="75">
                  <c:v>03-16</c:v>
                </c:pt>
                <c:pt idx="76">
                  <c:v>03-17</c:v>
                </c:pt>
                <c:pt idx="77">
                  <c:v>03-18</c:v>
                </c:pt>
                <c:pt idx="78">
                  <c:v>03-19</c:v>
                </c:pt>
                <c:pt idx="79">
                  <c:v>03-20</c:v>
                </c:pt>
                <c:pt idx="80">
                  <c:v>03-21</c:v>
                </c:pt>
                <c:pt idx="81">
                  <c:v>03-22</c:v>
                </c:pt>
                <c:pt idx="82">
                  <c:v>03-23</c:v>
                </c:pt>
                <c:pt idx="83">
                  <c:v>03-24</c:v>
                </c:pt>
                <c:pt idx="84">
                  <c:v>03-25</c:v>
                </c:pt>
                <c:pt idx="85">
                  <c:v>03-26</c:v>
                </c:pt>
                <c:pt idx="86">
                  <c:v>03-27</c:v>
                </c:pt>
                <c:pt idx="87">
                  <c:v>03-28</c:v>
                </c:pt>
                <c:pt idx="88">
                  <c:v>03-29</c:v>
                </c:pt>
                <c:pt idx="89">
                  <c:v>03-30</c:v>
                </c:pt>
                <c:pt idx="90">
                  <c:v>03-31</c:v>
                </c:pt>
                <c:pt idx="91">
                  <c:v>04-01</c:v>
                </c:pt>
                <c:pt idx="92">
                  <c:v>04-02</c:v>
                </c:pt>
                <c:pt idx="93">
                  <c:v>04-03</c:v>
                </c:pt>
                <c:pt idx="94">
                  <c:v>04-04</c:v>
                </c:pt>
                <c:pt idx="95">
                  <c:v>04-05</c:v>
                </c:pt>
                <c:pt idx="96">
                  <c:v>04-06</c:v>
                </c:pt>
                <c:pt idx="97">
                  <c:v>04-07</c:v>
                </c:pt>
                <c:pt idx="98">
                  <c:v>04-08</c:v>
                </c:pt>
                <c:pt idx="99">
                  <c:v>04-09</c:v>
                </c:pt>
                <c:pt idx="100">
                  <c:v>04-10</c:v>
                </c:pt>
                <c:pt idx="101">
                  <c:v>04-11</c:v>
                </c:pt>
                <c:pt idx="102">
                  <c:v>04-12</c:v>
                </c:pt>
                <c:pt idx="103">
                  <c:v>04-13</c:v>
                </c:pt>
                <c:pt idx="104">
                  <c:v>04-14</c:v>
                </c:pt>
                <c:pt idx="105">
                  <c:v>04-15</c:v>
                </c:pt>
                <c:pt idx="106">
                  <c:v>04-16</c:v>
                </c:pt>
                <c:pt idx="107">
                  <c:v>04-17</c:v>
                </c:pt>
                <c:pt idx="108">
                  <c:v>04-18</c:v>
                </c:pt>
                <c:pt idx="109">
                  <c:v>04-19</c:v>
                </c:pt>
                <c:pt idx="110">
                  <c:v>04-20</c:v>
                </c:pt>
                <c:pt idx="111">
                  <c:v>04-21</c:v>
                </c:pt>
                <c:pt idx="112">
                  <c:v>04-22</c:v>
                </c:pt>
                <c:pt idx="113">
                  <c:v>04-23</c:v>
                </c:pt>
                <c:pt idx="114">
                  <c:v>04-24</c:v>
                </c:pt>
                <c:pt idx="115">
                  <c:v>04-25</c:v>
                </c:pt>
                <c:pt idx="116">
                  <c:v>04-26</c:v>
                </c:pt>
                <c:pt idx="117">
                  <c:v>04-27</c:v>
                </c:pt>
                <c:pt idx="118">
                  <c:v>04-28</c:v>
                </c:pt>
                <c:pt idx="119">
                  <c:v>04-29</c:v>
                </c:pt>
                <c:pt idx="120">
                  <c:v>04-30</c:v>
                </c:pt>
                <c:pt idx="121">
                  <c:v>05-01</c:v>
                </c:pt>
                <c:pt idx="122">
                  <c:v>05-02</c:v>
                </c:pt>
                <c:pt idx="123">
                  <c:v>05-03</c:v>
                </c:pt>
                <c:pt idx="124">
                  <c:v>05-04</c:v>
                </c:pt>
                <c:pt idx="125">
                  <c:v>05-05</c:v>
                </c:pt>
                <c:pt idx="126">
                  <c:v>05-06</c:v>
                </c:pt>
                <c:pt idx="127">
                  <c:v>05-07</c:v>
                </c:pt>
                <c:pt idx="128">
                  <c:v>05-08</c:v>
                </c:pt>
                <c:pt idx="129">
                  <c:v>05-09</c:v>
                </c:pt>
                <c:pt idx="130">
                  <c:v>05-10</c:v>
                </c:pt>
                <c:pt idx="131">
                  <c:v>05-11</c:v>
                </c:pt>
                <c:pt idx="132">
                  <c:v>05-12</c:v>
                </c:pt>
                <c:pt idx="133">
                  <c:v>05-13</c:v>
                </c:pt>
                <c:pt idx="134">
                  <c:v>05-14</c:v>
                </c:pt>
                <c:pt idx="135">
                  <c:v>05-15</c:v>
                </c:pt>
                <c:pt idx="136">
                  <c:v>05-16</c:v>
                </c:pt>
                <c:pt idx="137">
                  <c:v>05-17</c:v>
                </c:pt>
                <c:pt idx="138">
                  <c:v>05-18</c:v>
                </c:pt>
                <c:pt idx="139">
                  <c:v>05-19</c:v>
                </c:pt>
                <c:pt idx="140">
                  <c:v>05-20</c:v>
                </c:pt>
                <c:pt idx="141">
                  <c:v>05-21</c:v>
                </c:pt>
                <c:pt idx="142">
                  <c:v>05-22</c:v>
                </c:pt>
                <c:pt idx="143">
                  <c:v>05-23</c:v>
                </c:pt>
                <c:pt idx="144">
                  <c:v>05-24</c:v>
                </c:pt>
                <c:pt idx="145">
                  <c:v>05-25</c:v>
                </c:pt>
                <c:pt idx="146">
                  <c:v>05-26</c:v>
                </c:pt>
                <c:pt idx="147">
                  <c:v>05-27</c:v>
                </c:pt>
                <c:pt idx="148">
                  <c:v>05-28</c:v>
                </c:pt>
                <c:pt idx="149">
                  <c:v>05-29</c:v>
                </c:pt>
                <c:pt idx="150">
                  <c:v>05-30</c:v>
                </c:pt>
                <c:pt idx="151">
                  <c:v>05-31</c:v>
                </c:pt>
                <c:pt idx="152">
                  <c:v>06-01</c:v>
                </c:pt>
                <c:pt idx="153">
                  <c:v>06-02</c:v>
                </c:pt>
                <c:pt idx="154">
                  <c:v>06-03</c:v>
                </c:pt>
                <c:pt idx="155">
                  <c:v>06-04</c:v>
                </c:pt>
                <c:pt idx="156">
                  <c:v>06-05</c:v>
                </c:pt>
                <c:pt idx="157">
                  <c:v>06-06</c:v>
                </c:pt>
                <c:pt idx="158">
                  <c:v>06-07</c:v>
                </c:pt>
                <c:pt idx="159">
                  <c:v>06-08</c:v>
                </c:pt>
                <c:pt idx="160">
                  <c:v>06-09</c:v>
                </c:pt>
                <c:pt idx="161">
                  <c:v>06-10</c:v>
                </c:pt>
                <c:pt idx="162">
                  <c:v>06-11</c:v>
                </c:pt>
                <c:pt idx="163">
                  <c:v>06-12</c:v>
                </c:pt>
                <c:pt idx="164">
                  <c:v>06-13</c:v>
                </c:pt>
                <c:pt idx="165">
                  <c:v>06-14</c:v>
                </c:pt>
                <c:pt idx="166">
                  <c:v>06-15</c:v>
                </c:pt>
                <c:pt idx="167">
                  <c:v>06-16</c:v>
                </c:pt>
                <c:pt idx="168">
                  <c:v>06-17</c:v>
                </c:pt>
                <c:pt idx="169">
                  <c:v>06-18</c:v>
                </c:pt>
                <c:pt idx="170">
                  <c:v>06-19</c:v>
                </c:pt>
                <c:pt idx="171">
                  <c:v>06-20</c:v>
                </c:pt>
                <c:pt idx="172">
                  <c:v>06-21</c:v>
                </c:pt>
                <c:pt idx="173">
                  <c:v>06-22</c:v>
                </c:pt>
                <c:pt idx="174">
                  <c:v>06-23</c:v>
                </c:pt>
                <c:pt idx="175">
                  <c:v>06-24</c:v>
                </c:pt>
                <c:pt idx="176">
                  <c:v>06-25</c:v>
                </c:pt>
                <c:pt idx="177">
                  <c:v>06-26</c:v>
                </c:pt>
                <c:pt idx="178">
                  <c:v>06-27</c:v>
                </c:pt>
                <c:pt idx="179">
                  <c:v>06-28</c:v>
                </c:pt>
                <c:pt idx="180">
                  <c:v>06-29</c:v>
                </c:pt>
                <c:pt idx="181">
                  <c:v>06-30</c:v>
                </c:pt>
                <c:pt idx="182">
                  <c:v>07-01</c:v>
                </c:pt>
                <c:pt idx="183">
                  <c:v>07-02</c:v>
                </c:pt>
                <c:pt idx="184">
                  <c:v>07-03</c:v>
                </c:pt>
                <c:pt idx="185">
                  <c:v>07-04</c:v>
                </c:pt>
                <c:pt idx="186">
                  <c:v>07-05</c:v>
                </c:pt>
                <c:pt idx="187">
                  <c:v>07-06</c:v>
                </c:pt>
                <c:pt idx="188">
                  <c:v>07-07</c:v>
                </c:pt>
                <c:pt idx="189">
                  <c:v>07-08</c:v>
                </c:pt>
                <c:pt idx="190">
                  <c:v>07-09</c:v>
                </c:pt>
                <c:pt idx="191">
                  <c:v>07-10</c:v>
                </c:pt>
                <c:pt idx="192">
                  <c:v>07-11</c:v>
                </c:pt>
                <c:pt idx="193">
                  <c:v>07-12</c:v>
                </c:pt>
                <c:pt idx="194">
                  <c:v>07-13</c:v>
                </c:pt>
                <c:pt idx="195">
                  <c:v>07-14</c:v>
                </c:pt>
                <c:pt idx="196">
                  <c:v>07-15</c:v>
                </c:pt>
                <c:pt idx="197">
                  <c:v>07-16</c:v>
                </c:pt>
                <c:pt idx="198">
                  <c:v>07-17</c:v>
                </c:pt>
                <c:pt idx="199">
                  <c:v>07-18</c:v>
                </c:pt>
                <c:pt idx="200">
                  <c:v>07-19</c:v>
                </c:pt>
                <c:pt idx="201">
                  <c:v>07-20</c:v>
                </c:pt>
                <c:pt idx="202">
                  <c:v>07-21</c:v>
                </c:pt>
                <c:pt idx="203">
                  <c:v>07-22</c:v>
                </c:pt>
                <c:pt idx="204">
                  <c:v>07-23</c:v>
                </c:pt>
                <c:pt idx="205">
                  <c:v>07-24</c:v>
                </c:pt>
                <c:pt idx="206">
                  <c:v>07-25</c:v>
                </c:pt>
                <c:pt idx="207">
                  <c:v>07-26</c:v>
                </c:pt>
                <c:pt idx="208">
                  <c:v>07-27</c:v>
                </c:pt>
                <c:pt idx="209">
                  <c:v>07-28</c:v>
                </c:pt>
                <c:pt idx="210">
                  <c:v>07-29</c:v>
                </c:pt>
                <c:pt idx="211">
                  <c:v>07-30</c:v>
                </c:pt>
                <c:pt idx="212">
                  <c:v>07-31</c:v>
                </c:pt>
                <c:pt idx="213">
                  <c:v>08-01</c:v>
                </c:pt>
                <c:pt idx="214">
                  <c:v>08-02</c:v>
                </c:pt>
                <c:pt idx="215">
                  <c:v>08-03</c:v>
                </c:pt>
                <c:pt idx="216">
                  <c:v>08-04</c:v>
                </c:pt>
                <c:pt idx="217">
                  <c:v>08-05</c:v>
                </c:pt>
                <c:pt idx="218">
                  <c:v>08-06</c:v>
                </c:pt>
                <c:pt idx="219">
                  <c:v>08-07</c:v>
                </c:pt>
                <c:pt idx="220">
                  <c:v>08-08</c:v>
                </c:pt>
                <c:pt idx="221">
                  <c:v>08-09</c:v>
                </c:pt>
                <c:pt idx="222">
                  <c:v>08-10</c:v>
                </c:pt>
                <c:pt idx="223">
                  <c:v>08-11</c:v>
                </c:pt>
                <c:pt idx="224">
                  <c:v>08-12</c:v>
                </c:pt>
                <c:pt idx="225">
                  <c:v>08-13</c:v>
                </c:pt>
                <c:pt idx="226">
                  <c:v>08-14</c:v>
                </c:pt>
                <c:pt idx="227">
                  <c:v>08-15</c:v>
                </c:pt>
                <c:pt idx="228">
                  <c:v>08-16</c:v>
                </c:pt>
                <c:pt idx="229">
                  <c:v>08-17</c:v>
                </c:pt>
                <c:pt idx="230">
                  <c:v>08-18</c:v>
                </c:pt>
                <c:pt idx="231">
                  <c:v>08-19</c:v>
                </c:pt>
                <c:pt idx="232">
                  <c:v>08-20</c:v>
                </c:pt>
                <c:pt idx="233">
                  <c:v>08-21</c:v>
                </c:pt>
                <c:pt idx="234">
                  <c:v>08-22</c:v>
                </c:pt>
                <c:pt idx="235">
                  <c:v>08-23</c:v>
                </c:pt>
                <c:pt idx="236">
                  <c:v>08-24</c:v>
                </c:pt>
                <c:pt idx="237">
                  <c:v>08-25</c:v>
                </c:pt>
                <c:pt idx="238">
                  <c:v>08-26</c:v>
                </c:pt>
                <c:pt idx="239">
                  <c:v>08-27</c:v>
                </c:pt>
                <c:pt idx="240">
                  <c:v>08-28</c:v>
                </c:pt>
                <c:pt idx="241">
                  <c:v>08-29</c:v>
                </c:pt>
                <c:pt idx="242">
                  <c:v>08-30</c:v>
                </c:pt>
                <c:pt idx="243">
                  <c:v>08-31</c:v>
                </c:pt>
                <c:pt idx="244">
                  <c:v>09-01</c:v>
                </c:pt>
                <c:pt idx="245">
                  <c:v>09-02</c:v>
                </c:pt>
                <c:pt idx="246">
                  <c:v>09-03</c:v>
                </c:pt>
                <c:pt idx="247">
                  <c:v>09-04</c:v>
                </c:pt>
                <c:pt idx="248">
                  <c:v>09-05</c:v>
                </c:pt>
                <c:pt idx="249">
                  <c:v>09-06</c:v>
                </c:pt>
                <c:pt idx="250">
                  <c:v>09-07</c:v>
                </c:pt>
                <c:pt idx="251">
                  <c:v>09-08</c:v>
                </c:pt>
                <c:pt idx="252">
                  <c:v>09-09</c:v>
                </c:pt>
                <c:pt idx="253">
                  <c:v>09-10</c:v>
                </c:pt>
                <c:pt idx="254">
                  <c:v>09-11</c:v>
                </c:pt>
                <c:pt idx="255">
                  <c:v>09-12</c:v>
                </c:pt>
                <c:pt idx="256">
                  <c:v>09-13</c:v>
                </c:pt>
                <c:pt idx="257">
                  <c:v>09-14</c:v>
                </c:pt>
                <c:pt idx="258">
                  <c:v>09-15</c:v>
                </c:pt>
                <c:pt idx="259">
                  <c:v>09-16</c:v>
                </c:pt>
                <c:pt idx="260">
                  <c:v>09-17</c:v>
                </c:pt>
                <c:pt idx="261">
                  <c:v>09-18</c:v>
                </c:pt>
                <c:pt idx="262">
                  <c:v>09-19</c:v>
                </c:pt>
                <c:pt idx="263">
                  <c:v>09-20</c:v>
                </c:pt>
                <c:pt idx="264">
                  <c:v>09-21</c:v>
                </c:pt>
                <c:pt idx="265">
                  <c:v>09-22</c:v>
                </c:pt>
                <c:pt idx="266">
                  <c:v>09-23</c:v>
                </c:pt>
                <c:pt idx="267">
                  <c:v>09-24</c:v>
                </c:pt>
                <c:pt idx="268">
                  <c:v>09-25</c:v>
                </c:pt>
                <c:pt idx="269">
                  <c:v>09-26</c:v>
                </c:pt>
                <c:pt idx="270">
                  <c:v>09-27</c:v>
                </c:pt>
                <c:pt idx="271">
                  <c:v>09-28</c:v>
                </c:pt>
                <c:pt idx="272">
                  <c:v>09-29</c:v>
                </c:pt>
                <c:pt idx="273">
                  <c:v>09-30</c:v>
                </c:pt>
                <c:pt idx="274">
                  <c:v>10-01</c:v>
                </c:pt>
                <c:pt idx="275">
                  <c:v>10-02</c:v>
                </c:pt>
                <c:pt idx="276">
                  <c:v>10-03</c:v>
                </c:pt>
                <c:pt idx="277">
                  <c:v>10-04</c:v>
                </c:pt>
                <c:pt idx="278">
                  <c:v>10-05</c:v>
                </c:pt>
                <c:pt idx="279">
                  <c:v>10-06</c:v>
                </c:pt>
                <c:pt idx="280">
                  <c:v>10-07</c:v>
                </c:pt>
                <c:pt idx="281">
                  <c:v>10-08</c:v>
                </c:pt>
                <c:pt idx="282">
                  <c:v>10-09</c:v>
                </c:pt>
                <c:pt idx="283">
                  <c:v>10-10</c:v>
                </c:pt>
                <c:pt idx="284">
                  <c:v>10-11</c:v>
                </c:pt>
                <c:pt idx="285">
                  <c:v>10-12</c:v>
                </c:pt>
                <c:pt idx="286">
                  <c:v>10-13</c:v>
                </c:pt>
                <c:pt idx="287">
                  <c:v>10-14</c:v>
                </c:pt>
                <c:pt idx="288">
                  <c:v>10-15</c:v>
                </c:pt>
                <c:pt idx="289">
                  <c:v>10-16</c:v>
                </c:pt>
                <c:pt idx="290">
                  <c:v>10-17</c:v>
                </c:pt>
                <c:pt idx="291">
                  <c:v>10-18</c:v>
                </c:pt>
                <c:pt idx="292">
                  <c:v>10-19</c:v>
                </c:pt>
                <c:pt idx="293">
                  <c:v>10-20</c:v>
                </c:pt>
                <c:pt idx="294">
                  <c:v>10-21</c:v>
                </c:pt>
                <c:pt idx="295">
                  <c:v>10-22</c:v>
                </c:pt>
                <c:pt idx="296">
                  <c:v>10-23</c:v>
                </c:pt>
                <c:pt idx="297">
                  <c:v>10-24</c:v>
                </c:pt>
                <c:pt idx="298">
                  <c:v>10-25</c:v>
                </c:pt>
                <c:pt idx="299">
                  <c:v>10-26</c:v>
                </c:pt>
                <c:pt idx="300">
                  <c:v>10-27</c:v>
                </c:pt>
                <c:pt idx="301">
                  <c:v>10-28</c:v>
                </c:pt>
                <c:pt idx="302">
                  <c:v>10-29</c:v>
                </c:pt>
                <c:pt idx="303">
                  <c:v>10-30</c:v>
                </c:pt>
                <c:pt idx="304">
                  <c:v>10-31</c:v>
                </c:pt>
                <c:pt idx="305">
                  <c:v>11-01</c:v>
                </c:pt>
                <c:pt idx="306">
                  <c:v>11-02</c:v>
                </c:pt>
                <c:pt idx="307">
                  <c:v>11-03</c:v>
                </c:pt>
                <c:pt idx="308">
                  <c:v>11-04</c:v>
                </c:pt>
                <c:pt idx="309">
                  <c:v>11-05</c:v>
                </c:pt>
                <c:pt idx="310">
                  <c:v>11-06</c:v>
                </c:pt>
                <c:pt idx="311">
                  <c:v>11-07</c:v>
                </c:pt>
                <c:pt idx="312">
                  <c:v>11-08</c:v>
                </c:pt>
                <c:pt idx="313">
                  <c:v>11-09</c:v>
                </c:pt>
                <c:pt idx="314">
                  <c:v>11-10</c:v>
                </c:pt>
                <c:pt idx="315">
                  <c:v>11-11</c:v>
                </c:pt>
                <c:pt idx="316">
                  <c:v>11-12</c:v>
                </c:pt>
                <c:pt idx="317">
                  <c:v>11-13</c:v>
                </c:pt>
                <c:pt idx="318">
                  <c:v>11-14</c:v>
                </c:pt>
                <c:pt idx="319">
                  <c:v>11-15</c:v>
                </c:pt>
                <c:pt idx="320">
                  <c:v>11-16</c:v>
                </c:pt>
                <c:pt idx="321">
                  <c:v>11-17</c:v>
                </c:pt>
                <c:pt idx="322">
                  <c:v>11-18</c:v>
                </c:pt>
                <c:pt idx="323">
                  <c:v>11-19</c:v>
                </c:pt>
                <c:pt idx="324">
                  <c:v>11-20</c:v>
                </c:pt>
                <c:pt idx="325">
                  <c:v>11-21</c:v>
                </c:pt>
                <c:pt idx="326">
                  <c:v>11-22</c:v>
                </c:pt>
                <c:pt idx="327">
                  <c:v>11-23</c:v>
                </c:pt>
                <c:pt idx="328">
                  <c:v>11-24</c:v>
                </c:pt>
                <c:pt idx="329">
                  <c:v>11-25</c:v>
                </c:pt>
                <c:pt idx="330">
                  <c:v>11-26</c:v>
                </c:pt>
                <c:pt idx="331">
                  <c:v>11-27</c:v>
                </c:pt>
                <c:pt idx="332">
                  <c:v>11-28</c:v>
                </c:pt>
                <c:pt idx="333">
                  <c:v>11-29</c:v>
                </c:pt>
                <c:pt idx="334">
                  <c:v>11-30</c:v>
                </c:pt>
                <c:pt idx="335">
                  <c:v>12-01</c:v>
                </c:pt>
                <c:pt idx="336">
                  <c:v>12-02</c:v>
                </c:pt>
                <c:pt idx="337">
                  <c:v>12-03</c:v>
                </c:pt>
                <c:pt idx="338">
                  <c:v>12-04</c:v>
                </c:pt>
                <c:pt idx="339">
                  <c:v>12-05</c:v>
                </c:pt>
                <c:pt idx="340">
                  <c:v>12-06</c:v>
                </c:pt>
                <c:pt idx="341">
                  <c:v>12-07</c:v>
                </c:pt>
                <c:pt idx="342">
                  <c:v>12-08</c:v>
                </c:pt>
                <c:pt idx="343">
                  <c:v>12-09</c:v>
                </c:pt>
                <c:pt idx="344">
                  <c:v>12-10</c:v>
                </c:pt>
                <c:pt idx="345">
                  <c:v>12-11</c:v>
                </c:pt>
                <c:pt idx="346">
                  <c:v>12-12</c:v>
                </c:pt>
                <c:pt idx="347">
                  <c:v>12-13</c:v>
                </c:pt>
                <c:pt idx="348">
                  <c:v>12-14</c:v>
                </c:pt>
                <c:pt idx="349">
                  <c:v>12-15</c:v>
                </c:pt>
                <c:pt idx="350">
                  <c:v>12-16</c:v>
                </c:pt>
                <c:pt idx="351">
                  <c:v>12-17</c:v>
                </c:pt>
                <c:pt idx="352">
                  <c:v>12-18</c:v>
                </c:pt>
                <c:pt idx="353">
                  <c:v>12-19</c:v>
                </c:pt>
                <c:pt idx="354">
                  <c:v>12-20</c:v>
                </c:pt>
                <c:pt idx="355">
                  <c:v>12-21</c:v>
                </c:pt>
                <c:pt idx="356">
                  <c:v>12-22</c:v>
                </c:pt>
                <c:pt idx="357">
                  <c:v>12-23</c:v>
                </c:pt>
                <c:pt idx="358">
                  <c:v>12-24</c:v>
                </c:pt>
                <c:pt idx="359">
                  <c:v>12-25</c:v>
                </c:pt>
                <c:pt idx="360">
                  <c:v>12-26</c:v>
                </c:pt>
                <c:pt idx="361">
                  <c:v>12-27</c:v>
                </c:pt>
                <c:pt idx="362">
                  <c:v>12-28</c:v>
                </c:pt>
                <c:pt idx="363">
                  <c:v>12-29</c:v>
                </c:pt>
                <c:pt idx="364">
                  <c:v>12-30</c:v>
                </c:pt>
                <c:pt idx="365">
                  <c:v>12-31</c:v>
                </c:pt>
              </c:strCache>
            </c:strRef>
          </c:cat>
          <c:val>
            <c:numRef>
              <c:f>主力合约SMM基差!$W$5:$W$370</c:f>
              <c:numCache>
                <c:formatCode>#,##0.00_);[Red]\(#,##0.00\)</c:formatCode>
                <c:ptCount val="36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1340</c:v>
                </c:pt>
                <c:pt idx="16">
                  <c:v>1595</c:v>
                </c:pt>
                <c:pt idx="17">
                  <c:v>1515</c:v>
                </c:pt>
                <c:pt idx="18">
                  <c:v>1315</c:v>
                </c:pt>
                <c:pt idx="19">
                  <c:v>#N/A</c:v>
                </c:pt>
                <c:pt idx="20">
                  <c:v>#N/A</c:v>
                </c:pt>
                <c:pt idx="21">
                  <c:v>1355</c:v>
                </c:pt>
                <c:pt idx="22">
                  <c:v>1345</c:v>
                </c:pt>
                <c:pt idx="23">
                  <c:v>1390</c:v>
                </c:pt>
                <c:pt idx="24">
                  <c:v>1335</c:v>
                </c:pt>
                <c:pt idx="25">
                  <c:v>1380</c:v>
                </c:pt>
                <c:pt idx="26">
                  <c:v>#N/A</c:v>
                </c:pt>
                <c:pt idx="27">
                  <c:v>#N/A</c:v>
                </c:pt>
                <c:pt idx="28">
                  <c:v>1420</c:v>
                </c:pt>
                <c:pt idx="29">
                  <c:v>1320</c:v>
                </c:pt>
                <c:pt idx="30">
                  <c:v>1495</c:v>
                </c:pt>
                <c:pt idx="31">
                  <c:v>1420</c:v>
                </c:pt>
                <c:pt idx="32">
                  <c:v>1415</c:v>
                </c:pt>
                <c:pt idx="33">
                  <c:v>#N/A</c:v>
                </c:pt>
                <c:pt idx="34">
                  <c:v>#N/A</c:v>
                </c:pt>
                <c:pt idx="35">
                  <c:v>1385</c:v>
                </c:pt>
                <c:pt idx="36">
                  <c:v>1520</c:v>
                </c:pt>
                <c:pt idx="37">
                  <c:v>1235</c:v>
                </c:pt>
                <c:pt idx="38">
                  <c:v>1285</c:v>
                </c:pt>
                <c:pt idx="39">
                  <c:v>#N/A</c:v>
                </c:pt>
                <c:pt idx="40">
                  <c:v>#N/A</c:v>
                </c:pt>
                <c:pt idx="41">
                  <c:v>#N/A</c:v>
                </c:pt>
                <c:pt idx="42">
                  <c:v>#N/A</c:v>
                </c:pt>
                <c:pt idx="43">
                  <c:v>#N/A</c:v>
                </c:pt>
                <c:pt idx="44">
                  <c:v>#N/A</c:v>
                </c:pt>
                <c:pt idx="45">
                  <c:v>#N/A</c:v>
                </c:pt>
                <c:pt idx="46">
                  <c:v>#N/A</c:v>
                </c:pt>
                <c:pt idx="47">
                  <c:v>#N/A</c:v>
                </c:pt>
                <c:pt idx="48">
                  <c:v>#N/A</c:v>
                </c:pt>
                <c:pt idx="49">
                  <c:v>1440</c:v>
                </c:pt>
                <c:pt idx="50">
                  <c:v>1415</c:v>
                </c:pt>
                <c:pt idx="51">
                  <c:v>1375</c:v>
                </c:pt>
                <c:pt idx="52">
                  <c:v>1335</c:v>
                </c:pt>
                <c:pt idx="53">
                  <c:v>1210</c:v>
                </c:pt>
                <c:pt idx="54">
                  <c:v>#N/A</c:v>
                </c:pt>
                <c:pt idx="55">
                  <c:v>#N/A</c:v>
                </c:pt>
                <c:pt idx="56">
                  <c:v>1355</c:v>
                </c:pt>
                <c:pt idx="57">
                  <c:v>1255</c:v>
                </c:pt>
                <c:pt idx="58">
                  <c:v>1240</c:v>
                </c:pt>
                <c:pt idx="59">
                  <c:v>1240</c:v>
                </c:pt>
                <c:pt idx="60">
                  <c:v>1100</c:v>
                </c:pt>
                <c:pt idx="61">
                  <c:v>#N/A</c:v>
                </c:pt>
                <c:pt idx="62">
                  <c:v>#N/A</c:v>
                </c:pt>
                <c:pt idx="63">
                  <c:v>1040</c:v>
                </c:pt>
                <c:pt idx="64">
                  <c:v>1110</c:v>
                </c:pt>
                <c:pt idx="65">
                  <c:v>1210</c:v>
                </c:pt>
                <c:pt idx="66">
                  <c:v>1215</c:v>
                </c:pt>
                <c:pt idx="67">
                  <c:v>1210</c:v>
                </c:pt>
                <c:pt idx="68">
                  <c:v>#N/A</c:v>
                </c:pt>
                <c:pt idx="69">
                  <c:v>#N/A</c:v>
                </c:pt>
                <c:pt idx="70">
                  <c:v>1300</c:v>
                </c:pt>
                <c:pt idx="71">
                  <c:v>1150</c:v>
                </c:pt>
                <c:pt idx="72">
                  <c:v>1170</c:v>
                </c:pt>
                <c:pt idx="73">
                  <c:v>1100</c:v>
                </c:pt>
                <c:pt idx="74">
                  <c:v>1435</c:v>
                </c:pt>
                <c:pt idx="75">
                  <c:v>#N/A</c:v>
                </c:pt>
                <c:pt idx="76">
                  <c:v>#N/A</c:v>
                </c:pt>
                <c:pt idx="77">
                  <c:v>1425</c:v>
                </c:pt>
                <c:pt idx="78">
                  <c:v>1330</c:v>
                </c:pt>
                <c:pt idx="79">
                  <c:v>1240</c:v>
                </c:pt>
                <c:pt idx="80">
                  <c:v>1225</c:v>
                </c:pt>
                <c:pt idx="81">
                  <c:v>1325</c:v>
                </c:pt>
                <c:pt idx="82">
                  <c:v>#N/A</c:v>
                </c:pt>
                <c:pt idx="83">
                  <c:v>#N/A</c:v>
                </c:pt>
                <c:pt idx="84">
                  <c:v>1330</c:v>
                </c:pt>
                <c:pt idx="85">
                  <c:v>1335</c:v>
                </c:pt>
                <c:pt idx="86">
                  <c:v>1400</c:v>
                </c:pt>
                <c:pt idx="87">
                  <c:v>1355</c:v>
                </c:pt>
                <c:pt idx="88">
                  <c:v>1490</c:v>
                </c:pt>
                <c:pt idx="89">
                  <c:v>#N/A</c:v>
                </c:pt>
                <c:pt idx="90">
                  <c:v>#N/A</c:v>
                </c:pt>
                <c:pt idx="91">
                  <c:v>1385</c:v>
                </c:pt>
                <c:pt idx="92">
                  <c:v>1220</c:v>
                </c:pt>
                <c:pt idx="93">
                  <c:v>1160</c:v>
                </c:pt>
                <c:pt idx="94">
                  <c:v>#N/A</c:v>
                </c:pt>
                <c:pt idx="95">
                  <c:v>#N/A</c:v>
                </c:pt>
                <c:pt idx="96">
                  <c:v>#N/A</c:v>
                </c:pt>
                <c:pt idx="97">
                  <c:v>#N/A</c:v>
                </c:pt>
                <c:pt idx="98">
                  <c:v>1005</c:v>
                </c:pt>
                <c:pt idx="99">
                  <c:v>830</c:v>
                </c:pt>
                <c:pt idx="100">
                  <c:v>830</c:v>
                </c:pt>
                <c:pt idx="101">
                  <c:v>910</c:v>
                </c:pt>
                <c:pt idx="102">
                  <c:v>855</c:v>
                </c:pt>
                <c:pt idx="103">
                  <c:v>#N/A</c:v>
                </c:pt>
                <c:pt idx="104">
                  <c:v>#N/A</c:v>
                </c:pt>
                <c:pt idx="105">
                  <c:v>850</c:v>
                </c:pt>
                <c:pt idx="106">
                  <c:v>1100</c:v>
                </c:pt>
                <c:pt idx="107">
                  <c:v>1335</c:v>
                </c:pt>
                <c:pt idx="108">
                  <c:v>1410</c:v>
                </c:pt>
                <c:pt idx="109">
                  <c:v>1510</c:v>
                </c:pt>
                <c:pt idx="110">
                  <c:v>#N/A</c:v>
                </c:pt>
                <c:pt idx="111">
                  <c:v>#N/A</c:v>
                </c:pt>
                <c:pt idx="112">
                  <c:v>1335</c:v>
                </c:pt>
                <c:pt idx="113">
                  <c:v>1340</c:v>
                </c:pt>
                <c:pt idx="114">
                  <c:v>1255</c:v>
                </c:pt>
                <c:pt idx="115">
                  <c:v>1300</c:v>
                </c:pt>
                <c:pt idx="116">
                  <c:v>1280</c:v>
                </c:pt>
                <c:pt idx="117">
                  <c:v>#N/A</c:v>
                </c:pt>
                <c:pt idx="118">
                  <c:v>#N/A</c:v>
                </c:pt>
                <c:pt idx="119">
                  <c:v>1075</c:v>
                </c:pt>
                <c:pt idx="120">
                  <c:v>1080</c:v>
                </c:pt>
                <c:pt idx="121">
                  <c:v>#N/A</c:v>
                </c:pt>
                <c:pt idx="122">
                  <c:v>#N/A</c:v>
                </c:pt>
                <c:pt idx="123">
                  <c:v>#N/A</c:v>
                </c:pt>
                <c:pt idx="124">
                  <c:v>#N/A</c:v>
                </c:pt>
                <c:pt idx="125">
                  <c:v>#N/A</c:v>
                </c:pt>
                <c:pt idx="126">
                  <c:v>1080</c:v>
                </c:pt>
                <c:pt idx="127">
                  <c:v>1095</c:v>
                </c:pt>
                <c:pt idx="128">
                  <c:v>1195</c:v>
                </c:pt>
                <c:pt idx="129">
                  <c:v>1030</c:v>
                </c:pt>
                <c:pt idx="130">
                  <c:v>1145</c:v>
                </c:pt>
                <c:pt idx="131">
                  <c:v>#N/A</c:v>
                </c:pt>
                <c:pt idx="132">
                  <c:v>#N/A</c:v>
                </c:pt>
                <c:pt idx="133">
                  <c:v>1085</c:v>
                </c:pt>
                <c:pt idx="134">
                  <c:v>1325</c:v>
                </c:pt>
                <c:pt idx="135">
                  <c:v>1365</c:v>
                </c:pt>
                <c:pt idx="136">
                  <c:v>1310</c:v>
                </c:pt>
                <c:pt idx="137">
                  <c:v>1160</c:v>
                </c:pt>
                <c:pt idx="138">
                  <c:v>#N/A</c:v>
                </c:pt>
                <c:pt idx="139">
                  <c:v>#N/A</c:v>
                </c:pt>
                <c:pt idx="140">
                  <c:v>985</c:v>
                </c:pt>
                <c:pt idx="141">
                  <c:v>675</c:v>
                </c:pt>
                <c:pt idx="142">
                  <c:v>605</c:v>
                </c:pt>
                <c:pt idx="143">
                  <c:v>720</c:v>
                </c:pt>
                <c:pt idx="144">
                  <c:v>160</c:v>
                </c:pt>
                <c:pt idx="145">
                  <c:v>#N/A</c:v>
                </c:pt>
                <c:pt idx="146">
                  <c:v>#N/A</c:v>
                </c:pt>
                <c:pt idx="147">
                  <c:v>220</c:v>
                </c:pt>
                <c:pt idx="148">
                  <c:v>470</c:v>
                </c:pt>
                <c:pt idx="149">
                  <c:v>585</c:v>
                </c:pt>
                <c:pt idx="150">
                  <c:v>25</c:v>
                </c:pt>
                <c:pt idx="151">
                  <c:v>265</c:v>
                </c:pt>
                <c:pt idx="152">
                  <c:v>#N/A</c:v>
                </c:pt>
                <c:pt idx="153">
                  <c:v>#N/A</c:v>
                </c:pt>
                <c:pt idx="154">
                  <c:v>735</c:v>
                </c:pt>
                <c:pt idx="155">
                  <c:v>580</c:v>
                </c:pt>
                <c:pt idx="156">
                  <c:v>700</c:v>
                </c:pt>
                <c:pt idx="157">
                  <c:v>635</c:v>
                </c:pt>
                <c:pt idx="158">
                  <c:v>795</c:v>
                </c:pt>
                <c:pt idx="159">
                  <c:v>#N/A</c:v>
                </c:pt>
                <c:pt idx="160">
                  <c:v>#N/A</c:v>
                </c:pt>
                <c:pt idx="161">
                  <c:v>#N/A</c:v>
                </c:pt>
                <c:pt idx="162">
                  <c:v>980</c:v>
                </c:pt>
                <c:pt idx="163">
                  <c:v>920</c:v>
                </c:pt>
                <c:pt idx="164">
                  <c:v>940</c:v>
                </c:pt>
                <c:pt idx="165">
                  <c:v>925</c:v>
                </c:pt>
                <c:pt idx="166">
                  <c:v>#N/A</c:v>
                </c:pt>
                <c:pt idx="167">
                  <c:v>#N/A</c:v>
                </c:pt>
                <c:pt idx="168">
                  <c:v>945</c:v>
                </c:pt>
                <c:pt idx="169">
                  <c:v>1115</c:v>
                </c:pt>
                <c:pt idx="170">
                  <c:v>1030</c:v>
                </c:pt>
                <c:pt idx="171">
                  <c:v>995</c:v>
                </c:pt>
                <c:pt idx="172">
                  <c:v>1085</c:v>
                </c:pt>
                <c:pt idx="173">
                  <c:v>#N/A</c:v>
                </c:pt>
                <c:pt idx="174">
                  <c:v>#N/A</c:v>
                </c:pt>
                <c:pt idx="175">
                  <c:v>1650</c:v>
                </c:pt>
                <c:pt idx="176">
                  <c:v>1695</c:v>
                </c:pt>
                <c:pt idx="177">
                  <c:v>1380</c:v>
                </c:pt>
                <c:pt idx="178">
                  <c:v>1385</c:v>
                </c:pt>
                <c:pt idx="179">
                  <c:v>1330</c:v>
                </c:pt>
                <c:pt idx="180">
                  <c:v>#N/A</c:v>
                </c:pt>
                <c:pt idx="181">
                  <c:v>#N/A</c:v>
                </c:pt>
                <c:pt idx="182">
                  <c:v>1245</c:v>
                </c:pt>
                <c:pt idx="183">
                  <c:v>1235</c:v>
                </c:pt>
                <c:pt idx="184">
                  <c:v>1160</c:v>
                </c:pt>
                <c:pt idx="185">
                  <c:v>1270</c:v>
                </c:pt>
                <c:pt idx="186">
                  <c:v>1340</c:v>
                </c:pt>
                <c:pt idx="187">
                  <c:v>#N/A</c:v>
                </c:pt>
                <c:pt idx="188">
                  <c:v>#N/A</c:v>
                </c:pt>
                <c:pt idx="189">
                  <c:v>#N/A</c:v>
                </c:pt>
                <c:pt idx="190">
                  <c:v>#N/A</c:v>
                </c:pt>
                <c:pt idx="191">
                  <c:v>#N/A</c:v>
                </c:pt>
                <c:pt idx="192">
                  <c:v>#N/A</c:v>
                </c:pt>
                <c:pt idx="193">
                  <c:v>#N/A</c:v>
                </c:pt>
                <c:pt idx="194">
                  <c:v>#N/A</c:v>
                </c:pt>
                <c:pt idx="195">
                  <c:v>#N/A</c:v>
                </c:pt>
                <c:pt idx="196">
                  <c:v>#N/A</c:v>
                </c:pt>
                <c:pt idx="197">
                  <c:v>#N/A</c:v>
                </c:pt>
                <c:pt idx="198">
                  <c:v>#N/A</c:v>
                </c:pt>
                <c:pt idx="199">
                  <c:v>#N/A</c:v>
                </c:pt>
                <c:pt idx="200">
                  <c:v>#N/A</c:v>
                </c:pt>
                <c:pt idx="201">
                  <c:v>#N/A</c:v>
                </c:pt>
                <c:pt idx="202">
                  <c:v>#N/A</c:v>
                </c:pt>
                <c:pt idx="203">
                  <c:v>#N/A</c:v>
                </c:pt>
                <c:pt idx="204">
                  <c:v>#N/A</c:v>
                </c:pt>
                <c:pt idx="205">
                  <c:v>#N/A</c:v>
                </c:pt>
                <c:pt idx="206">
                  <c:v>#N/A</c:v>
                </c:pt>
                <c:pt idx="207">
                  <c:v>#N/A</c:v>
                </c:pt>
                <c:pt idx="208">
                  <c:v>#N/A</c:v>
                </c:pt>
                <c:pt idx="209">
                  <c:v>#N/A</c:v>
                </c:pt>
                <c:pt idx="210">
                  <c:v>#N/A</c:v>
                </c:pt>
                <c:pt idx="211">
                  <c:v>#N/A</c:v>
                </c:pt>
                <c:pt idx="212">
                  <c:v>#N/A</c:v>
                </c:pt>
                <c:pt idx="213">
                  <c:v>#N/A</c:v>
                </c:pt>
                <c:pt idx="214">
                  <c:v>#N/A</c:v>
                </c:pt>
                <c:pt idx="215">
                  <c:v>#N/A</c:v>
                </c:pt>
                <c:pt idx="216">
                  <c:v>#N/A</c:v>
                </c:pt>
                <c:pt idx="217">
                  <c:v>#N/A</c:v>
                </c:pt>
                <c:pt idx="218">
                  <c:v>#N/A</c:v>
                </c:pt>
                <c:pt idx="219">
                  <c:v>#N/A</c:v>
                </c:pt>
                <c:pt idx="220">
                  <c:v>#N/A</c:v>
                </c:pt>
                <c:pt idx="221">
                  <c:v>#N/A</c:v>
                </c:pt>
                <c:pt idx="222">
                  <c:v>#N/A</c:v>
                </c:pt>
                <c:pt idx="223">
                  <c:v>#N/A</c:v>
                </c:pt>
                <c:pt idx="224">
                  <c:v>#N/A</c:v>
                </c:pt>
                <c:pt idx="225">
                  <c:v>#N/A</c:v>
                </c:pt>
                <c:pt idx="226">
                  <c:v>#N/A</c:v>
                </c:pt>
                <c:pt idx="227">
                  <c:v>#N/A</c:v>
                </c:pt>
                <c:pt idx="228">
                  <c:v>#N/A</c:v>
                </c:pt>
                <c:pt idx="229">
                  <c:v>#N/A</c:v>
                </c:pt>
                <c:pt idx="230">
                  <c:v>#N/A</c:v>
                </c:pt>
                <c:pt idx="231">
                  <c:v>#N/A</c:v>
                </c:pt>
                <c:pt idx="232">
                  <c:v>#N/A</c:v>
                </c:pt>
                <c:pt idx="233">
                  <c:v>#N/A</c:v>
                </c:pt>
                <c:pt idx="234">
                  <c:v>#N/A</c:v>
                </c:pt>
                <c:pt idx="235">
                  <c:v>#N/A</c:v>
                </c:pt>
                <c:pt idx="236">
                  <c:v>#N/A</c:v>
                </c:pt>
                <c:pt idx="237">
                  <c:v>#N/A</c:v>
                </c:pt>
                <c:pt idx="238">
                  <c:v>#N/A</c:v>
                </c:pt>
                <c:pt idx="239">
                  <c:v>#N/A</c:v>
                </c:pt>
                <c:pt idx="240">
                  <c:v>#N/A</c:v>
                </c:pt>
                <c:pt idx="241">
                  <c:v>#N/A</c:v>
                </c:pt>
                <c:pt idx="242">
                  <c:v>#N/A</c:v>
                </c:pt>
                <c:pt idx="243">
                  <c:v>#N/A</c:v>
                </c:pt>
                <c:pt idx="244">
                  <c:v>#N/A</c:v>
                </c:pt>
                <c:pt idx="245">
                  <c:v>#N/A</c:v>
                </c:pt>
                <c:pt idx="246">
                  <c:v>#N/A</c:v>
                </c:pt>
                <c:pt idx="247">
                  <c:v>#N/A</c:v>
                </c:pt>
                <c:pt idx="248">
                  <c:v>#N/A</c:v>
                </c:pt>
                <c:pt idx="249">
                  <c:v>#N/A</c:v>
                </c:pt>
                <c:pt idx="250">
                  <c:v>#N/A</c:v>
                </c:pt>
                <c:pt idx="251">
                  <c:v>#N/A</c:v>
                </c:pt>
                <c:pt idx="252">
                  <c:v>#N/A</c:v>
                </c:pt>
                <c:pt idx="253">
                  <c:v>#N/A</c:v>
                </c:pt>
                <c:pt idx="254">
                  <c:v>#N/A</c:v>
                </c:pt>
                <c:pt idx="255">
                  <c:v>#N/A</c:v>
                </c:pt>
                <c:pt idx="256">
                  <c:v>#N/A</c:v>
                </c:pt>
                <c:pt idx="257">
                  <c:v>#N/A</c:v>
                </c:pt>
                <c:pt idx="258">
                  <c:v>#N/A</c:v>
                </c:pt>
                <c:pt idx="259">
                  <c:v>#N/A</c:v>
                </c:pt>
                <c:pt idx="260">
                  <c:v>#N/A</c:v>
                </c:pt>
                <c:pt idx="261">
                  <c:v>#N/A</c:v>
                </c:pt>
                <c:pt idx="262">
                  <c:v>#N/A</c:v>
                </c:pt>
                <c:pt idx="263">
                  <c:v>#N/A</c:v>
                </c:pt>
                <c:pt idx="264">
                  <c:v>#N/A</c:v>
                </c:pt>
                <c:pt idx="265">
                  <c:v>#N/A</c:v>
                </c:pt>
                <c:pt idx="266">
                  <c:v>#N/A</c:v>
                </c:pt>
                <c:pt idx="267">
                  <c:v>#N/A</c:v>
                </c:pt>
                <c:pt idx="268">
                  <c:v>#N/A</c:v>
                </c:pt>
                <c:pt idx="269">
                  <c:v>#N/A</c:v>
                </c:pt>
                <c:pt idx="270">
                  <c:v>#N/A</c:v>
                </c:pt>
                <c:pt idx="271">
                  <c:v>#N/A</c:v>
                </c:pt>
                <c:pt idx="272">
                  <c:v>#N/A</c:v>
                </c:pt>
                <c:pt idx="273">
                  <c:v>#N/A</c:v>
                </c:pt>
                <c:pt idx="274">
                  <c:v>#N/A</c:v>
                </c:pt>
                <c:pt idx="275">
                  <c:v>#N/A</c:v>
                </c:pt>
                <c:pt idx="276">
                  <c:v>#N/A</c:v>
                </c:pt>
                <c:pt idx="277">
                  <c:v>#N/A</c:v>
                </c:pt>
                <c:pt idx="278">
                  <c:v>#N/A</c:v>
                </c:pt>
                <c:pt idx="279">
                  <c:v>#N/A</c:v>
                </c:pt>
                <c:pt idx="280">
                  <c:v>#N/A</c:v>
                </c:pt>
                <c:pt idx="281">
                  <c:v>#N/A</c:v>
                </c:pt>
                <c:pt idx="282">
                  <c:v>#N/A</c:v>
                </c:pt>
                <c:pt idx="283">
                  <c:v>#N/A</c:v>
                </c:pt>
                <c:pt idx="284">
                  <c:v>#N/A</c:v>
                </c:pt>
                <c:pt idx="285">
                  <c:v>#N/A</c:v>
                </c:pt>
                <c:pt idx="286">
                  <c:v>#N/A</c:v>
                </c:pt>
                <c:pt idx="287">
                  <c:v>#N/A</c:v>
                </c:pt>
                <c:pt idx="288">
                  <c:v>#N/A</c:v>
                </c:pt>
                <c:pt idx="289">
                  <c:v>#N/A</c:v>
                </c:pt>
                <c:pt idx="290">
                  <c:v>#N/A</c:v>
                </c:pt>
                <c:pt idx="291">
                  <c:v>#N/A</c:v>
                </c:pt>
                <c:pt idx="292">
                  <c:v>#N/A</c:v>
                </c:pt>
                <c:pt idx="293">
                  <c:v>#N/A</c:v>
                </c:pt>
                <c:pt idx="294">
                  <c:v>#N/A</c:v>
                </c:pt>
                <c:pt idx="295">
                  <c:v>#N/A</c:v>
                </c:pt>
                <c:pt idx="296">
                  <c:v>#N/A</c:v>
                </c:pt>
                <c:pt idx="297">
                  <c:v>#N/A</c:v>
                </c:pt>
                <c:pt idx="298">
                  <c:v>#N/A</c:v>
                </c:pt>
                <c:pt idx="299">
                  <c:v>#N/A</c:v>
                </c:pt>
                <c:pt idx="300">
                  <c:v>#N/A</c:v>
                </c:pt>
                <c:pt idx="301">
                  <c:v>#N/A</c:v>
                </c:pt>
                <c:pt idx="302">
                  <c:v>#N/A</c:v>
                </c:pt>
                <c:pt idx="303">
                  <c:v>#N/A</c:v>
                </c:pt>
                <c:pt idx="304">
                  <c:v>#N/A</c:v>
                </c:pt>
                <c:pt idx="305">
                  <c:v>#N/A</c:v>
                </c:pt>
                <c:pt idx="306">
                  <c:v>#N/A</c:v>
                </c:pt>
                <c:pt idx="307">
                  <c:v>#N/A</c:v>
                </c:pt>
                <c:pt idx="308">
                  <c:v>#N/A</c:v>
                </c:pt>
                <c:pt idx="309">
                  <c:v>#N/A</c:v>
                </c:pt>
                <c:pt idx="310">
                  <c:v>#N/A</c:v>
                </c:pt>
                <c:pt idx="311">
                  <c:v>#N/A</c:v>
                </c:pt>
                <c:pt idx="312">
                  <c:v>#N/A</c:v>
                </c:pt>
                <c:pt idx="313">
                  <c:v>#N/A</c:v>
                </c:pt>
                <c:pt idx="314">
                  <c:v>#N/A</c:v>
                </c:pt>
                <c:pt idx="315">
                  <c:v>#N/A</c:v>
                </c:pt>
                <c:pt idx="316">
                  <c:v>#N/A</c:v>
                </c:pt>
                <c:pt idx="317">
                  <c:v>#N/A</c:v>
                </c:pt>
                <c:pt idx="318">
                  <c:v>#N/A</c:v>
                </c:pt>
                <c:pt idx="319">
                  <c:v>#N/A</c:v>
                </c:pt>
                <c:pt idx="320">
                  <c:v>#N/A</c:v>
                </c:pt>
                <c:pt idx="321">
                  <c:v>#N/A</c:v>
                </c:pt>
                <c:pt idx="322">
                  <c:v>#N/A</c:v>
                </c:pt>
                <c:pt idx="323">
                  <c:v>#N/A</c:v>
                </c:pt>
                <c:pt idx="324">
                  <c:v>#N/A</c:v>
                </c:pt>
                <c:pt idx="325">
                  <c:v>#N/A</c:v>
                </c:pt>
                <c:pt idx="326">
                  <c:v>#N/A</c:v>
                </c:pt>
                <c:pt idx="327">
                  <c:v>#N/A</c:v>
                </c:pt>
                <c:pt idx="328">
                  <c:v>#N/A</c:v>
                </c:pt>
                <c:pt idx="329">
                  <c:v>#N/A</c:v>
                </c:pt>
                <c:pt idx="330">
                  <c:v>#N/A</c:v>
                </c:pt>
                <c:pt idx="331">
                  <c:v>#N/A</c:v>
                </c:pt>
                <c:pt idx="332">
                  <c:v>#N/A</c:v>
                </c:pt>
                <c:pt idx="333">
                  <c:v>#N/A</c:v>
                </c:pt>
                <c:pt idx="334">
                  <c:v>#N/A</c:v>
                </c:pt>
                <c:pt idx="335">
                  <c:v>#N/A</c:v>
                </c:pt>
                <c:pt idx="336">
                  <c:v>#N/A</c:v>
                </c:pt>
                <c:pt idx="337">
                  <c:v>#N/A</c:v>
                </c:pt>
                <c:pt idx="338">
                  <c:v>#N/A</c:v>
                </c:pt>
                <c:pt idx="339">
                  <c:v>#N/A</c:v>
                </c:pt>
                <c:pt idx="340">
                  <c:v>#N/A</c:v>
                </c:pt>
                <c:pt idx="341">
                  <c:v>#N/A</c:v>
                </c:pt>
                <c:pt idx="342">
                  <c:v>#N/A</c:v>
                </c:pt>
                <c:pt idx="343">
                  <c:v>#N/A</c:v>
                </c:pt>
                <c:pt idx="344">
                  <c:v>#N/A</c:v>
                </c:pt>
                <c:pt idx="345">
                  <c:v>#N/A</c:v>
                </c:pt>
                <c:pt idx="346">
                  <c:v>#N/A</c:v>
                </c:pt>
                <c:pt idx="347">
                  <c:v>#N/A</c:v>
                </c:pt>
                <c:pt idx="348">
                  <c:v>#N/A</c:v>
                </c:pt>
                <c:pt idx="349">
                  <c:v>#N/A</c:v>
                </c:pt>
                <c:pt idx="350">
                  <c:v>#N/A</c:v>
                </c:pt>
                <c:pt idx="351">
                  <c:v>#N/A</c:v>
                </c:pt>
                <c:pt idx="352">
                  <c:v>#N/A</c:v>
                </c:pt>
                <c:pt idx="353">
                  <c:v>#N/A</c:v>
                </c:pt>
                <c:pt idx="354">
                  <c:v>#N/A</c:v>
                </c:pt>
                <c:pt idx="355">
                  <c:v>#N/A</c:v>
                </c:pt>
                <c:pt idx="356">
                  <c:v>#N/A</c:v>
                </c:pt>
                <c:pt idx="357">
                  <c:v>#N/A</c:v>
                </c:pt>
                <c:pt idx="358">
                  <c:v>#N/A</c:v>
                </c:pt>
                <c:pt idx="359">
                  <c:v>#N/A</c:v>
                </c:pt>
                <c:pt idx="360">
                  <c:v>#N/A</c:v>
                </c:pt>
                <c:pt idx="361">
                  <c:v>#N/A</c:v>
                </c:pt>
                <c:pt idx="362">
                  <c:v>#N/A</c:v>
                </c:pt>
                <c:pt idx="363">
                  <c:v>#N/A</c:v>
                </c:pt>
                <c:pt idx="364">
                  <c:v>#N/A</c:v>
                </c:pt>
                <c:pt idx="365">
                  <c:v>#N/A</c:v>
                </c:pt>
              </c:numCache>
            </c:numRef>
          </c:val>
          <c:smooth val="0"/>
          <c:extLst>
            <c:ext xmlns:c16="http://schemas.microsoft.com/office/drawing/2014/chart" uri="{C3380CC4-5D6E-409C-BE32-E72D297353CC}">
              <c16:uniqueId val="{00000002-C006-4C7D-95D8-471BCA4E8490}"/>
            </c:ext>
          </c:extLst>
        </c:ser>
        <c:dLbls>
          <c:showLegendKey val="0"/>
          <c:showVal val="0"/>
          <c:showCatName val="0"/>
          <c:showSerName val="0"/>
          <c:showPercent val="0"/>
          <c:showBubbleSize val="0"/>
        </c:dLbls>
        <c:smooth val="0"/>
        <c:axId val="884080543"/>
        <c:axId val="884078047"/>
      </c:lineChart>
      <c:catAx>
        <c:axId val="884080543"/>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884078047"/>
        <c:crosses val="autoZero"/>
        <c:auto val="1"/>
        <c:lblAlgn val="ctr"/>
        <c:lblOffset val="100"/>
        <c:noMultiLvlLbl val="0"/>
      </c:catAx>
      <c:valAx>
        <c:axId val="884078047"/>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crossAx val="884080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ea"/>
              <a:ea typeface="+mn-ea"/>
              <a:cs typeface="+mn-cs"/>
            </a:defRPr>
          </a:pPr>
          <a:endParaRPr lang="zh-CN"/>
        </a:p>
      </c:txPr>
    </c:legend>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mn-ea"/>
          <a:ea typeface="+mn-ea"/>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E37373BC-CB98-4FD0-928D-7A8A86B7713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646BAE66-3903-42FC-ACA3-C50743D73B3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BA6E652-81FB-41B9-9583-4627987CE813}" type="datetimeFigureOut">
              <a:rPr lang="zh-CN" altLang="en-US" smtClean="0"/>
              <a:t>2024/7/4</a:t>
            </a:fld>
            <a:endParaRPr lang="zh-CN" altLang="en-US"/>
          </a:p>
        </p:txBody>
      </p:sp>
      <p:sp>
        <p:nvSpPr>
          <p:cNvPr id="4" name="页脚占位符 3">
            <a:extLst>
              <a:ext uri="{FF2B5EF4-FFF2-40B4-BE49-F238E27FC236}">
                <a16:creationId xmlns:a16="http://schemas.microsoft.com/office/drawing/2014/main" id="{B57CA771-9E69-4ECA-9F18-D56A4ABADA1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648D831E-E1B4-4A1D-BBD3-4F1C8BC4F7D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D3EABE-13D6-4B19-89FA-CF7CB3EE6F29}" type="slidenum">
              <a:rPr lang="zh-CN" altLang="en-US" smtClean="0"/>
              <a:t>‹#›</a:t>
            </a:fld>
            <a:endParaRPr lang="zh-CN" altLang="en-US"/>
          </a:p>
        </p:txBody>
      </p:sp>
    </p:spTree>
    <p:extLst>
      <p:ext uri="{BB962C8B-B14F-4D97-AF65-F5344CB8AC3E}">
        <p14:creationId xmlns:p14="http://schemas.microsoft.com/office/powerpoint/2010/main" val="1967982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A05CAE-8D99-4C62-B566-445C9B21EFAA}" type="datetimeFigureOut">
              <a:rPr lang="zh-CN" altLang="en-US" smtClean="0"/>
              <a:t>2024/7/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70D0EB-B5B0-4794-B830-F0F95BA954FE}" type="slidenum">
              <a:rPr lang="zh-CN" altLang="en-US" smtClean="0"/>
              <a:t>‹#›</a:t>
            </a:fld>
            <a:endParaRPr lang="zh-CN" altLang="en-US"/>
          </a:p>
        </p:txBody>
      </p:sp>
    </p:spTree>
    <p:extLst>
      <p:ext uri="{BB962C8B-B14F-4D97-AF65-F5344CB8AC3E}">
        <p14:creationId xmlns:p14="http://schemas.microsoft.com/office/powerpoint/2010/main" val="20799958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870D0EB-B5B0-4794-B830-F0F95BA954FE}" type="slidenum">
              <a:rPr lang="zh-CN" altLang="en-US" smtClean="0"/>
              <a:t>1</a:t>
            </a:fld>
            <a:endParaRPr lang="zh-CN" altLang="en-US"/>
          </a:p>
        </p:txBody>
      </p:sp>
    </p:spTree>
    <p:extLst>
      <p:ext uri="{BB962C8B-B14F-4D97-AF65-F5344CB8AC3E}">
        <p14:creationId xmlns:p14="http://schemas.microsoft.com/office/powerpoint/2010/main" val="37779092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870D0EB-B5B0-4794-B830-F0F95BA954FE}" type="slidenum">
              <a:rPr lang="zh-CN" altLang="en-US" smtClean="0"/>
              <a:t>12</a:t>
            </a:fld>
            <a:endParaRPr lang="zh-CN" altLang="en-US"/>
          </a:p>
        </p:txBody>
      </p:sp>
    </p:spTree>
    <p:extLst>
      <p:ext uri="{BB962C8B-B14F-4D97-AF65-F5344CB8AC3E}">
        <p14:creationId xmlns:p14="http://schemas.microsoft.com/office/powerpoint/2010/main" val="20673306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870D0EB-B5B0-4794-B830-F0F95BA954FE}" type="slidenum">
              <a:rPr lang="zh-CN" altLang="en-US" smtClean="0"/>
              <a:t>13</a:t>
            </a:fld>
            <a:endParaRPr lang="zh-CN" altLang="en-US"/>
          </a:p>
        </p:txBody>
      </p:sp>
    </p:spTree>
    <p:extLst>
      <p:ext uri="{BB962C8B-B14F-4D97-AF65-F5344CB8AC3E}">
        <p14:creationId xmlns:p14="http://schemas.microsoft.com/office/powerpoint/2010/main" val="5705930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a:extLst>
              <a:ext uri="{FF2B5EF4-FFF2-40B4-BE49-F238E27FC236}">
                <a16:creationId xmlns:a16="http://schemas.microsoft.com/office/drawing/2014/main" id="{244E98F4-D7D7-4335-BF09-88302A29CEB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备注占位符 2">
            <a:extLst>
              <a:ext uri="{FF2B5EF4-FFF2-40B4-BE49-F238E27FC236}">
                <a16:creationId xmlns:a16="http://schemas.microsoft.com/office/drawing/2014/main" id="{5654ABC0-2F19-4B85-B10A-0C18E397B55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7172" name="灯片编号占位符 3">
            <a:extLst>
              <a:ext uri="{FF2B5EF4-FFF2-40B4-BE49-F238E27FC236}">
                <a16:creationId xmlns:a16="http://schemas.microsoft.com/office/drawing/2014/main" id="{DD6A1EA0-5A01-4689-90B5-23A6D471771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fld id="{9182ABCB-B29E-4B23-81B5-FD6C329336CC}" type="slidenum">
              <a:rPr lang="zh-CN" altLang="en-US" smtClean="0"/>
              <a:pPr/>
              <a:t>14</a:t>
            </a:fld>
            <a:endParaRPr lang="zh-CN" altLang="en-US"/>
          </a:p>
        </p:txBody>
      </p:sp>
    </p:spTree>
    <p:extLst>
      <p:ext uri="{BB962C8B-B14F-4D97-AF65-F5344CB8AC3E}">
        <p14:creationId xmlns:p14="http://schemas.microsoft.com/office/powerpoint/2010/main" val="41872077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幻灯片图像占位符 1">
            <a:extLst>
              <a:ext uri="{FF2B5EF4-FFF2-40B4-BE49-F238E27FC236}">
                <a16:creationId xmlns:a16="http://schemas.microsoft.com/office/drawing/2014/main" id="{621F6D0B-A2F2-4103-A79A-D1134B9C3D8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备注占位符 2">
            <a:extLst>
              <a:ext uri="{FF2B5EF4-FFF2-40B4-BE49-F238E27FC236}">
                <a16:creationId xmlns:a16="http://schemas.microsoft.com/office/drawing/2014/main" id="{3882E801-A1CB-4F83-B05A-6B623D69CC8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dirty="0"/>
          </a:p>
        </p:txBody>
      </p:sp>
      <p:sp>
        <p:nvSpPr>
          <p:cNvPr id="12292" name="灯片编号占位符 3">
            <a:extLst>
              <a:ext uri="{FF2B5EF4-FFF2-40B4-BE49-F238E27FC236}">
                <a16:creationId xmlns:a16="http://schemas.microsoft.com/office/drawing/2014/main" id="{D488E667-9655-48B1-93F9-AC96E104AB0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0" hangingPunct="0"/>
            <a:fld id="{64A3D018-BDE9-4D88-B22A-EF3A024C59CE}" type="slidenum">
              <a:rPr lang="zh-CN" altLang="en-US" smtClean="0">
                <a:solidFill>
                  <a:srgbClr val="000000"/>
                </a:solidFill>
              </a:rPr>
              <a:pPr eaLnBrk="0" hangingPunct="0"/>
              <a:t>15</a:t>
            </a:fld>
            <a:endParaRPr lang="zh-CN" altLang="en-US">
              <a:solidFill>
                <a:srgbClr val="000000"/>
              </a:solidFill>
            </a:endParaRPr>
          </a:p>
        </p:txBody>
      </p:sp>
    </p:spTree>
    <p:extLst>
      <p:ext uri="{BB962C8B-B14F-4D97-AF65-F5344CB8AC3E}">
        <p14:creationId xmlns:p14="http://schemas.microsoft.com/office/powerpoint/2010/main" val="35592199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a:extLst>
              <a:ext uri="{FF2B5EF4-FFF2-40B4-BE49-F238E27FC236}">
                <a16:creationId xmlns:a16="http://schemas.microsoft.com/office/drawing/2014/main" id="{244E98F4-D7D7-4335-BF09-88302A29CEB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备注占位符 2">
            <a:extLst>
              <a:ext uri="{FF2B5EF4-FFF2-40B4-BE49-F238E27FC236}">
                <a16:creationId xmlns:a16="http://schemas.microsoft.com/office/drawing/2014/main" id="{5654ABC0-2F19-4B85-B10A-0C18E397B55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7172" name="灯片编号占位符 3">
            <a:extLst>
              <a:ext uri="{FF2B5EF4-FFF2-40B4-BE49-F238E27FC236}">
                <a16:creationId xmlns:a16="http://schemas.microsoft.com/office/drawing/2014/main" id="{DD6A1EA0-5A01-4689-90B5-23A6D471771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fld id="{9182ABCB-B29E-4B23-81B5-FD6C329336CC}" type="slidenum">
              <a:rPr lang="zh-CN" altLang="en-US" smtClean="0"/>
              <a:pPr/>
              <a:t>18</a:t>
            </a:fld>
            <a:endParaRPr lang="zh-CN" altLang="en-US"/>
          </a:p>
        </p:txBody>
      </p:sp>
    </p:spTree>
    <p:extLst>
      <p:ext uri="{BB962C8B-B14F-4D97-AF65-F5344CB8AC3E}">
        <p14:creationId xmlns:p14="http://schemas.microsoft.com/office/powerpoint/2010/main" val="23717661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870D0EB-B5B0-4794-B830-F0F95BA954FE}" type="slidenum">
              <a:rPr lang="zh-CN" altLang="en-US" smtClean="0"/>
              <a:t>19</a:t>
            </a:fld>
            <a:endParaRPr lang="zh-CN" altLang="en-US"/>
          </a:p>
        </p:txBody>
      </p:sp>
    </p:spTree>
    <p:extLst>
      <p:ext uri="{BB962C8B-B14F-4D97-AF65-F5344CB8AC3E}">
        <p14:creationId xmlns:p14="http://schemas.microsoft.com/office/powerpoint/2010/main" val="25143101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a:extLst>
              <a:ext uri="{FF2B5EF4-FFF2-40B4-BE49-F238E27FC236}">
                <a16:creationId xmlns:a16="http://schemas.microsoft.com/office/drawing/2014/main" id="{244E98F4-D7D7-4335-BF09-88302A29CEB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备注占位符 2">
            <a:extLst>
              <a:ext uri="{FF2B5EF4-FFF2-40B4-BE49-F238E27FC236}">
                <a16:creationId xmlns:a16="http://schemas.microsoft.com/office/drawing/2014/main" id="{5654ABC0-2F19-4B85-B10A-0C18E397B55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7172" name="灯片编号占位符 3">
            <a:extLst>
              <a:ext uri="{FF2B5EF4-FFF2-40B4-BE49-F238E27FC236}">
                <a16:creationId xmlns:a16="http://schemas.microsoft.com/office/drawing/2014/main" id="{DD6A1EA0-5A01-4689-90B5-23A6D471771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fld id="{9182ABCB-B29E-4B23-81B5-FD6C329336CC}" type="slidenum">
              <a:rPr lang="zh-CN" altLang="en-US" smtClean="0"/>
              <a:pPr/>
              <a:t>20</a:t>
            </a:fld>
            <a:endParaRPr lang="zh-CN" altLang="en-US"/>
          </a:p>
        </p:txBody>
      </p:sp>
    </p:spTree>
    <p:extLst>
      <p:ext uri="{BB962C8B-B14F-4D97-AF65-F5344CB8AC3E}">
        <p14:creationId xmlns:p14="http://schemas.microsoft.com/office/powerpoint/2010/main" val="19480155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70D0EB-B5B0-4794-B830-F0F95BA954FE}"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871199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幻灯片图像占位符 1">
            <a:extLst>
              <a:ext uri="{FF2B5EF4-FFF2-40B4-BE49-F238E27FC236}">
                <a16:creationId xmlns:a16="http://schemas.microsoft.com/office/drawing/2014/main" id="{C3FA136A-FE60-4752-AE4C-D1005033F23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备注占位符 2">
            <a:extLst>
              <a:ext uri="{FF2B5EF4-FFF2-40B4-BE49-F238E27FC236}">
                <a16:creationId xmlns:a16="http://schemas.microsoft.com/office/drawing/2014/main" id="{996C115C-AB3E-4FC9-B7A9-808305F9063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69636" name="灯片编号占位符 3">
            <a:extLst>
              <a:ext uri="{FF2B5EF4-FFF2-40B4-BE49-F238E27FC236}">
                <a16:creationId xmlns:a16="http://schemas.microsoft.com/office/drawing/2014/main" id="{EB1D199A-2786-4E41-8C97-885F11D2FC3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fld id="{CA329988-5DBD-44BE-8E41-CF3FBA10FFC4}" type="slidenum">
              <a:rPr lang="zh-CN" altLang="en-US" smtClean="0"/>
              <a:pPr/>
              <a:t>23</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a:extLst>
              <a:ext uri="{FF2B5EF4-FFF2-40B4-BE49-F238E27FC236}">
                <a16:creationId xmlns:a16="http://schemas.microsoft.com/office/drawing/2014/main" id="{244E98F4-D7D7-4335-BF09-88302A29CEB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备注占位符 2">
            <a:extLst>
              <a:ext uri="{FF2B5EF4-FFF2-40B4-BE49-F238E27FC236}">
                <a16:creationId xmlns:a16="http://schemas.microsoft.com/office/drawing/2014/main" id="{5654ABC0-2F19-4B85-B10A-0C18E397B55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7172" name="灯片编号占位符 3">
            <a:extLst>
              <a:ext uri="{FF2B5EF4-FFF2-40B4-BE49-F238E27FC236}">
                <a16:creationId xmlns:a16="http://schemas.microsoft.com/office/drawing/2014/main" id="{DD6A1EA0-5A01-4689-90B5-23A6D471771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fld id="{9182ABCB-B29E-4B23-81B5-FD6C329336CC}" type="slidenum">
              <a:rPr lang="zh-CN" altLang="en-US" smtClean="0"/>
              <a:pPr/>
              <a:t>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FD1E3519-AA41-4C8F-81B1-98F81BDCD14B}" type="slidenum">
              <a:rPr lang="zh-CN" altLang="en-US" smtClean="0"/>
              <a:t>3</a:t>
            </a:fld>
            <a:endParaRPr lang="zh-CN" altLang="en-US"/>
          </a:p>
        </p:txBody>
      </p:sp>
    </p:spTree>
    <p:extLst>
      <p:ext uri="{BB962C8B-B14F-4D97-AF65-F5344CB8AC3E}">
        <p14:creationId xmlns:p14="http://schemas.microsoft.com/office/powerpoint/2010/main" val="2802405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a:extLst>
              <a:ext uri="{FF2B5EF4-FFF2-40B4-BE49-F238E27FC236}">
                <a16:creationId xmlns:a16="http://schemas.microsoft.com/office/drawing/2014/main" id="{244E98F4-D7D7-4335-BF09-88302A29CEB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备注占位符 2">
            <a:extLst>
              <a:ext uri="{FF2B5EF4-FFF2-40B4-BE49-F238E27FC236}">
                <a16:creationId xmlns:a16="http://schemas.microsoft.com/office/drawing/2014/main" id="{5654ABC0-2F19-4B85-B10A-0C18E397B55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7172" name="灯片编号占位符 3">
            <a:extLst>
              <a:ext uri="{FF2B5EF4-FFF2-40B4-BE49-F238E27FC236}">
                <a16:creationId xmlns:a16="http://schemas.microsoft.com/office/drawing/2014/main" id="{DD6A1EA0-5A01-4689-90B5-23A6D471771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fld id="{9182ABCB-B29E-4B23-81B5-FD6C329336CC}" type="slidenum">
              <a:rPr lang="zh-CN" altLang="en-US" smtClean="0"/>
              <a:pPr/>
              <a:t>4</a:t>
            </a:fld>
            <a:endParaRPr lang="zh-CN" altLang="en-US"/>
          </a:p>
        </p:txBody>
      </p:sp>
    </p:spTree>
    <p:extLst>
      <p:ext uri="{BB962C8B-B14F-4D97-AF65-F5344CB8AC3E}">
        <p14:creationId xmlns:p14="http://schemas.microsoft.com/office/powerpoint/2010/main" val="581485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870D0EB-B5B0-4794-B830-F0F95BA954FE}" type="slidenum">
              <a:rPr lang="zh-CN" altLang="en-US" smtClean="0"/>
              <a:t>5</a:t>
            </a:fld>
            <a:endParaRPr lang="zh-CN" altLang="en-US"/>
          </a:p>
        </p:txBody>
      </p:sp>
    </p:spTree>
    <p:extLst>
      <p:ext uri="{BB962C8B-B14F-4D97-AF65-F5344CB8AC3E}">
        <p14:creationId xmlns:p14="http://schemas.microsoft.com/office/powerpoint/2010/main" val="56665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870D0EB-B5B0-4794-B830-F0F95BA954FE}" type="slidenum">
              <a:rPr lang="zh-CN" altLang="en-US" smtClean="0"/>
              <a:t>7</a:t>
            </a:fld>
            <a:endParaRPr lang="zh-CN" altLang="en-US"/>
          </a:p>
        </p:txBody>
      </p:sp>
    </p:spTree>
    <p:extLst>
      <p:ext uri="{BB962C8B-B14F-4D97-AF65-F5344CB8AC3E}">
        <p14:creationId xmlns:p14="http://schemas.microsoft.com/office/powerpoint/2010/main" val="2112589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870D0EB-B5B0-4794-B830-F0F95BA954FE}" type="slidenum">
              <a:rPr lang="zh-CN" altLang="en-US" smtClean="0"/>
              <a:t>8</a:t>
            </a:fld>
            <a:endParaRPr lang="zh-CN" altLang="en-US"/>
          </a:p>
        </p:txBody>
      </p:sp>
    </p:spTree>
    <p:extLst>
      <p:ext uri="{BB962C8B-B14F-4D97-AF65-F5344CB8AC3E}">
        <p14:creationId xmlns:p14="http://schemas.microsoft.com/office/powerpoint/2010/main" val="3261713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幻灯片图像占位符 1">
            <a:extLst>
              <a:ext uri="{FF2B5EF4-FFF2-40B4-BE49-F238E27FC236}">
                <a16:creationId xmlns:a16="http://schemas.microsoft.com/office/drawing/2014/main" id="{244E98F4-D7D7-4335-BF09-88302A29CEB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备注占位符 2">
            <a:extLst>
              <a:ext uri="{FF2B5EF4-FFF2-40B4-BE49-F238E27FC236}">
                <a16:creationId xmlns:a16="http://schemas.microsoft.com/office/drawing/2014/main" id="{5654ABC0-2F19-4B85-B10A-0C18E397B55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7172" name="灯片编号占位符 3">
            <a:extLst>
              <a:ext uri="{FF2B5EF4-FFF2-40B4-BE49-F238E27FC236}">
                <a16:creationId xmlns:a16="http://schemas.microsoft.com/office/drawing/2014/main" id="{DD6A1EA0-5A01-4689-90B5-23A6D471771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fld id="{9182ABCB-B29E-4B23-81B5-FD6C329336CC}" type="slidenum">
              <a:rPr lang="zh-CN" altLang="en-US" smtClean="0"/>
              <a:pPr/>
              <a:t>9</a:t>
            </a:fld>
            <a:endParaRPr lang="zh-CN" altLang="en-US"/>
          </a:p>
        </p:txBody>
      </p:sp>
    </p:spTree>
    <p:extLst>
      <p:ext uri="{BB962C8B-B14F-4D97-AF65-F5344CB8AC3E}">
        <p14:creationId xmlns:p14="http://schemas.microsoft.com/office/powerpoint/2010/main" val="4027635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870D0EB-B5B0-4794-B830-F0F95BA954FE}" type="slidenum">
              <a:rPr lang="zh-CN" altLang="en-US" smtClean="0"/>
              <a:t>10</a:t>
            </a:fld>
            <a:endParaRPr lang="zh-CN" altLang="en-US"/>
          </a:p>
        </p:txBody>
      </p:sp>
    </p:spTree>
    <p:extLst>
      <p:ext uri="{BB962C8B-B14F-4D97-AF65-F5344CB8AC3E}">
        <p14:creationId xmlns:p14="http://schemas.microsoft.com/office/powerpoint/2010/main" val="18123195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400" y="2130426"/>
            <a:ext cx="10363200" cy="1470025"/>
          </a:xfrm>
          <a:prstGeom prst="rect">
            <a:avLst/>
          </a:prstGeom>
        </p:spPr>
        <p:txBody>
          <a:bodyPr/>
          <a:lstStyle/>
          <a:p>
            <a:r>
              <a:rPr lang="zh-CN" altLang="en-US"/>
              <a:t>单击此处编辑母版标题样式</a:t>
            </a:r>
          </a:p>
        </p:txBody>
      </p:sp>
      <p:sp>
        <p:nvSpPr>
          <p:cNvPr id="3" name="副标题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a:extLst>
              <a:ext uri="{FF2B5EF4-FFF2-40B4-BE49-F238E27FC236}">
                <a16:creationId xmlns:a16="http://schemas.microsoft.com/office/drawing/2014/main" id="{9C191D2C-9100-4ABE-A089-EC07531E68DE}"/>
              </a:ext>
            </a:extLst>
          </p:cNvPr>
          <p:cNvSpPr>
            <a:spLocks noGrp="1"/>
          </p:cNvSpPr>
          <p:nvPr>
            <p:ph type="dt" sz="half" idx="10"/>
          </p:nvPr>
        </p:nvSpPr>
        <p:spPr/>
        <p:txBody>
          <a:bodyPr/>
          <a:lstStyle>
            <a:lvl1pPr>
              <a:defRPr/>
            </a:lvl1pPr>
          </a:lstStyle>
          <a:p>
            <a:pPr>
              <a:defRPr/>
            </a:pPr>
            <a:fld id="{1206D941-35B4-43F4-8F59-3ECEB5208FE6}" type="datetime1">
              <a:rPr lang="zh-CN" altLang="en-US"/>
              <a:pPr>
                <a:defRPr/>
              </a:pPr>
              <a:t>2024/7/4</a:t>
            </a:fld>
            <a:endParaRPr lang="zh-CN" altLang="en-US"/>
          </a:p>
        </p:txBody>
      </p:sp>
      <p:sp>
        <p:nvSpPr>
          <p:cNvPr id="5" name="灯片编号占位符 5">
            <a:extLst>
              <a:ext uri="{FF2B5EF4-FFF2-40B4-BE49-F238E27FC236}">
                <a16:creationId xmlns:a16="http://schemas.microsoft.com/office/drawing/2014/main" id="{FC249105-28B8-4386-96D9-25B52ED862A4}"/>
              </a:ext>
            </a:extLst>
          </p:cNvPr>
          <p:cNvSpPr>
            <a:spLocks noGrp="1"/>
          </p:cNvSpPr>
          <p:nvPr>
            <p:ph type="sldNum" sz="quarter" idx="11"/>
          </p:nvPr>
        </p:nvSpPr>
        <p:spPr/>
        <p:txBody>
          <a:bodyPr/>
          <a:lstStyle>
            <a:lvl1pPr>
              <a:defRPr/>
            </a:lvl1pPr>
          </a:lstStyle>
          <a:p>
            <a:pPr>
              <a:defRPr/>
            </a:pPr>
            <a:fld id="{5AEABC2C-0017-4093-B34C-87190988B72A}" type="slidenum">
              <a:rPr lang="zh-CN" altLang="en-US"/>
              <a:pPr>
                <a:defRPr/>
              </a:pPr>
              <a:t>‹#›</a:t>
            </a:fld>
            <a:endParaRPr lang="zh-CN" altLang="en-US"/>
          </a:p>
        </p:txBody>
      </p:sp>
    </p:spTree>
    <p:extLst>
      <p:ext uri="{BB962C8B-B14F-4D97-AF65-F5344CB8AC3E}">
        <p14:creationId xmlns:p14="http://schemas.microsoft.com/office/powerpoint/2010/main" val="1204308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65BA4672-35BC-4212-8548-E01674D60D01}"/>
              </a:ext>
            </a:extLst>
          </p:cNvPr>
          <p:cNvSpPr>
            <a:spLocks noGrp="1"/>
          </p:cNvSpPr>
          <p:nvPr>
            <p:ph type="dt" sz="half" idx="10"/>
          </p:nvPr>
        </p:nvSpPr>
        <p:spPr/>
        <p:txBody>
          <a:bodyPr/>
          <a:lstStyle>
            <a:lvl1pPr>
              <a:defRPr/>
            </a:lvl1pPr>
          </a:lstStyle>
          <a:p>
            <a:pPr>
              <a:defRPr/>
            </a:pPr>
            <a:fld id="{94307CCE-005C-4B35-B94B-81FC06FFBA8E}" type="datetime1">
              <a:rPr lang="zh-CN" altLang="en-US"/>
              <a:pPr>
                <a:defRPr/>
              </a:pPr>
              <a:t>2024/7/4</a:t>
            </a:fld>
            <a:endParaRPr lang="zh-CN" altLang="en-US"/>
          </a:p>
        </p:txBody>
      </p:sp>
      <p:sp>
        <p:nvSpPr>
          <p:cNvPr id="5" name="灯片编号占位符 5">
            <a:extLst>
              <a:ext uri="{FF2B5EF4-FFF2-40B4-BE49-F238E27FC236}">
                <a16:creationId xmlns:a16="http://schemas.microsoft.com/office/drawing/2014/main" id="{EB267C32-6CA8-436E-9332-9DAAD0DAF2E0}"/>
              </a:ext>
            </a:extLst>
          </p:cNvPr>
          <p:cNvSpPr>
            <a:spLocks noGrp="1"/>
          </p:cNvSpPr>
          <p:nvPr>
            <p:ph type="sldNum" sz="quarter" idx="11"/>
          </p:nvPr>
        </p:nvSpPr>
        <p:spPr/>
        <p:txBody>
          <a:bodyPr/>
          <a:lstStyle>
            <a:lvl1pPr>
              <a:defRPr/>
            </a:lvl1pPr>
          </a:lstStyle>
          <a:p>
            <a:pPr>
              <a:defRPr/>
            </a:pPr>
            <a:fld id="{3F35475E-B610-43EF-92C5-222028580AF1}" type="slidenum">
              <a:rPr lang="zh-CN" altLang="en-US"/>
              <a:pPr>
                <a:defRPr/>
              </a:pPr>
              <a:t>‹#›</a:t>
            </a:fld>
            <a:endParaRPr lang="zh-CN" altLang="en-US"/>
          </a:p>
        </p:txBody>
      </p:sp>
    </p:spTree>
    <p:extLst>
      <p:ext uri="{BB962C8B-B14F-4D97-AF65-F5344CB8AC3E}">
        <p14:creationId xmlns:p14="http://schemas.microsoft.com/office/powerpoint/2010/main" val="34611591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274639"/>
            <a:ext cx="8026400" cy="5851525"/>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973FC975-7DE8-458D-8F18-CA335A5A2301}"/>
              </a:ext>
            </a:extLst>
          </p:cNvPr>
          <p:cNvSpPr>
            <a:spLocks noGrp="1"/>
          </p:cNvSpPr>
          <p:nvPr>
            <p:ph type="dt" sz="half" idx="10"/>
          </p:nvPr>
        </p:nvSpPr>
        <p:spPr/>
        <p:txBody>
          <a:bodyPr/>
          <a:lstStyle>
            <a:lvl1pPr>
              <a:defRPr/>
            </a:lvl1pPr>
          </a:lstStyle>
          <a:p>
            <a:pPr>
              <a:defRPr/>
            </a:pPr>
            <a:fld id="{89D27FB9-F1E7-475D-85F6-1748594E7FD5}" type="datetime1">
              <a:rPr lang="zh-CN" altLang="en-US"/>
              <a:pPr>
                <a:defRPr/>
              </a:pPr>
              <a:t>2024/7/4</a:t>
            </a:fld>
            <a:endParaRPr lang="zh-CN" altLang="en-US"/>
          </a:p>
        </p:txBody>
      </p:sp>
      <p:sp>
        <p:nvSpPr>
          <p:cNvPr id="5" name="灯片编号占位符 5">
            <a:extLst>
              <a:ext uri="{FF2B5EF4-FFF2-40B4-BE49-F238E27FC236}">
                <a16:creationId xmlns:a16="http://schemas.microsoft.com/office/drawing/2014/main" id="{97CB785F-EDE2-4201-8DD7-756B9FFE6751}"/>
              </a:ext>
            </a:extLst>
          </p:cNvPr>
          <p:cNvSpPr>
            <a:spLocks noGrp="1"/>
          </p:cNvSpPr>
          <p:nvPr>
            <p:ph type="sldNum" sz="quarter" idx="11"/>
          </p:nvPr>
        </p:nvSpPr>
        <p:spPr/>
        <p:txBody>
          <a:bodyPr/>
          <a:lstStyle>
            <a:lvl1pPr>
              <a:defRPr/>
            </a:lvl1pPr>
          </a:lstStyle>
          <a:p>
            <a:pPr>
              <a:defRPr/>
            </a:pPr>
            <a:fld id="{F85449D6-7F49-4CAB-A144-116A327CB827}" type="slidenum">
              <a:rPr lang="zh-CN" altLang="en-US"/>
              <a:pPr>
                <a:defRPr/>
              </a:pPr>
              <a:t>‹#›</a:t>
            </a:fld>
            <a:endParaRPr lang="zh-CN" altLang="en-US"/>
          </a:p>
        </p:txBody>
      </p:sp>
    </p:spTree>
    <p:extLst>
      <p:ext uri="{BB962C8B-B14F-4D97-AF65-F5344CB8AC3E}">
        <p14:creationId xmlns:p14="http://schemas.microsoft.com/office/powerpoint/2010/main" val="13222727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A33D45BC-A413-40A9-89F8-BB0F2989448B}"/>
              </a:ext>
            </a:extLst>
          </p:cNvPr>
          <p:cNvSpPr>
            <a:spLocks noGrp="1"/>
          </p:cNvSpPr>
          <p:nvPr>
            <p:ph type="dt" sz="half" idx="10"/>
          </p:nvPr>
        </p:nvSpPr>
        <p:spPr/>
        <p:txBody>
          <a:bodyPr/>
          <a:lstStyle>
            <a:lvl1pPr>
              <a:defRPr/>
            </a:lvl1pPr>
          </a:lstStyle>
          <a:p>
            <a:pPr>
              <a:defRPr/>
            </a:pPr>
            <a:fld id="{80078775-5A1B-476C-9EF0-769FC2566947}" type="datetime1">
              <a:rPr lang="zh-CN" altLang="en-US"/>
              <a:pPr>
                <a:defRPr/>
              </a:pPr>
              <a:t>2024/7/4</a:t>
            </a:fld>
            <a:endParaRPr lang="zh-CN" altLang="en-US"/>
          </a:p>
        </p:txBody>
      </p:sp>
      <p:sp>
        <p:nvSpPr>
          <p:cNvPr id="5" name="灯片编号占位符 5">
            <a:extLst>
              <a:ext uri="{FF2B5EF4-FFF2-40B4-BE49-F238E27FC236}">
                <a16:creationId xmlns:a16="http://schemas.microsoft.com/office/drawing/2014/main" id="{7E16D879-1C97-4F2F-A6D6-3FA46DB4ED7B}"/>
              </a:ext>
            </a:extLst>
          </p:cNvPr>
          <p:cNvSpPr>
            <a:spLocks noGrp="1"/>
          </p:cNvSpPr>
          <p:nvPr>
            <p:ph type="sldNum" sz="quarter" idx="11"/>
          </p:nvPr>
        </p:nvSpPr>
        <p:spPr/>
        <p:txBody>
          <a:bodyPr/>
          <a:lstStyle>
            <a:lvl1pPr>
              <a:defRPr/>
            </a:lvl1pPr>
          </a:lstStyle>
          <a:p>
            <a:pPr>
              <a:defRPr/>
            </a:pPr>
            <a:fld id="{77D5A65B-1585-48B2-B1C3-EECB5A8B6388}" type="slidenum">
              <a:rPr lang="zh-CN" altLang="en-US"/>
              <a:pPr>
                <a:defRPr/>
              </a:pPr>
              <a:t>‹#›</a:t>
            </a:fld>
            <a:endParaRPr lang="zh-CN" altLang="en-US"/>
          </a:p>
        </p:txBody>
      </p:sp>
    </p:spTree>
    <p:extLst>
      <p:ext uri="{BB962C8B-B14F-4D97-AF65-F5344CB8AC3E}">
        <p14:creationId xmlns:p14="http://schemas.microsoft.com/office/powerpoint/2010/main" val="6148367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CD7AD870-B498-4819-BDA0-2C9945FBA292}"/>
              </a:ext>
            </a:extLst>
          </p:cNvPr>
          <p:cNvSpPr>
            <a:spLocks noGrp="1"/>
          </p:cNvSpPr>
          <p:nvPr>
            <p:ph type="dt" sz="half" idx="10"/>
          </p:nvPr>
        </p:nvSpPr>
        <p:spPr/>
        <p:txBody>
          <a:bodyPr/>
          <a:lstStyle>
            <a:lvl1pPr>
              <a:defRPr/>
            </a:lvl1pPr>
          </a:lstStyle>
          <a:p>
            <a:pPr>
              <a:defRPr/>
            </a:pPr>
            <a:fld id="{602C3354-D28E-45F8-8F7D-B15AEF837C2A}" type="datetime1">
              <a:rPr lang="zh-CN" altLang="en-US"/>
              <a:pPr>
                <a:defRPr/>
              </a:pPr>
              <a:t>2024/7/4</a:t>
            </a:fld>
            <a:endParaRPr lang="zh-CN" altLang="en-US"/>
          </a:p>
        </p:txBody>
      </p:sp>
      <p:sp>
        <p:nvSpPr>
          <p:cNvPr id="5" name="灯片编号占位符 5">
            <a:extLst>
              <a:ext uri="{FF2B5EF4-FFF2-40B4-BE49-F238E27FC236}">
                <a16:creationId xmlns:a16="http://schemas.microsoft.com/office/drawing/2014/main" id="{CA4022DF-7AD1-4A23-BEF6-9B8D90F142D3}"/>
              </a:ext>
            </a:extLst>
          </p:cNvPr>
          <p:cNvSpPr>
            <a:spLocks noGrp="1"/>
          </p:cNvSpPr>
          <p:nvPr>
            <p:ph type="sldNum" sz="quarter" idx="11"/>
          </p:nvPr>
        </p:nvSpPr>
        <p:spPr/>
        <p:txBody>
          <a:bodyPr/>
          <a:lstStyle>
            <a:lvl1pPr>
              <a:defRPr/>
            </a:lvl1pPr>
          </a:lstStyle>
          <a:p>
            <a:pPr>
              <a:defRPr/>
            </a:pPr>
            <a:fld id="{6B4B629C-0B70-4E89-B058-9DCFF02524AC}" type="slidenum">
              <a:rPr lang="zh-CN" altLang="en-US"/>
              <a:pPr>
                <a:defRPr/>
              </a:pPr>
              <a:t>‹#›</a:t>
            </a:fld>
            <a:endParaRPr lang="zh-CN" altLang="en-US"/>
          </a:p>
        </p:txBody>
      </p:sp>
    </p:spTree>
    <p:extLst>
      <p:ext uri="{BB962C8B-B14F-4D97-AF65-F5344CB8AC3E}">
        <p14:creationId xmlns:p14="http://schemas.microsoft.com/office/powerpoint/2010/main" val="25031706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3">
            <a:extLst>
              <a:ext uri="{FF2B5EF4-FFF2-40B4-BE49-F238E27FC236}">
                <a16:creationId xmlns:a16="http://schemas.microsoft.com/office/drawing/2014/main" id="{EBA1FEB1-5C4F-472E-A289-647766C160D5}"/>
              </a:ext>
            </a:extLst>
          </p:cNvPr>
          <p:cNvSpPr>
            <a:spLocks noGrp="1"/>
          </p:cNvSpPr>
          <p:nvPr>
            <p:ph type="dt" sz="half" idx="10"/>
          </p:nvPr>
        </p:nvSpPr>
        <p:spPr/>
        <p:txBody>
          <a:bodyPr/>
          <a:lstStyle>
            <a:lvl1pPr>
              <a:defRPr/>
            </a:lvl1pPr>
          </a:lstStyle>
          <a:p>
            <a:pPr>
              <a:defRPr/>
            </a:pPr>
            <a:fld id="{C64420A6-37C9-4373-8A06-5C85066C13B3}" type="datetime1">
              <a:rPr lang="zh-CN" altLang="en-US"/>
              <a:pPr>
                <a:defRPr/>
              </a:pPr>
              <a:t>2024/7/4</a:t>
            </a:fld>
            <a:endParaRPr lang="zh-CN" altLang="en-US"/>
          </a:p>
        </p:txBody>
      </p:sp>
      <p:sp>
        <p:nvSpPr>
          <p:cNvPr id="6" name="灯片编号占位符 5">
            <a:extLst>
              <a:ext uri="{FF2B5EF4-FFF2-40B4-BE49-F238E27FC236}">
                <a16:creationId xmlns:a16="http://schemas.microsoft.com/office/drawing/2014/main" id="{40376627-EDFB-4BDD-9E73-540C3C116216}"/>
              </a:ext>
            </a:extLst>
          </p:cNvPr>
          <p:cNvSpPr>
            <a:spLocks noGrp="1"/>
          </p:cNvSpPr>
          <p:nvPr>
            <p:ph type="sldNum" sz="quarter" idx="11"/>
          </p:nvPr>
        </p:nvSpPr>
        <p:spPr/>
        <p:txBody>
          <a:bodyPr/>
          <a:lstStyle>
            <a:lvl1pPr>
              <a:defRPr/>
            </a:lvl1pPr>
          </a:lstStyle>
          <a:p>
            <a:pPr>
              <a:defRPr/>
            </a:pPr>
            <a:fld id="{DF7B47C2-2772-4A66-8474-7D8F044DD221}" type="slidenum">
              <a:rPr lang="zh-CN" altLang="en-US"/>
              <a:pPr>
                <a:defRPr/>
              </a:pPr>
              <a:t>‹#›</a:t>
            </a:fld>
            <a:endParaRPr lang="zh-CN" altLang="en-US"/>
          </a:p>
        </p:txBody>
      </p:sp>
    </p:spTree>
    <p:extLst>
      <p:ext uri="{BB962C8B-B14F-4D97-AF65-F5344CB8AC3E}">
        <p14:creationId xmlns:p14="http://schemas.microsoft.com/office/powerpoint/2010/main" val="19528198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3">
            <a:extLst>
              <a:ext uri="{FF2B5EF4-FFF2-40B4-BE49-F238E27FC236}">
                <a16:creationId xmlns:a16="http://schemas.microsoft.com/office/drawing/2014/main" id="{548DC91E-17CA-4E33-B452-487A595F20E9}"/>
              </a:ext>
            </a:extLst>
          </p:cNvPr>
          <p:cNvSpPr>
            <a:spLocks noGrp="1"/>
          </p:cNvSpPr>
          <p:nvPr>
            <p:ph type="dt" sz="half" idx="10"/>
          </p:nvPr>
        </p:nvSpPr>
        <p:spPr/>
        <p:txBody>
          <a:bodyPr/>
          <a:lstStyle>
            <a:lvl1pPr>
              <a:defRPr/>
            </a:lvl1pPr>
          </a:lstStyle>
          <a:p>
            <a:pPr>
              <a:defRPr/>
            </a:pPr>
            <a:fld id="{06F54017-98FC-4919-B7BC-98275C239E3E}" type="datetime1">
              <a:rPr lang="zh-CN" altLang="en-US"/>
              <a:pPr>
                <a:defRPr/>
              </a:pPr>
              <a:t>2024/7/4</a:t>
            </a:fld>
            <a:endParaRPr lang="zh-CN" altLang="en-US"/>
          </a:p>
        </p:txBody>
      </p:sp>
      <p:sp>
        <p:nvSpPr>
          <p:cNvPr id="8" name="灯片编号占位符 5">
            <a:extLst>
              <a:ext uri="{FF2B5EF4-FFF2-40B4-BE49-F238E27FC236}">
                <a16:creationId xmlns:a16="http://schemas.microsoft.com/office/drawing/2014/main" id="{1E351694-DD89-4806-80BB-BFAD20B70E09}"/>
              </a:ext>
            </a:extLst>
          </p:cNvPr>
          <p:cNvSpPr>
            <a:spLocks noGrp="1"/>
          </p:cNvSpPr>
          <p:nvPr>
            <p:ph type="sldNum" sz="quarter" idx="11"/>
          </p:nvPr>
        </p:nvSpPr>
        <p:spPr/>
        <p:txBody>
          <a:bodyPr/>
          <a:lstStyle>
            <a:lvl1pPr>
              <a:defRPr/>
            </a:lvl1pPr>
          </a:lstStyle>
          <a:p>
            <a:pPr>
              <a:defRPr/>
            </a:pPr>
            <a:fld id="{AEBE58AF-4D9B-4188-B64B-067007355894}" type="slidenum">
              <a:rPr lang="zh-CN" altLang="en-US"/>
              <a:pPr>
                <a:defRPr/>
              </a:pPr>
              <a:t>‹#›</a:t>
            </a:fld>
            <a:endParaRPr lang="zh-CN" altLang="en-US"/>
          </a:p>
        </p:txBody>
      </p:sp>
    </p:spTree>
    <p:extLst>
      <p:ext uri="{BB962C8B-B14F-4D97-AF65-F5344CB8AC3E}">
        <p14:creationId xmlns:p14="http://schemas.microsoft.com/office/powerpoint/2010/main" val="5694327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cxnSp>
        <p:nvCxnSpPr>
          <p:cNvPr id="3" name="直接连接符 2">
            <a:extLst>
              <a:ext uri="{FF2B5EF4-FFF2-40B4-BE49-F238E27FC236}">
                <a16:creationId xmlns:a16="http://schemas.microsoft.com/office/drawing/2014/main" id="{AFE3FBD0-5AAE-4F5C-B696-DAC1E39E6DFD}"/>
              </a:ext>
            </a:extLst>
          </p:cNvPr>
          <p:cNvCxnSpPr/>
          <p:nvPr userDrawn="1"/>
        </p:nvCxnSpPr>
        <p:spPr>
          <a:xfrm>
            <a:off x="190500" y="836613"/>
            <a:ext cx="11520488" cy="0"/>
          </a:xfrm>
          <a:prstGeom prst="line">
            <a:avLst/>
          </a:prstGeom>
          <a:ln w="28575">
            <a:solidFill>
              <a:srgbClr val="00757F"/>
            </a:solidFill>
          </a:ln>
        </p:spPr>
        <p:style>
          <a:lnRef idx="1">
            <a:schemeClr val="accent1"/>
          </a:lnRef>
          <a:fillRef idx="0">
            <a:schemeClr val="accent1"/>
          </a:fillRef>
          <a:effectRef idx="0">
            <a:schemeClr val="accent1"/>
          </a:effectRef>
          <a:fontRef idx="minor">
            <a:schemeClr val="tx1"/>
          </a:fontRef>
        </p:style>
      </p:cxnSp>
      <p:sp>
        <p:nvSpPr>
          <p:cNvPr id="2" name="标题 1"/>
          <p:cNvSpPr>
            <a:spLocks noGrp="1"/>
          </p:cNvSpPr>
          <p:nvPr>
            <p:ph type="title"/>
          </p:nvPr>
        </p:nvSpPr>
        <p:spPr>
          <a:xfrm>
            <a:off x="479220" y="274638"/>
            <a:ext cx="11103180" cy="417976"/>
          </a:xfrm>
          <a:prstGeom prst="rect">
            <a:avLst/>
          </a:prstGeom>
        </p:spPr>
        <p:txBody>
          <a:bodyPr/>
          <a:lstStyle>
            <a:lvl1pPr algn="l">
              <a:defRPr sz="1800" b="1">
                <a:solidFill>
                  <a:schemeClr val="tx1"/>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p>
        </p:txBody>
      </p:sp>
      <p:sp>
        <p:nvSpPr>
          <p:cNvPr id="4" name="日期占位符 3">
            <a:extLst>
              <a:ext uri="{FF2B5EF4-FFF2-40B4-BE49-F238E27FC236}">
                <a16:creationId xmlns:a16="http://schemas.microsoft.com/office/drawing/2014/main" id="{488E990C-758C-4003-BBDD-FDB54A599E61}"/>
              </a:ext>
            </a:extLst>
          </p:cNvPr>
          <p:cNvSpPr>
            <a:spLocks noGrp="1"/>
          </p:cNvSpPr>
          <p:nvPr>
            <p:ph type="dt" sz="half" idx="10"/>
          </p:nvPr>
        </p:nvSpPr>
        <p:spPr/>
        <p:txBody>
          <a:bodyPr/>
          <a:lstStyle>
            <a:lvl1pPr>
              <a:defRPr/>
            </a:lvl1pPr>
          </a:lstStyle>
          <a:p>
            <a:pPr>
              <a:defRPr/>
            </a:pPr>
            <a:fld id="{633E5F10-AEE2-4A25-B25B-35D7ABB36E4D}" type="datetime1">
              <a:rPr lang="zh-CN" altLang="en-US"/>
              <a:pPr>
                <a:defRPr/>
              </a:pPr>
              <a:t>2024/7/4</a:t>
            </a:fld>
            <a:endParaRPr lang="zh-CN" altLang="en-US" dirty="0"/>
          </a:p>
        </p:txBody>
      </p:sp>
      <p:sp>
        <p:nvSpPr>
          <p:cNvPr id="5" name="灯片编号占位符 5">
            <a:extLst>
              <a:ext uri="{FF2B5EF4-FFF2-40B4-BE49-F238E27FC236}">
                <a16:creationId xmlns:a16="http://schemas.microsoft.com/office/drawing/2014/main" id="{749D34FA-6A7B-4D14-A6CA-EFA9E7BC7044}"/>
              </a:ext>
            </a:extLst>
          </p:cNvPr>
          <p:cNvSpPr>
            <a:spLocks noGrp="1"/>
          </p:cNvSpPr>
          <p:nvPr>
            <p:ph type="sldNum" sz="quarter" idx="11"/>
          </p:nvPr>
        </p:nvSpPr>
        <p:spPr/>
        <p:txBody>
          <a:bodyPr/>
          <a:lstStyle>
            <a:lvl1pPr>
              <a:defRPr/>
            </a:lvl1pPr>
          </a:lstStyle>
          <a:p>
            <a:pPr>
              <a:defRPr/>
            </a:pPr>
            <a:fld id="{8E2C30CB-4307-4BB9-B24E-988C520472CC}" type="slidenum">
              <a:rPr lang="zh-CN" altLang="en-US"/>
              <a:pPr>
                <a:defRPr/>
              </a:pPr>
              <a:t>‹#›</a:t>
            </a:fld>
            <a:endParaRPr lang="zh-CN" altLang="en-US"/>
          </a:p>
        </p:txBody>
      </p:sp>
    </p:spTree>
    <p:extLst>
      <p:ext uri="{BB962C8B-B14F-4D97-AF65-F5344CB8AC3E}">
        <p14:creationId xmlns:p14="http://schemas.microsoft.com/office/powerpoint/2010/main" val="11407883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cxnSp>
        <p:nvCxnSpPr>
          <p:cNvPr id="2" name="直接连接符 1">
            <a:extLst>
              <a:ext uri="{FF2B5EF4-FFF2-40B4-BE49-F238E27FC236}">
                <a16:creationId xmlns:a16="http://schemas.microsoft.com/office/drawing/2014/main" id="{F16305C0-FDDA-4FC9-8B12-3199A9A8B123}"/>
              </a:ext>
            </a:extLst>
          </p:cNvPr>
          <p:cNvCxnSpPr/>
          <p:nvPr userDrawn="1"/>
        </p:nvCxnSpPr>
        <p:spPr>
          <a:xfrm>
            <a:off x="190500" y="836613"/>
            <a:ext cx="11520488" cy="0"/>
          </a:xfrm>
          <a:prstGeom prst="line">
            <a:avLst/>
          </a:prstGeom>
          <a:ln w="28575">
            <a:solidFill>
              <a:srgbClr val="00757F"/>
            </a:solidFill>
          </a:ln>
        </p:spPr>
        <p:style>
          <a:lnRef idx="1">
            <a:schemeClr val="accent1"/>
          </a:lnRef>
          <a:fillRef idx="0">
            <a:schemeClr val="accent1"/>
          </a:fillRef>
          <a:effectRef idx="0">
            <a:schemeClr val="accent1"/>
          </a:effectRef>
          <a:fontRef idx="minor">
            <a:schemeClr val="tx1"/>
          </a:fontRef>
        </p:style>
      </p:cxnSp>
      <p:sp>
        <p:nvSpPr>
          <p:cNvPr id="3" name="日期占位符 3">
            <a:extLst>
              <a:ext uri="{FF2B5EF4-FFF2-40B4-BE49-F238E27FC236}">
                <a16:creationId xmlns:a16="http://schemas.microsoft.com/office/drawing/2014/main" id="{EDD884FA-5BCB-41F6-B292-8764E56322C6}"/>
              </a:ext>
            </a:extLst>
          </p:cNvPr>
          <p:cNvSpPr>
            <a:spLocks noGrp="1"/>
          </p:cNvSpPr>
          <p:nvPr>
            <p:ph type="dt" sz="half" idx="10"/>
          </p:nvPr>
        </p:nvSpPr>
        <p:spPr/>
        <p:txBody>
          <a:bodyPr/>
          <a:lstStyle>
            <a:lvl1pPr>
              <a:defRPr/>
            </a:lvl1pPr>
          </a:lstStyle>
          <a:p>
            <a:pPr>
              <a:defRPr/>
            </a:pPr>
            <a:fld id="{30D05129-0730-474F-A783-AB831A232BF9}" type="datetime1">
              <a:rPr lang="zh-CN" altLang="en-US"/>
              <a:pPr>
                <a:defRPr/>
              </a:pPr>
              <a:t>2024/7/4</a:t>
            </a:fld>
            <a:endParaRPr lang="zh-CN" altLang="en-US"/>
          </a:p>
        </p:txBody>
      </p:sp>
      <p:sp>
        <p:nvSpPr>
          <p:cNvPr id="4" name="灯片编号占位符 5">
            <a:extLst>
              <a:ext uri="{FF2B5EF4-FFF2-40B4-BE49-F238E27FC236}">
                <a16:creationId xmlns:a16="http://schemas.microsoft.com/office/drawing/2014/main" id="{1E6C02B3-F8F3-4BAB-B27A-83B8768515DB}"/>
              </a:ext>
            </a:extLst>
          </p:cNvPr>
          <p:cNvSpPr>
            <a:spLocks noGrp="1"/>
          </p:cNvSpPr>
          <p:nvPr>
            <p:ph type="sldNum" sz="quarter" idx="11"/>
          </p:nvPr>
        </p:nvSpPr>
        <p:spPr/>
        <p:txBody>
          <a:bodyPr/>
          <a:lstStyle>
            <a:lvl1pPr>
              <a:defRPr/>
            </a:lvl1pPr>
          </a:lstStyle>
          <a:p>
            <a:pPr>
              <a:defRPr/>
            </a:pPr>
            <a:fld id="{7662318D-BA27-4CBB-8934-32AD704F7495}" type="slidenum">
              <a:rPr lang="zh-CN" altLang="en-US"/>
              <a:pPr>
                <a:defRPr/>
              </a:pPr>
              <a:t>‹#›</a:t>
            </a:fld>
            <a:endParaRPr lang="zh-CN" altLang="en-US"/>
          </a:p>
        </p:txBody>
      </p:sp>
    </p:spTree>
    <p:extLst>
      <p:ext uri="{BB962C8B-B14F-4D97-AF65-F5344CB8AC3E}">
        <p14:creationId xmlns:p14="http://schemas.microsoft.com/office/powerpoint/2010/main" val="20097853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601" y="273050"/>
            <a:ext cx="4011084" cy="1162050"/>
          </a:xfrm>
          <a:prstGeom prst="rect">
            <a:avLst/>
          </a:prstGeo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3">
            <a:extLst>
              <a:ext uri="{FF2B5EF4-FFF2-40B4-BE49-F238E27FC236}">
                <a16:creationId xmlns:a16="http://schemas.microsoft.com/office/drawing/2014/main" id="{F68B96E6-7D26-47B1-8D1F-4A4AF79FCF52}"/>
              </a:ext>
            </a:extLst>
          </p:cNvPr>
          <p:cNvSpPr>
            <a:spLocks noGrp="1"/>
          </p:cNvSpPr>
          <p:nvPr>
            <p:ph type="dt" sz="half" idx="10"/>
          </p:nvPr>
        </p:nvSpPr>
        <p:spPr/>
        <p:txBody>
          <a:bodyPr/>
          <a:lstStyle>
            <a:lvl1pPr>
              <a:defRPr/>
            </a:lvl1pPr>
          </a:lstStyle>
          <a:p>
            <a:pPr>
              <a:defRPr/>
            </a:pPr>
            <a:fld id="{AEF1F2A7-1494-4A65-BAAE-FA64A4BBF5E8}" type="datetime1">
              <a:rPr lang="zh-CN" altLang="en-US"/>
              <a:pPr>
                <a:defRPr/>
              </a:pPr>
              <a:t>2024/7/4</a:t>
            </a:fld>
            <a:endParaRPr lang="zh-CN" altLang="en-US"/>
          </a:p>
        </p:txBody>
      </p:sp>
      <p:sp>
        <p:nvSpPr>
          <p:cNvPr id="6" name="灯片编号占位符 5">
            <a:extLst>
              <a:ext uri="{FF2B5EF4-FFF2-40B4-BE49-F238E27FC236}">
                <a16:creationId xmlns:a16="http://schemas.microsoft.com/office/drawing/2014/main" id="{2EB5FEFA-26AE-4B08-881E-50CF2509BFF3}"/>
              </a:ext>
            </a:extLst>
          </p:cNvPr>
          <p:cNvSpPr>
            <a:spLocks noGrp="1"/>
          </p:cNvSpPr>
          <p:nvPr>
            <p:ph type="sldNum" sz="quarter" idx="11"/>
          </p:nvPr>
        </p:nvSpPr>
        <p:spPr/>
        <p:txBody>
          <a:bodyPr/>
          <a:lstStyle>
            <a:lvl1pPr>
              <a:defRPr/>
            </a:lvl1pPr>
          </a:lstStyle>
          <a:p>
            <a:pPr>
              <a:defRPr/>
            </a:pPr>
            <a:fld id="{A0203B85-E0B6-4F6A-B8FA-ECC1078856C9}" type="slidenum">
              <a:rPr lang="zh-CN" altLang="en-US"/>
              <a:pPr>
                <a:defRPr/>
              </a:pPr>
              <a:t>‹#›</a:t>
            </a:fld>
            <a:endParaRPr lang="zh-CN" altLang="en-US"/>
          </a:p>
        </p:txBody>
      </p:sp>
    </p:spTree>
    <p:extLst>
      <p:ext uri="{BB962C8B-B14F-4D97-AF65-F5344CB8AC3E}">
        <p14:creationId xmlns:p14="http://schemas.microsoft.com/office/powerpoint/2010/main" val="23571818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717" y="4800600"/>
            <a:ext cx="7315200" cy="566738"/>
          </a:xfrm>
          <a:prstGeom prst="rect">
            <a:avLst/>
          </a:prstGeo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CN" altLang="en-US" noProof="0"/>
              <a:t>单击图标添加图片</a:t>
            </a:r>
          </a:p>
        </p:txBody>
      </p:sp>
      <p:sp>
        <p:nvSpPr>
          <p:cNvPr id="4" name="文本占位符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3">
            <a:extLst>
              <a:ext uri="{FF2B5EF4-FFF2-40B4-BE49-F238E27FC236}">
                <a16:creationId xmlns:a16="http://schemas.microsoft.com/office/drawing/2014/main" id="{4A14028B-CADA-4BCD-8B44-3DACA82800BE}"/>
              </a:ext>
            </a:extLst>
          </p:cNvPr>
          <p:cNvSpPr>
            <a:spLocks noGrp="1"/>
          </p:cNvSpPr>
          <p:nvPr>
            <p:ph type="dt" sz="half" idx="10"/>
          </p:nvPr>
        </p:nvSpPr>
        <p:spPr/>
        <p:txBody>
          <a:bodyPr/>
          <a:lstStyle>
            <a:lvl1pPr>
              <a:defRPr/>
            </a:lvl1pPr>
          </a:lstStyle>
          <a:p>
            <a:pPr>
              <a:defRPr/>
            </a:pPr>
            <a:fld id="{3EDAFAA0-3970-4377-90ED-5EC28EE986BB}" type="datetime1">
              <a:rPr lang="zh-CN" altLang="en-US"/>
              <a:pPr>
                <a:defRPr/>
              </a:pPr>
              <a:t>2024/7/4</a:t>
            </a:fld>
            <a:endParaRPr lang="zh-CN" altLang="en-US"/>
          </a:p>
        </p:txBody>
      </p:sp>
      <p:sp>
        <p:nvSpPr>
          <p:cNvPr id="6" name="灯片编号占位符 5">
            <a:extLst>
              <a:ext uri="{FF2B5EF4-FFF2-40B4-BE49-F238E27FC236}">
                <a16:creationId xmlns:a16="http://schemas.microsoft.com/office/drawing/2014/main" id="{6721C766-0076-4F28-83B5-EF871DF3EA2B}"/>
              </a:ext>
            </a:extLst>
          </p:cNvPr>
          <p:cNvSpPr>
            <a:spLocks noGrp="1"/>
          </p:cNvSpPr>
          <p:nvPr>
            <p:ph type="sldNum" sz="quarter" idx="11"/>
          </p:nvPr>
        </p:nvSpPr>
        <p:spPr/>
        <p:txBody>
          <a:bodyPr/>
          <a:lstStyle>
            <a:lvl1pPr>
              <a:defRPr/>
            </a:lvl1pPr>
          </a:lstStyle>
          <a:p>
            <a:pPr>
              <a:defRPr/>
            </a:pPr>
            <a:fld id="{B2DD97BB-D36E-4181-B43F-3558EAAC9A39}" type="slidenum">
              <a:rPr lang="zh-CN" altLang="en-US"/>
              <a:pPr>
                <a:defRPr/>
              </a:pPr>
              <a:t>‹#›</a:t>
            </a:fld>
            <a:endParaRPr lang="zh-CN" altLang="en-US"/>
          </a:p>
        </p:txBody>
      </p:sp>
    </p:spTree>
    <p:extLst>
      <p:ext uri="{BB962C8B-B14F-4D97-AF65-F5344CB8AC3E}">
        <p14:creationId xmlns:p14="http://schemas.microsoft.com/office/powerpoint/2010/main" val="30842578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标题占位符 1">
            <a:extLst>
              <a:ext uri="{FF2B5EF4-FFF2-40B4-BE49-F238E27FC236}">
                <a16:creationId xmlns:a16="http://schemas.microsoft.com/office/drawing/2014/main" id="{FE75F56D-4FB1-466F-A580-C931F924E942}"/>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027" name="文本占位符 2">
            <a:extLst>
              <a:ext uri="{FF2B5EF4-FFF2-40B4-BE49-F238E27FC236}">
                <a16:creationId xmlns:a16="http://schemas.microsoft.com/office/drawing/2014/main" id="{10212103-059A-4AE5-8374-915B1AE48C80}"/>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C37A6B72-7320-449F-B1CF-B778BB77BA7D}"/>
              </a:ext>
            </a:extLst>
          </p:cNvPr>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bg1">
                    <a:lumMod val="50000"/>
                  </a:schemeClr>
                </a:solidFill>
                <a:latin typeface="微软雅黑" panose="020B0503020204020204" pitchFamily="34" charset="-122"/>
                <a:ea typeface="微软雅黑" panose="020B0503020204020204" pitchFamily="34" charset="-122"/>
              </a:defRPr>
            </a:lvl1pPr>
          </a:lstStyle>
          <a:p>
            <a:pPr>
              <a:defRPr/>
            </a:pPr>
            <a:fld id="{C46ECD12-F6B6-4F77-971F-1135D6926F01}" type="datetime1">
              <a:rPr lang="zh-CN" altLang="en-US"/>
              <a:pPr>
                <a:defRPr/>
              </a:pPr>
              <a:t>2024/7/4</a:t>
            </a:fld>
            <a:endParaRPr lang="zh-CN" altLang="en-US"/>
          </a:p>
        </p:txBody>
      </p:sp>
      <p:sp>
        <p:nvSpPr>
          <p:cNvPr id="6" name="灯片编号占位符 5">
            <a:extLst>
              <a:ext uri="{FF2B5EF4-FFF2-40B4-BE49-F238E27FC236}">
                <a16:creationId xmlns:a16="http://schemas.microsoft.com/office/drawing/2014/main" id="{8A1E0A92-EDE2-4B25-BF9C-D0E17E2C0AE1}"/>
              </a:ext>
            </a:extLst>
          </p:cNvPr>
          <p:cNvSpPr>
            <a:spLocks noGrp="1"/>
          </p:cNvSpPr>
          <p:nvPr>
            <p:ph type="sldNum" sz="quarter" idx="4"/>
          </p:nvPr>
        </p:nvSpPr>
        <p:spPr>
          <a:xfrm>
            <a:off x="4830763" y="6369050"/>
            <a:ext cx="28448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latin typeface="微软雅黑" panose="020B0503020204020204" pitchFamily="34" charset="-122"/>
                <a:ea typeface="微软雅黑" panose="020B0503020204020204" pitchFamily="34" charset="-122"/>
              </a:defRPr>
            </a:lvl1pPr>
          </a:lstStyle>
          <a:p>
            <a:pPr>
              <a:defRPr/>
            </a:pPr>
            <a:fld id="{A9DB2D8D-44CF-41BB-B96E-B098A7B5353C}" type="slidenum">
              <a:rPr lang="zh-CN" altLang="en-US"/>
              <a:pPr>
                <a:defRPr/>
              </a:pPr>
              <a:t>‹#›</a:t>
            </a:fld>
            <a:endParaRPr lang="zh-CN" altLang="en-US"/>
          </a:p>
        </p:txBody>
      </p:sp>
      <p:pic>
        <p:nvPicPr>
          <p:cNvPr id="1030" name="Picture 5">
            <a:extLst>
              <a:ext uri="{FF2B5EF4-FFF2-40B4-BE49-F238E27FC236}">
                <a16:creationId xmlns:a16="http://schemas.microsoft.com/office/drawing/2014/main" id="{D952E45C-A658-4322-9A32-034467C324F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285413" y="274638"/>
            <a:ext cx="1296987"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8">
            <a:extLst>
              <a:ext uri="{FF2B5EF4-FFF2-40B4-BE49-F238E27FC236}">
                <a16:creationId xmlns:a16="http://schemas.microsoft.com/office/drawing/2014/main" id="{98DE2242-2B15-47DB-9B7B-6E106A543560}"/>
              </a:ext>
            </a:extLst>
          </p:cNvPr>
          <p:cNvSpPr txBox="1">
            <a:spLocks noChangeArrowheads="1"/>
          </p:cNvSpPr>
          <p:nvPr userDrawn="1"/>
        </p:nvSpPr>
        <p:spPr bwMode="auto">
          <a:xfrm>
            <a:off x="9048750" y="6494463"/>
            <a:ext cx="2813591" cy="246221"/>
          </a:xfrm>
          <a:prstGeom prst="rect">
            <a:avLst/>
          </a:prstGeom>
          <a:noFill/>
          <a:ln>
            <a:noFill/>
          </a:ln>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defRPr/>
            </a:pPr>
            <a:r>
              <a:rPr lang="zh-CN" altLang="en-US" sz="1000">
                <a:solidFill>
                  <a:srgbClr val="7F7F7F"/>
                </a:solidFill>
                <a:latin typeface="黑体" panose="02010609060101010101" pitchFamily="49" charset="-122"/>
                <a:ea typeface="黑体" panose="02010609060101010101" pitchFamily="49" charset="-122"/>
              </a:rPr>
              <a:t>领</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先</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的</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衍</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生</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品</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金</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融</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服</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务</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品</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牌</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公</a:t>
            </a:r>
            <a:r>
              <a:rPr lang="en-US" altLang="zh-CN" sz="1000">
                <a:solidFill>
                  <a:srgbClr val="7F7F7F"/>
                </a:solidFill>
                <a:latin typeface="黑体" panose="02010609060101010101" pitchFamily="49" charset="-122"/>
                <a:ea typeface="黑体" panose="02010609060101010101" pitchFamily="49" charset="-122"/>
              </a:rPr>
              <a:t>/</a:t>
            </a:r>
            <a:r>
              <a:rPr lang="zh-CN" altLang="en-US" sz="1000">
                <a:solidFill>
                  <a:srgbClr val="7F7F7F"/>
                </a:solidFill>
                <a:latin typeface="黑体" panose="02010609060101010101" pitchFamily="49" charset="-122"/>
                <a:ea typeface="黑体" panose="02010609060101010101" pitchFamily="49" charset="-122"/>
              </a:rPr>
              <a:t>司</a:t>
            </a:r>
          </a:p>
        </p:txBody>
      </p:sp>
      <p:pic>
        <p:nvPicPr>
          <p:cNvPr id="1032" name="图片 10">
            <a:extLst>
              <a:ext uri="{FF2B5EF4-FFF2-40B4-BE49-F238E27FC236}">
                <a16:creationId xmlns:a16="http://schemas.microsoft.com/office/drawing/2014/main" id="{D86E4F2E-A21A-45C9-A031-6CBB56A6DF74}"/>
              </a:ext>
            </a:extLst>
          </p:cNvPr>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0" y="6224588"/>
            <a:ext cx="12193588" cy="15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905608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themeOverride" Target="../theme/themeOverride1.xml"/><Relationship Id="rId5" Type="http://schemas.openxmlformats.org/officeDocument/2006/relationships/image" Target="../media/image3.emf"/><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8.xml"/><Relationship Id="rId2" Type="http://schemas.openxmlformats.org/officeDocument/2006/relationships/slideLayout" Target="../slideLayouts/slideLayout6.xml"/><Relationship Id="rId1" Type="http://schemas.openxmlformats.org/officeDocument/2006/relationships/themeOverride" Target="../theme/themeOverride10.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11.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slideLayout" Target="../slideLayouts/slideLayout6.xml"/><Relationship Id="rId1" Type="http://schemas.openxmlformats.org/officeDocument/2006/relationships/themeOverride" Target="../theme/themeOverride11.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26.xml"/><Relationship Id="rId2" Type="http://schemas.openxmlformats.org/officeDocument/2006/relationships/slideLayout" Target="../slideLayouts/slideLayout6.xml"/><Relationship Id="rId1" Type="http://schemas.openxmlformats.org/officeDocument/2006/relationships/themeOverride" Target="../theme/themeOverride1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chart" Target="../charts/chart2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hemeOverride" Target="../theme/themeOverride13.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hemeOverride" Target="../theme/themeOverride14.x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4.emf"/><Relationship Id="rId4" Type="http://schemas.openxmlformats.org/officeDocument/2006/relationships/tags" Target="../tags/tag26.xml"/><Relationship Id="rId9" Type="http://schemas.openxmlformats.org/officeDocument/2006/relationships/notesSlide" Target="../notesSlides/notesSlide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33.xml"/><Relationship Id="rId2" Type="http://schemas.openxmlformats.org/officeDocument/2006/relationships/slideLayout" Target="../slideLayouts/slideLayout6.xml"/><Relationship Id="rId1" Type="http://schemas.openxmlformats.org/officeDocument/2006/relationships/themeOverride" Target="../theme/themeOverride15.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chart" Target="../charts/chart30.xml"/></Relationships>
</file>

<file path=ppt/slides/_rels/slide16.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slideLayout" Target="../slideLayouts/slideLayout6.xml"/><Relationship Id="rId1" Type="http://schemas.openxmlformats.org/officeDocument/2006/relationships/themeOverride" Target="../theme/themeOverride16.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chart" Target="../charts/chart35.xml"/></Relationships>
</file>

<file path=ppt/slides/_rels/slide17.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slideLayout" Target="../slideLayouts/slideLayout6.xml"/><Relationship Id="rId1" Type="http://schemas.openxmlformats.org/officeDocument/2006/relationships/themeOverride" Target="../theme/themeOverride17.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chart" Target="../charts/chart39.xml"/></Relationships>
</file>

<file path=ppt/slides/_rels/slide18.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hemeOverride" Target="../theme/themeOverride18.xml"/><Relationship Id="rId6" Type="http://schemas.openxmlformats.org/officeDocument/2006/relationships/tags" Target="../tags/tag34.xml"/><Relationship Id="rId11" Type="http://schemas.openxmlformats.org/officeDocument/2006/relationships/image" Target="../media/image4.emf"/><Relationship Id="rId5" Type="http://schemas.openxmlformats.org/officeDocument/2006/relationships/tags" Target="../tags/tag33.xml"/><Relationship Id="rId10" Type="http://schemas.openxmlformats.org/officeDocument/2006/relationships/notesSlide" Target="../notesSlides/notesSlide14.xml"/><Relationship Id="rId4" Type="http://schemas.openxmlformats.org/officeDocument/2006/relationships/tags" Target="../tags/tag32.xml"/><Relationship Id="rId9"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chart" Target="../charts/chart45.xml"/><Relationship Id="rId2" Type="http://schemas.openxmlformats.org/officeDocument/2006/relationships/slideLayout" Target="../slideLayouts/slideLayout6.xml"/><Relationship Id="rId1" Type="http://schemas.openxmlformats.org/officeDocument/2006/relationships/themeOverride" Target="../theme/themeOverride19.xml"/><Relationship Id="rId6" Type="http://schemas.openxmlformats.org/officeDocument/2006/relationships/chart" Target="../charts/chart44.xml"/><Relationship Id="rId5" Type="http://schemas.openxmlformats.org/officeDocument/2006/relationships/chart" Target="../charts/chart43.xml"/><Relationship Id="rId4" Type="http://schemas.openxmlformats.org/officeDocument/2006/relationships/chart" Target="../charts/chart4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hemeOverride" Target="../theme/themeOverride2.xml"/><Relationship Id="rId6" Type="http://schemas.openxmlformats.org/officeDocument/2006/relationships/tags" Target="../tags/tag6.xml"/><Relationship Id="rId11" Type="http://schemas.openxmlformats.org/officeDocument/2006/relationships/image" Target="../media/image4.emf"/><Relationship Id="rId5" Type="http://schemas.openxmlformats.org/officeDocument/2006/relationships/tags" Target="../tags/tag5.xml"/><Relationship Id="rId10" Type="http://schemas.openxmlformats.org/officeDocument/2006/relationships/notesSlide" Target="../notesSlides/notesSlide2.xml"/><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hemeOverride" Target="../theme/themeOverride20.xml"/><Relationship Id="rId6" Type="http://schemas.openxmlformats.org/officeDocument/2006/relationships/tags" Target="../tags/tag41.xml"/><Relationship Id="rId11" Type="http://schemas.openxmlformats.org/officeDocument/2006/relationships/image" Target="../media/image4.emf"/><Relationship Id="rId5" Type="http://schemas.openxmlformats.org/officeDocument/2006/relationships/tags" Target="../tags/tag40.xml"/><Relationship Id="rId10" Type="http://schemas.openxmlformats.org/officeDocument/2006/relationships/notesSlide" Target="../notesSlides/notesSlide16.xml"/><Relationship Id="rId4" Type="http://schemas.openxmlformats.org/officeDocument/2006/relationships/tags" Target="../tags/tag39.xml"/><Relationship Id="rId9"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4.xml"/><Relationship Id="rId1" Type="http://schemas.openxmlformats.org/officeDocument/2006/relationships/themeOverride" Target="../theme/themeOverride21.xml"/><Relationship Id="rId4"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5.xml"/><Relationship Id="rId1" Type="http://schemas.openxmlformats.org/officeDocument/2006/relationships/themeOverride" Target="../theme/themeOverride22.xml"/><Relationship Id="rId5" Type="http://schemas.openxmlformats.org/officeDocument/2006/relationships/image" Target="../media/image6.emf"/><Relationship Id="rId4"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themeOverride" Target="../theme/themeOverride3.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hemeOverride" Target="../theme/themeOverride4.xml"/><Relationship Id="rId6" Type="http://schemas.openxmlformats.org/officeDocument/2006/relationships/tags" Target="../tags/tag14.xml"/><Relationship Id="rId11" Type="http://schemas.openxmlformats.org/officeDocument/2006/relationships/image" Target="../media/image4.emf"/><Relationship Id="rId5" Type="http://schemas.openxmlformats.org/officeDocument/2006/relationships/tags" Target="../tags/tag13.xml"/><Relationship Id="rId10" Type="http://schemas.openxmlformats.org/officeDocument/2006/relationships/notesSlide" Target="../notesSlides/notesSlide4.xml"/><Relationship Id="rId4" Type="http://schemas.openxmlformats.org/officeDocument/2006/relationships/tags" Target="../tags/tag12.xml"/><Relationship Id="rId9"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hemeOverride" Target="../theme/themeOverride5.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6.xml"/><Relationship Id="rId1" Type="http://schemas.openxmlformats.org/officeDocument/2006/relationships/themeOverride" Target="../theme/themeOverride6.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chart" Target="../charts/chart10.xml"/><Relationship Id="rId2" Type="http://schemas.openxmlformats.org/officeDocument/2006/relationships/slideLayout" Target="../slideLayouts/slideLayout6.xml"/><Relationship Id="rId1" Type="http://schemas.openxmlformats.org/officeDocument/2006/relationships/themeOverride" Target="../theme/themeOverride7.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chart" Target="../charts/chart14.xml"/><Relationship Id="rId2" Type="http://schemas.openxmlformats.org/officeDocument/2006/relationships/slideLayout" Target="../slideLayouts/slideLayout6.xml"/><Relationship Id="rId1" Type="http://schemas.openxmlformats.org/officeDocument/2006/relationships/themeOverride" Target="../theme/themeOverride8.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_rels/slide9.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2" Type="http://schemas.openxmlformats.org/officeDocument/2006/relationships/tags" Target="../tags/tag17.xml"/><Relationship Id="rId1" Type="http://schemas.openxmlformats.org/officeDocument/2006/relationships/themeOverride" Target="../theme/themeOverride9.xml"/><Relationship Id="rId6" Type="http://schemas.openxmlformats.org/officeDocument/2006/relationships/tags" Target="../tags/tag21.xml"/><Relationship Id="rId11" Type="http://schemas.openxmlformats.org/officeDocument/2006/relationships/image" Target="../media/image4.emf"/><Relationship Id="rId5" Type="http://schemas.openxmlformats.org/officeDocument/2006/relationships/tags" Target="../tags/tag20.xml"/><Relationship Id="rId10" Type="http://schemas.openxmlformats.org/officeDocument/2006/relationships/notesSlide" Target="../notesSlides/notesSlide8.xml"/><Relationship Id="rId4" Type="http://schemas.openxmlformats.org/officeDocument/2006/relationships/tags" Target="../tags/tag19.xml"/><Relationship Id="rId9"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图片 1">
            <a:extLst>
              <a:ext uri="{FF2B5EF4-FFF2-40B4-BE49-F238E27FC236}">
                <a16:creationId xmlns:a16="http://schemas.microsoft.com/office/drawing/2014/main" id="{A1B75A59-F07A-44AD-A6B1-5CD49E01C99F}"/>
              </a:ext>
            </a:extLst>
          </p:cNvPr>
          <p:cNvPicPr>
            <a:picLocks noChangeAspect="1"/>
          </p:cNvPicPr>
          <p:nvPr/>
        </p:nvPicPr>
        <p:blipFill>
          <a:blip r:embed="rId5">
            <a:extLst>
              <a:ext uri="{28A0092B-C50C-407E-A947-70E740481C1C}">
                <a14:useLocalDpi xmlns:a14="http://schemas.microsoft.com/office/drawing/2010/main" val="0"/>
              </a:ext>
            </a:extLst>
          </a:blip>
          <a:srcRect l="26759"/>
          <a:stretch>
            <a:fillRect/>
          </a:stretch>
        </p:blipFill>
        <p:spPr bwMode="auto">
          <a:xfrm>
            <a:off x="0" y="1196975"/>
            <a:ext cx="4600575" cy="507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
            <a:extLst>
              <a:ext uri="{FF2B5EF4-FFF2-40B4-BE49-F238E27FC236}">
                <a16:creationId xmlns:a16="http://schemas.microsoft.com/office/drawing/2014/main" id="{E97099CF-941B-44D9-B656-DC12DB01248E}"/>
              </a:ext>
            </a:extLst>
          </p:cNvPr>
          <p:cNvSpPr txBox="1">
            <a:spLocks noChangeArrowheads="1"/>
          </p:cNvSpPr>
          <p:nvPr/>
        </p:nvSpPr>
        <p:spPr bwMode="auto">
          <a:xfrm>
            <a:off x="9480550" y="4724400"/>
            <a:ext cx="1980029" cy="861774"/>
          </a:xfrm>
          <a:prstGeom prst="rect">
            <a:avLst/>
          </a:prstGeom>
          <a:noFill/>
          <a:ln>
            <a:noFill/>
          </a:ln>
        </p:spPr>
        <p:txBody>
          <a:bodyPr wrap="none">
            <a:spAutoFit/>
          </a:bodyPr>
          <a:lstStyle>
            <a:lvl1pPr eaLnBrk="0" hangingPunct="0">
              <a:defRPr sz="2400" b="1">
                <a:solidFill>
                  <a:schemeClr val="tx2"/>
                </a:solidFill>
                <a:latin typeface="Arial" charset="0"/>
                <a:ea typeface="楷体_GB2312" pitchFamily="49" charset="-122"/>
              </a:defRPr>
            </a:lvl1pPr>
            <a:lvl2pPr marL="742950" indent="-285750" eaLnBrk="0" hangingPunct="0">
              <a:defRPr sz="2400" b="1">
                <a:solidFill>
                  <a:schemeClr val="tx2"/>
                </a:solidFill>
                <a:latin typeface="Arial" charset="0"/>
                <a:ea typeface="楷体_GB2312" pitchFamily="49" charset="-122"/>
              </a:defRPr>
            </a:lvl2pPr>
            <a:lvl3pPr marL="1143000" indent="-228600" eaLnBrk="0" hangingPunct="0">
              <a:defRPr sz="2400" b="1">
                <a:solidFill>
                  <a:schemeClr val="tx2"/>
                </a:solidFill>
                <a:latin typeface="Arial" charset="0"/>
                <a:ea typeface="楷体_GB2312" pitchFamily="49" charset="-122"/>
              </a:defRPr>
            </a:lvl3pPr>
            <a:lvl4pPr marL="1600200" indent="-228600" eaLnBrk="0" hangingPunct="0">
              <a:defRPr sz="2400" b="1">
                <a:solidFill>
                  <a:schemeClr val="tx2"/>
                </a:solidFill>
                <a:latin typeface="Arial" charset="0"/>
                <a:ea typeface="楷体_GB2312" pitchFamily="49" charset="-122"/>
              </a:defRPr>
            </a:lvl4pPr>
            <a:lvl5pPr marL="2057400" indent="-228600" eaLnBrk="0" hangingPunct="0">
              <a:defRPr sz="2400" b="1">
                <a:solidFill>
                  <a:schemeClr val="tx2"/>
                </a:solidFill>
                <a:latin typeface="Arial" charset="0"/>
                <a:ea typeface="楷体_GB2312" pitchFamily="49" charset="-122"/>
              </a:defRPr>
            </a:lvl5pPr>
            <a:lvl6pPr marL="2514600" indent="-228600" algn="ctr" eaLnBrk="0" fontAlgn="base" hangingPunct="0">
              <a:spcBef>
                <a:spcPct val="0"/>
              </a:spcBef>
              <a:spcAft>
                <a:spcPct val="0"/>
              </a:spcAft>
              <a:defRPr sz="2400" b="1">
                <a:solidFill>
                  <a:schemeClr val="tx2"/>
                </a:solidFill>
                <a:latin typeface="Arial" charset="0"/>
                <a:ea typeface="楷体_GB2312" pitchFamily="49" charset="-122"/>
              </a:defRPr>
            </a:lvl6pPr>
            <a:lvl7pPr marL="2971800" indent="-228600" algn="ctr" eaLnBrk="0" fontAlgn="base" hangingPunct="0">
              <a:spcBef>
                <a:spcPct val="0"/>
              </a:spcBef>
              <a:spcAft>
                <a:spcPct val="0"/>
              </a:spcAft>
              <a:defRPr sz="2400" b="1">
                <a:solidFill>
                  <a:schemeClr val="tx2"/>
                </a:solidFill>
                <a:latin typeface="Arial" charset="0"/>
                <a:ea typeface="楷体_GB2312" pitchFamily="49" charset="-122"/>
              </a:defRPr>
            </a:lvl7pPr>
            <a:lvl8pPr marL="3429000" indent="-228600" algn="ctr" eaLnBrk="0" fontAlgn="base" hangingPunct="0">
              <a:spcBef>
                <a:spcPct val="0"/>
              </a:spcBef>
              <a:spcAft>
                <a:spcPct val="0"/>
              </a:spcAft>
              <a:defRPr sz="2400" b="1">
                <a:solidFill>
                  <a:schemeClr val="tx2"/>
                </a:solidFill>
                <a:latin typeface="Arial" charset="0"/>
                <a:ea typeface="楷体_GB2312" pitchFamily="49" charset="-122"/>
              </a:defRPr>
            </a:lvl8pPr>
            <a:lvl9pPr marL="3886200" indent="-228600" algn="ctr" eaLnBrk="0" fontAlgn="base" hangingPunct="0">
              <a:spcBef>
                <a:spcPct val="0"/>
              </a:spcBef>
              <a:spcAft>
                <a:spcPct val="0"/>
              </a:spcAft>
              <a:defRPr sz="2400" b="1">
                <a:solidFill>
                  <a:schemeClr val="tx2"/>
                </a:solidFill>
                <a:latin typeface="Arial" charset="0"/>
                <a:ea typeface="楷体_GB2312" pitchFamily="49" charset="-122"/>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zh-CN" altLang="en-US" sz="2000" b="1" i="0" u="none" strike="noStrike" kern="1200" cap="none" spc="0" normalizeH="0" baseline="0" noProof="0" dirty="0">
                <a:ln>
                  <a:noFill/>
                </a:ln>
                <a:solidFill>
                  <a:srgbClr val="4BACC6">
                    <a:lumMod val="50000"/>
                  </a:srgbClr>
                </a:solidFill>
                <a:effectLst/>
                <a:uLnTx/>
                <a:uFillTx/>
                <a:latin typeface="+mn-lt"/>
                <a:ea typeface="+mn-ea"/>
                <a:cs typeface="+mn-ea"/>
                <a:sym typeface="+mn-lt"/>
              </a:rPr>
              <a:t>新湖有色</a:t>
            </a:r>
            <a:endParaRPr kumimoji="0" lang="en-US" altLang="zh-CN" sz="2000" b="1" i="0" u="none" strike="noStrike" kern="1200" cap="none" spc="0" normalizeH="0" baseline="0" noProof="0" dirty="0">
              <a:ln>
                <a:noFill/>
              </a:ln>
              <a:solidFill>
                <a:srgbClr val="4BACC6">
                  <a:lumMod val="50000"/>
                </a:srgbClr>
              </a:solidFill>
              <a:effectLst/>
              <a:uLnTx/>
              <a:uFillTx/>
              <a:latin typeface="+mn-lt"/>
              <a:ea typeface="+mn-ea"/>
              <a:cs typeface="+mn-ea"/>
              <a:sym typeface="+mn-lt"/>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zh-CN" altLang="en-US" sz="2000" b="1" i="0" u="none" strike="noStrike" kern="1200" cap="none" spc="0" normalizeH="0" baseline="0" noProof="0" dirty="0">
                <a:ln>
                  <a:noFill/>
                </a:ln>
                <a:solidFill>
                  <a:srgbClr val="4BACC6">
                    <a:lumMod val="50000"/>
                  </a:srgbClr>
                </a:solidFill>
                <a:effectLst/>
                <a:uLnTx/>
                <a:uFillTx/>
                <a:latin typeface="+mn-lt"/>
                <a:ea typeface="+mn-ea"/>
                <a:cs typeface="+mn-ea"/>
                <a:sym typeface="+mn-lt"/>
              </a:rPr>
              <a:t>新湖期货研究所</a:t>
            </a:r>
          </a:p>
        </p:txBody>
      </p:sp>
      <p:sp>
        <p:nvSpPr>
          <p:cNvPr id="6" name="TextBox 9">
            <a:extLst>
              <a:ext uri="{FF2B5EF4-FFF2-40B4-BE49-F238E27FC236}">
                <a16:creationId xmlns:a16="http://schemas.microsoft.com/office/drawing/2014/main" id="{726E3CC4-D99E-42AD-A5E8-AC752F18787A}"/>
              </a:ext>
            </a:extLst>
          </p:cNvPr>
          <p:cNvSpPr txBox="1">
            <a:spLocks noChangeArrowheads="1"/>
          </p:cNvSpPr>
          <p:nvPr/>
        </p:nvSpPr>
        <p:spPr bwMode="auto">
          <a:xfrm>
            <a:off x="7104063" y="2420938"/>
            <a:ext cx="2501006" cy="646331"/>
          </a:xfrm>
          <a:prstGeom prst="rect">
            <a:avLst/>
          </a:prstGeom>
          <a:noFill/>
          <a:ln>
            <a:noFill/>
          </a:ln>
        </p:spPr>
        <p:txBody>
          <a:bodyPr wrap="none">
            <a:spAutoFit/>
          </a:bodyPr>
          <a:lstStyle>
            <a:lvl1pPr eaLnBrk="0" hangingPunct="0">
              <a:defRPr sz="2400" b="1">
                <a:solidFill>
                  <a:schemeClr val="tx2"/>
                </a:solidFill>
                <a:latin typeface="Arial" charset="0"/>
                <a:ea typeface="楷体_GB2312" pitchFamily="49" charset="-122"/>
              </a:defRPr>
            </a:lvl1pPr>
            <a:lvl2pPr marL="742950" indent="-285750" eaLnBrk="0" hangingPunct="0">
              <a:defRPr sz="2400" b="1">
                <a:solidFill>
                  <a:schemeClr val="tx2"/>
                </a:solidFill>
                <a:latin typeface="Arial" charset="0"/>
                <a:ea typeface="楷体_GB2312" pitchFamily="49" charset="-122"/>
              </a:defRPr>
            </a:lvl2pPr>
            <a:lvl3pPr marL="1143000" indent="-228600" eaLnBrk="0" hangingPunct="0">
              <a:defRPr sz="2400" b="1">
                <a:solidFill>
                  <a:schemeClr val="tx2"/>
                </a:solidFill>
                <a:latin typeface="Arial" charset="0"/>
                <a:ea typeface="楷体_GB2312" pitchFamily="49" charset="-122"/>
              </a:defRPr>
            </a:lvl3pPr>
            <a:lvl4pPr marL="1600200" indent="-228600" eaLnBrk="0" hangingPunct="0">
              <a:defRPr sz="2400" b="1">
                <a:solidFill>
                  <a:schemeClr val="tx2"/>
                </a:solidFill>
                <a:latin typeface="Arial" charset="0"/>
                <a:ea typeface="楷体_GB2312" pitchFamily="49" charset="-122"/>
              </a:defRPr>
            </a:lvl4pPr>
            <a:lvl5pPr marL="2057400" indent="-228600" eaLnBrk="0" hangingPunct="0">
              <a:defRPr sz="2400" b="1">
                <a:solidFill>
                  <a:schemeClr val="tx2"/>
                </a:solidFill>
                <a:latin typeface="Arial" charset="0"/>
                <a:ea typeface="楷体_GB2312" pitchFamily="49" charset="-122"/>
              </a:defRPr>
            </a:lvl5pPr>
            <a:lvl6pPr marL="2514600" indent="-228600" algn="ctr" eaLnBrk="0" fontAlgn="base" hangingPunct="0">
              <a:spcBef>
                <a:spcPct val="0"/>
              </a:spcBef>
              <a:spcAft>
                <a:spcPct val="0"/>
              </a:spcAft>
              <a:defRPr sz="2400" b="1">
                <a:solidFill>
                  <a:schemeClr val="tx2"/>
                </a:solidFill>
                <a:latin typeface="Arial" charset="0"/>
                <a:ea typeface="楷体_GB2312" pitchFamily="49" charset="-122"/>
              </a:defRPr>
            </a:lvl6pPr>
            <a:lvl7pPr marL="2971800" indent="-228600" algn="ctr" eaLnBrk="0" fontAlgn="base" hangingPunct="0">
              <a:spcBef>
                <a:spcPct val="0"/>
              </a:spcBef>
              <a:spcAft>
                <a:spcPct val="0"/>
              </a:spcAft>
              <a:defRPr sz="2400" b="1">
                <a:solidFill>
                  <a:schemeClr val="tx2"/>
                </a:solidFill>
                <a:latin typeface="Arial" charset="0"/>
                <a:ea typeface="楷体_GB2312" pitchFamily="49" charset="-122"/>
              </a:defRPr>
            </a:lvl7pPr>
            <a:lvl8pPr marL="3429000" indent="-228600" algn="ctr" eaLnBrk="0" fontAlgn="base" hangingPunct="0">
              <a:spcBef>
                <a:spcPct val="0"/>
              </a:spcBef>
              <a:spcAft>
                <a:spcPct val="0"/>
              </a:spcAft>
              <a:defRPr sz="2400" b="1">
                <a:solidFill>
                  <a:schemeClr val="tx2"/>
                </a:solidFill>
                <a:latin typeface="Arial" charset="0"/>
                <a:ea typeface="楷体_GB2312" pitchFamily="49" charset="-122"/>
              </a:defRPr>
            </a:lvl8pPr>
            <a:lvl9pPr marL="3886200" indent="-228600" algn="ctr" eaLnBrk="0" fontAlgn="base" hangingPunct="0">
              <a:spcBef>
                <a:spcPct val="0"/>
              </a:spcBef>
              <a:spcAft>
                <a:spcPct val="0"/>
              </a:spcAft>
              <a:defRPr sz="2400" b="1">
                <a:solidFill>
                  <a:schemeClr val="tx2"/>
                </a:solidFill>
                <a:latin typeface="Arial" charset="0"/>
                <a:ea typeface="楷体_GB2312" pitchFamily="49" charset="-122"/>
              </a:defRPr>
            </a:lvl9p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zh-CN" altLang="en-US" sz="3600" dirty="0">
                <a:solidFill>
                  <a:srgbClr val="4BACC6">
                    <a:lumMod val="50000"/>
                  </a:srgbClr>
                </a:solidFill>
                <a:latin typeface="+mn-lt"/>
                <a:ea typeface="+mn-ea"/>
                <a:cs typeface="+mn-ea"/>
                <a:sym typeface="+mn-lt"/>
              </a:rPr>
              <a:t>工业硅</a:t>
            </a:r>
            <a:r>
              <a:rPr kumimoji="0" lang="zh-CN" altLang="en-US" sz="3600" i="0" u="none" strike="noStrike" kern="1200" cap="none" spc="0" normalizeH="0" baseline="0" noProof="0" dirty="0">
                <a:ln>
                  <a:noFill/>
                </a:ln>
                <a:solidFill>
                  <a:srgbClr val="4BACC6">
                    <a:lumMod val="50000"/>
                  </a:srgbClr>
                </a:solidFill>
                <a:effectLst/>
                <a:uLnTx/>
                <a:uFillTx/>
                <a:latin typeface="+mn-lt"/>
                <a:ea typeface="+mn-ea"/>
                <a:cs typeface="+mn-ea"/>
                <a:sym typeface="+mn-lt"/>
              </a:rPr>
              <a:t>周报</a:t>
            </a:r>
            <a:endParaRPr kumimoji="0" lang="en-US" altLang="zh-CN" sz="3600" i="0" u="none" strike="noStrike" kern="1200" cap="none" spc="0" normalizeH="0" baseline="0" noProof="0" dirty="0">
              <a:ln>
                <a:noFill/>
              </a:ln>
              <a:solidFill>
                <a:srgbClr val="4BACC6">
                  <a:lumMod val="50000"/>
                </a:srgbClr>
              </a:solidFill>
              <a:effectLst/>
              <a:uLnTx/>
              <a:uFillTx/>
              <a:latin typeface="+mn-lt"/>
              <a:ea typeface="+mn-ea"/>
              <a:cs typeface="+mn-ea"/>
              <a:sym typeface="+mn-lt"/>
            </a:endParaRPr>
          </a:p>
        </p:txBody>
      </p:sp>
    </p:spTree>
    <p:custDataLst>
      <p:tags r:id="rId2"/>
    </p:custDataLst>
  </p:cSld>
  <p:clrMapOvr>
    <a:masterClrMapping/>
  </p:clrMapOvr>
  <p:transition advTm="10000"/>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1875AEE-EEBD-472C-AF44-3F2C6E7725DA}"/>
              </a:ext>
            </a:extLst>
          </p:cNvPr>
          <p:cNvSpPr>
            <a:spLocks noGrp="1"/>
          </p:cNvSpPr>
          <p:nvPr>
            <p:ph type="title"/>
          </p:nvPr>
        </p:nvSpPr>
        <p:spPr/>
        <p:txBody>
          <a:bodyPr/>
          <a:lstStyle/>
          <a:p>
            <a:r>
              <a:rPr lang="zh-CN" altLang="en-US" dirty="0">
                <a:latin typeface="+mn-lt"/>
                <a:ea typeface="+mn-ea"/>
                <a:cs typeface="+mn-ea"/>
                <a:sym typeface="+mn-lt"/>
              </a:rPr>
              <a:t>各原材料价格暂稳</a:t>
            </a:r>
          </a:p>
        </p:txBody>
      </p:sp>
      <p:sp>
        <p:nvSpPr>
          <p:cNvPr id="3" name="灯片编号占位符 2">
            <a:extLst>
              <a:ext uri="{FF2B5EF4-FFF2-40B4-BE49-F238E27FC236}">
                <a16:creationId xmlns:a16="http://schemas.microsoft.com/office/drawing/2014/main" id="{B477CAE0-8419-47ED-B5A6-2E557357FD47}"/>
              </a:ext>
            </a:extLst>
          </p:cNvPr>
          <p:cNvSpPr>
            <a:spLocks noGrp="1"/>
          </p:cNvSpPr>
          <p:nvPr>
            <p:ph type="sldNum" sz="quarter" idx="11"/>
          </p:nvPr>
        </p:nvSpPr>
        <p:spPr/>
        <p:txBody>
          <a:bodyPr/>
          <a:lstStyle/>
          <a:p>
            <a:pPr>
              <a:defRPr/>
            </a:pPr>
            <a:fld id="{8E2C30CB-4307-4BB9-B24E-988C520472CC}" type="slidenum">
              <a:rPr lang="zh-CN" altLang="en-US" smtClean="0">
                <a:latin typeface="+mn-lt"/>
                <a:ea typeface="+mn-ea"/>
                <a:cs typeface="+mn-ea"/>
                <a:sym typeface="+mn-lt"/>
              </a:rPr>
              <a:pPr>
                <a:defRPr/>
              </a:pPr>
              <a:t>10</a:t>
            </a:fld>
            <a:endParaRPr lang="zh-CN" altLang="en-US">
              <a:latin typeface="+mn-lt"/>
              <a:ea typeface="+mn-ea"/>
              <a:cs typeface="+mn-ea"/>
              <a:sym typeface="+mn-lt"/>
            </a:endParaRPr>
          </a:p>
        </p:txBody>
      </p:sp>
      <p:grpSp>
        <p:nvGrpSpPr>
          <p:cNvPr id="15" name="组合 14">
            <a:extLst>
              <a:ext uri="{FF2B5EF4-FFF2-40B4-BE49-F238E27FC236}">
                <a16:creationId xmlns:a16="http://schemas.microsoft.com/office/drawing/2014/main" id="{D476880F-3A4C-D1AC-6318-C2B54D96FC59}"/>
              </a:ext>
            </a:extLst>
          </p:cNvPr>
          <p:cNvGrpSpPr/>
          <p:nvPr/>
        </p:nvGrpSpPr>
        <p:grpSpPr>
          <a:xfrm>
            <a:off x="248866" y="1006814"/>
            <a:ext cx="11536194" cy="5102385"/>
            <a:chOff x="349359" y="3575822"/>
            <a:chExt cx="8640000" cy="5040000"/>
          </a:xfrm>
        </p:grpSpPr>
        <p:graphicFrame>
          <p:nvGraphicFramePr>
            <p:cNvPr id="6" name="图表 5">
              <a:extLst>
                <a:ext uri="{FF2B5EF4-FFF2-40B4-BE49-F238E27FC236}">
                  <a16:creationId xmlns:a16="http://schemas.microsoft.com/office/drawing/2014/main" id="{75368585-1616-8BBC-7611-6586DD439DD4}"/>
                </a:ext>
              </a:extLst>
            </p:cNvPr>
            <p:cNvGraphicFramePr>
              <a:graphicFrameLocks/>
            </p:cNvGraphicFramePr>
            <p:nvPr>
              <p:extLst>
                <p:ext uri="{D42A27DB-BD31-4B8C-83A1-F6EECF244321}">
                  <p14:modId xmlns:p14="http://schemas.microsoft.com/office/powerpoint/2010/main" val="1254305461"/>
                </p:ext>
              </p:extLst>
            </p:nvPr>
          </p:nvGraphicFramePr>
          <p:xfrm>
            <a:off x="4669359" y="3575822"/>
            <a:ext cx="4320000" cy="252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图表 10">
              <a:extLst>
                <a:ext uri="{FF2B5EF4-FFF2-40B4-BE49-F238E27FC236}">
                  <a16:creationId xmlns:a16="http://schemas.microsoft.com/office/drawing/2014/main" id="{00000000-0008-0000-0E00-000006000000}"/>
                </a:ext>
              </a:extLst>
            </p:cNvPr>
            <p:cNvGraphicFramePr>
              <a:graphicFrameLocks/>
            </p:cNvGraphicFramePr>
            <p:nvPr>
              <p:extLst>
                <p:ext uri="{D42A27DB-BD31-4B8C-83A1-F6EECF244321}">
                  <p14:modId xmlns:p14="http://schemas.microsoft.com/office/powerpoint/2010/main" val="2461458993"/>
                </p:ext>
              </p:extLst>
            </p:nvPr>
          </p:nvGraphicFramePr>
          <p:xfrm>
            <a:off x="349359" y="3575822"/>
            <a:ext cx="4320000" cy="25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图表 12">
              <a:extLst>
                <a:ext uri="{FF2B5EF4-FFF2-40B4-BE49-F238E27FC236}">
                  <a16:creationId xmlns:a16="http://schemas.microsoft.com/office/drawing/2014/main" id="{00000000-0008-0000-1200-000006000000}"/>
                </a:ext>
              </a:extLst>
            </p:cNvPr>
            <p:cNvGraphicFramePr>
              <a:graphicFrameLocks/>
            </p:cNvGraphicFramePr>
            <p:nvPr>
              <p:extLst>
                <p:ext uri="{D42A27DB-BD31-4B8C-83A1-F6EECF244321}">
                  <p14:modId xmlns:p14="http://schemas.microsoft.com/office/powerpoint/2010/main" val="2328037493"/>
                </p:ext>
              </p:extLst>
            </p:nvPr>
          </p:nvGraphicFramePr>
          <p:xfrm>
            <a:off x="349359" y="6095822"/>
            <a:ext cx="4320000" cy="25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图表 13">
              <a:extLst>
                <a:ext uri="{FF2B5EF4-FFF2-40B4-BE49-F238E27FC236}">
                  <a16:creationId xmlns:a16="http://schemas.microsoft.com/office/drawing/2014/main" id="{94B00737-92BA-C4CC-EB11-5C0188AB2BB7}"/>
                </a:ext>
              </a:extLst>
            </p:cNvPr>
            <p:cNvGraphicFramePr>
              <a:graphicFrameLocks/>
            </p:cNvGraphicFramePr>
            <p:nvPr>
              <p:extLst>
                <p:ext uri="{D42A27DB-BD31-4B8C-83A1-F6EECF244321}">
                  <p14:modId xmlns:p14="http://schemas.microsoft.com/office/powerpoint/2010/main" val="2749573887"/>
                </p:ext>
              </p:extLst>
            </p:nvPr>
          </p:nvGraphicFramePr>
          <p:xfrm>
            <a:off x="4669359" y="6095822"/>
            <a:ext cx="4320000" cy="2520000"/>
          </p:xfrm>
          <a:graphic>
            <a:graphicData uri="http://schemas.openxmlformats.org/drawingml/2006/chart">
              <c:chart xmlns:c="http://schemas.openxmlformats.org/drawingml/2006/chart" xmlns:r="http://schemas.openxmlformats.org/officeDocument/2006/relationships" r:id="rId7"/>
            </a:graphicData>
          </a:graphic>
        </p:graphicFrame>
      </p:grpSp>
      <p:sp>
        <p:nvSpPr>
          <p:cNvPr id="16" name="文本框 14">
            <a:extLst>
              <a:ext uri="{FF2B5EF4-FFF2-40B4-BE49-F238E27FC236}">
                <a16:creationId xmlns:a16="http://schemas.microsoft.com/office/drawing/2014/main" id="{AF31570F-B851-9A26-CE0C-55A189E73498}"/>
              </a:ext>
            </a:extLst>
          </p:cNvPr>
          <p:cNvSpPr txBox="1">
            <a:spLocks noChangeArrowheads="1"/>
          </p:cNvSpPr>
          <p:nvPr/>
        </p:nvSpPr>
        <p:spPr bwMode="auto">
          <a:xfrm>
            <a:off x="190500" y="1049519"/>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7" name="文本框 14">
            <a:extLst>
              <a:ext uri="{FF2B5EF4-FFF2-40B4-BE49-F238E27FC236}">
                <a16:creationId xmlns:a16="http://schemas.microsoft.com/office/drawing/2014/main" id="{C8BE4446-2EF1-FCEB-67EE-689AF9742985}"/>
              </a:ext>
            </a:extLst>
          </p:cNvPr>
          <p:cNvSpPr txBox="1">
            <a:spLocks noChangeArrowheads="1"/>
          </p:cNvSpPr>
          <p:nvPr/>
        </p:nvSpPr>
        <p:spPr bwMode="auto">
          <a:xfrm>
            <a:off x="5971730" y="1049518"/>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8" name="文本框 14">
            <a:extLst>
              <a:ext uri="{FF2B5EF4-FFF2-40B4-BE49-F238E27FC236}">
                <a16:creationId xmlns:a16="http://schemas.microsoft.com/office/drawing/2014/main" id="{98A6294C-9F1E-7BF0-F241-56936E437D71}"/>
              </a:ext>
            </a:extLst>
          </p:cNvPr>
          <p:cNvSpPr txBox="1">
            <a:spLocks noChangeArrowheads="1"/>
          </p:cNvSpPr>
          <p:nvPr/>
        </p:nvSpPr>
        <p:spPr bwMode="auto">
          <a:xfrm>
            <a:off x="5971730" y="3679711"/>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9" name="文本框 14">
            <a:extLst>
              <a:ext uri="{FF2B5EF4-FFF2-40B4-BE49-F238E27FC236}">
                <a16:creationId xmlns:a16="http://schemas.microsoft.com/office/drawing/2014/main" id="{0BB9952D-368A-A8E0-B585-F2E74C633330}"/>
              </a:ext>
            </a:extLst>
          </p:cNvPr>
          <p:cNvSpPr txBox="1">
            <a:spLocks noChangeArrowheads="1"/>
          </p:cNvSpPr>
          <p:nvPr/>
        </p:nvSpPr>
        <p:spPr bwMode="auto">
          <a:xfrm>
            <a:off x="228066" y="3651814"/>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4" name="灯片编号占位符 2">
            <a:extLst>
              <a:ext uri="{FF2B5EF4-FFF2-40B4-BE49-F238E27FC236}">
                <a16:creationId xmlns:a16="http://schemas.microsoft.com/office/drawing/2014/main" id="{5CE139A4-E8EC-B398-ACB3-1366E402DAE7}"/>
              </a:ext>
            </a:extLst>
          </p:cNvPr>
          <p:cNvSpPr txBox="1">
            <a:spLocks noChangeArrowheads="1"/>
          </p:cNvSpPr>
          <p:nvPr/>
        </p:nvSpPr>
        <p:spPr bwMode="auto">
          <a:xfrm>
            <a:off x="190500" y="6369050"/>
            <a:ext cx="396761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同花顺，</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新湖研究所</a:t>
            </a:r>
          </a:p>
        </p:txBody>
      </p:sp>
    </p:spTree>
    <p:extLst>
      <p:ext uri="{BB962C8B-B14F-4D97-AF65-F5344CB8AC3E}">
        <p14:creationId xmlns:p14="http://schemas.microsoft.com/office/powerpoint/2010/main" val="4917300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001A47B-8AE5-B367-7F7F-C9DDF7A738D7}"/>
              </a:ext>
            </a:extLst>
          </p:cNvPr>
          <p:cNvSpPr>
            <a:spLocks noGrp="1"/>
          </p:cNvSpPr>
          <p:nvPr>
            <p:ph type="title"/>
          </p:nvPr>
        </p:nvSpPr>
        <p:spPr/>
        <p:txBody>
          <a:bodyPr/>
          <a:lstStyle/>
          <a:p>
            <a:r>
              <a:rPr lang="zh-CN" altLang="en-US" dirty="0">
                <a:latin typeface="+mn-lt"/>
                <a:ea typeface="+mn-ea"/>
                <a:cs typeface="+mn-ea"/>
                <a:sym typeface="+mn-lt"/>
              </a:rPr>
              <a:t>本周电价整体持稳</a:t>
            </a:r>
          </a:p>
        </p:txBody>
      </p:sp>
      <p:sp>
        <p:nvSpPr>
          <p:cNvPr id="3" name="灯片编号占位符 2">
            <a:extLst>
              <a:ext uri="{FF2B5EF4-FFF2-40B4-BE49-F238E27FC236}">
                <a16:creationId xmlns:a16="http://schemas.microsoft.com/office/drawing/2014/main" id="{19EE7450-E217-8100-91B8-DEA29709803F}"/>
              </a:ext>
            </a:extLst>
          </p:cNvPr>
          <p:cNvSpPr>
            <a:spLocks noGrp="1"/>
          </p:cNvSpPr>
          <p:nvPr>
            <p:ph type="sldNum" sz="quarter" idx="11"/>
          </p:nvPr>
        </p:nvSpPr>
        <p:spPr/>
        <p:txBody>
          <a:bodyPr/>
          <a:lstStyle/>
          <a:p>
            <a:pPr>
              <a:defRPr/>
            </a:pPr>
            <a:fld id="{8E2C30CB-4307-4BB9-B24E-988C520472CC}" type="slidenum">
              <a:rPr lang="zh-CN" altLang="en-US" smtClean="0">
                <a:latin typeface="+mn-lt"/>
                <a:ea typeface="+mn-ea"/>
                <a:cs typeface="+mn-ea"/>
                <a:sym typeface="+mn-lt"/>
              </a:rPr>
              <a:pPr>
                <a:defRPr/>
              </a:pPr>
              <a:t>11</a:t>
            </a:fld>
            <a:endParaRPr lang="zh-CN" altLang="en-US">
              <a:latin typeface="+mn-lt"/>
              <a:ea typeface="+mn-ea"/>
              <a:cs typeface="+mn-ea"/>
              <a:sym typeface="+mn-lt"/>
            </a:endParaRPr>
          </a:p>
        </p:txBody>
      </p:sp>
      <p:grpSp>
        <p:nvGrpSpPr>
          <p:cNvPr id="8" name="组合 7">
            <a:extLst>
              <a:ext uri="{FF2B5EF4-FFF2-40B4-BE49-F238E27FC236}">
                <a16:creationId xmlns:a16="http://schemas.microsoft.com/office/drawing/2014/main" id="{6B9C1909-2AA3-58F1-CDCF-89D86E22C03F}"/>
              </a:ext>
            </a:extLst>
          </p:cNvPr>
          <p:cNvGrpSpPr/>
          <p:nvPr/>
        </p:nvGrpSpPr>
        <p:grpSpPr>
          <a:xfrm>
            <a:off x="189689" y="817123"/>
            <a:ext cx="11502958" cy="5393988"/>
            <a:chOff x="6326762" y="3627596"/>
            <a:chExt cx="8640000" cy="5040000"/>
          </a:xfrm>
        </p:grpSpPr>
        <p:graphicFrame>
          <p:nvGraphicFramePr>
            <p:cNvPr id="4" name="图表 3">
              <a:extLst>
                <a:ext uri="{FF2B5EF4-FFF2-40B4-BE49-F238E27FC236}">
                  <a16:creationId xmlns:a16="http://schemas.microsoft.com/office/drawing/2014/main" id="{00000000-0008-0000-1600-00000B000000}"/>
                </a:ext>
              </a:extLst>
            </p:cNvPr>
            <p:cNvGraphicFramePr>
              <a:graphicFrameLocks/>
            </p:cNvGraphicFramePr>
            <p:nvPr>
              <p:extLst>
                <p:ext uri="{D42A27DB-BD31-4B8C-83A1-F6EECF244321}">
                  <p14:modId xmlns:p14="http://schemas.microsoft.com/office/powerpoint/2010/main" val="2833903968"/>
                </p:ext>
              </p:extLst>
            </p:nvPr>
          </p:nvGraphicFramePr>
          <p:xfrm>
            <a:off x="6326762" y="3627596"/>
            <a:ext cx="4320000" cy="25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图表 4">
              <a:extLst>
                <a:ext uri="{FF2B5EF4-FFF2-40B4-BE49-F238E27FC236}">
                  <a16:creationId xmlns:a16="http://schemas.microsoft.com/office/drawing/2014/main" id="{00000000-0008-0000-1600-000006000000}"/>
                </a:ext>
              </a:extLst>
            </p:cNvPr>
            <p:cNvGraphicFramePr>
              <a:graphicFrameLocks/>
            </p:cNvGraphicFramePr>
            <p:nvPr>
              <p:extLst>
                <p:ext uri="{D42A27DB-BD31-4B8C-83A1-F6EECF244321}">
                  <p14:modId xmlns:p14="http://schemas.microsoft.com/office/powerpoint/2010/main" val="1464041975"/>
                </p:ext>
              </p:extLst>
            </p:nvPr>
          </p:nvGraphicFramePr>
          <p:xfrm>
            <a:off x="10646762" y="3627596"/>
            <a:ext cx="4320000" cy="252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图表 5">
              <a:extLst>
                <a:ext uri="{FF2B5EF4-FFF2-40B4-BE49-F238E27FC236}">
                  <a16:creationId xmlns:a16="http://schemas.microsoft.com/office/drawing/2014/main" id="{00000000-0008-0000-1600-000002000000}"/>
                </a:ext>
              </a:extLst>
            </p:cNvPr>
            <p:cNvGraphicFramePr>
              <a:graphicFrameLocks/>
            </p:cNvGraphicFramePr>
            <p:nvPr>
              <p:extLst>
                <p:ext uri="{D42A27DB-BD31-4B8C-83A1-F6EECF244321}">
                  <p14:modId xmlns:p14="http://schemas.microsoft.com/office/powerpoint/2010/main" val="3969956623"/>
                </p:ext>
              </p:extLst>
            </p:nvPr>
          </p:nvGraphicFramePr>
          <p:xfrm>
            <a:off x="10640064" y="6147596"/>
            <a:ext cx="4320000" cy="25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图表 6">
              <a:extLst>
                <a:ext uri="{FF2B5EF4-FFF2-40B4-BE49-F238E27FC236}">
                  <a16:creationId xmlns:a16="http://schemas.microsoft.com/office/drawing/2014/main" id="{00000000-0008-0000-1600-00000A000000}"/>
                </a:ext>
              </a:extLst>
            </p:cNvPr>
            <p:cNvGraphicFramePr>
              <a:graphicFrameLocks/>
            </p:cNvGraphicFramePr>
            <p:nvPr>
              <p:extLst>
                <p:ext uri="{D42A27DB-BD31-4B8C-83A1-F6EECF244321}">
                  <p14:modId xmlns:p14="http://schemas.microsoft.com/office/powerpoint/2010/main" val="2037781426"/>
                </p:ext>
              </p:extLst>
            </p:nvPr>
          </p:nvGraphicFramePr>
          <p:xfrm>
            <a:off x="6326762" y="6147596"/>
            <a:ext cx="4320000" cy="2520000"/>
          </p:xfrm>
          <a:graphic>
            <a:graphicData uri="http://schemas.openxmlformats.org/drawingml/2006/chart">
              <c:chart xmlns:c="http://schemas.openxmlformats.org/drawingml/2006/chart" xmlns:r="http://schemas.openxmlformats.org/officeDocument/2006/relationships" r:id="rId6"/>
            </a:graphicData>
          </a:graphic>
        </p:graphicFrame>
      </p:grpSp>
      <p:sp>
        <p:nvSpPr>
          <p:cNvPr id="9" name="文本框 14">
            <a:extLst>
              <a:ext uri="{FF2B5EF4-FFF2-40B4-BE49-F238E27FC236}">
                <a16:creationId xmlns:a16="http://schemas.microsoft.com/office/drawing/2014/main" id="{0C5C5414-E018-BCAF-8294-6190DB295D64}"/>
              </a:ext>
            </a:extLst>
          </p:cNvPr>
          <p:cNvSpPr txBox="1">
            <a:spLocks noChangeArrowheads="1"/>
          </p:cNvSpPr>
          <p:nvPr/>
        </p:nvSpPr>
        <p:spPr bwMode="auto">
          <a:xfrm>
            <a:off x="180772" y="942511"/>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度</a:t>
            </a:r>
          </a:p>
        </p:txBody>
      </p:sp>
      <p:sp>
        <p:nvSpPr>
          <p:cNvPr id="10" name="文本框 14">
            <a:extLst>
              <a:ext uri="{FF2B5EF4-FFF2-40B4-BE49-F238E27FC236}">
                <a16:creationId xmlns:a16="http://schemas.microsoft.com/office/drawing/2014/main" id="{03C7741B-2D12-C619-6A73-14D3F14D78FC}"/>
              </a:ext>
            </a:extLst>
          </p:cNvPr>
          <p:cNvSpPr txBox="1">
            <a:spLocks noChangeArrowheads="1"/>
          </p:cNvSpPr>
          <p:nvPr/>
        </p:nvSpPr>
        <p:spPr bwMode="auto">
          <a:xfrm>
            <a:off x="5932251" y="942511"/>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度</a:t>
            </a:r>
          </a:p>
        </p:txBody>
      </p:sp>
      <p:sp>
        <p:nvSpPr>
          <p:cNvPr id="11" name="文本框 14">
            <a:extLst>
              <a:ext uri="{FF2B5EF4-FFF2-40B4-BE49-F238E27FC236}">
                <a16:creationId xmlns:a16="http://schemas.microsoft.com/office/drawing/2014/main" id="{557A7482-4590-146C-F7B6-67F6C81F96D8}"/>
              </a:ext>
            </a:extLst>
          </p:cNvPr>
          <p:cNvSpPr txBox="1">
            <a:spLocks noChangeArrowheads="1"/>
          </p:cNvSpPr>
          <p:nvPr/>
        </p:nvSpPr>
        <p:spPr bwMode="auto">
          <a:xfrm>
            <a:off x="5932251" y="3624913"/>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度</a:t>
            </a:r>
          </a:p>
        </p:txBody>
      </p:sp>
      <p:sp>
        <p:nvSpPr>
          <p:cNvPr id="12" name="文本框 14">
            <a:extLst>
              <a:ext uri="{FF2B5EF4-FFF2-40B4-BE49-F238E27FC236}">
                <a16:creationId xmlns:a16="http://schemas.microsoft.com/office/drawing/2014/main" id="{716A9E59-C2A3-4CBF-DD50-40B017D889EF}"/>
              </a:ext>
            </a:extLst>
          </p:cNvPr>
          <p:cNvSpPr txBox="1">
            <a:spLocks noChangeArrowheads="1"/>
          </p:cNvSpPr>
          <p:nvPr/>
        </p:nvSpPr>
        <p:spPr bwMode="auto">
          <a:xfrm>
            <a:off x="180772" y="3631071"/>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度</a:t>
            </a:r>
          </a:p>
        </p:txBody>
      </p:sp>
      <p:sp>
        <p:nvSpPr>
          <p:cNvPr id="13" name="灯片编号占位符 2">
            <a:extLst>
              <a:ext uri="{FF2B5EF4-FFF2-40B4-BE49-F238E27FC236}">
                <a16:creationId xmlns:a16="http://schemas.microsoft.com/office/drawing/2014/main" id="{79FC97E5-3A1E-8D51-72C7-E1CB36CB794F}"/>
              </a:ext>
            </a:extLst>
          </p:cNvPr>
          <p:cNvSpPr txBox="1">
            <a:spLocks noChangeArrowheads="1"/>
          </p:cNvSpPr>
          <p:nvPr/>
        </p:nvSpPr>
        <p:spPr bwMode="auto">
          <a:xfrm>
            <a:off x="190500" y="6369050"/>
            <a:ext cx="396761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同花顺，</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新湖研究所</a:t>
            </a:r>
          </a:p>
        </p:txBody>
      </p:sp>
    </p:spTree>
    <p:extLst>
      <p:ext uri="{BB962C8B-B14F-4D97-AF65-F5344CB8AC3E}">
        <p14:creationId xmlns:p14="http://schemas.microsoft.com/office/powerpoint/2010/main" val="668296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1EEB5B1-3E37-45FC-A3A9-3CE198F18D56}"/>
              </a:ext>
            </a:extLst>
          </p:cNvPr>
          <p:cNvSpPr>
            <a:spLocks noGrp="1"/>
          </p:cNvSpPr>
          <p:nvPr>
            <p:ph type="title"/>
          </p:nvPr>
        </p:nvSpPr>
        <p:spPr/>
        <p:txBody>
          <a:bodyPr/>
          <a:lstStyle/>
          <a:p>
            <a:r>
              <a:rPr lang="zh-CN" altLang="en-US" dirty="0">
                <a:latin typeface="+mn-lt"/>
                <a:ea typeface="+mn-ea"/>
                <a:cs typeface="+mn-ea"/>
                <a:sym typeface="+mn-lt"/>
              </a:rPr>
              <a:t>工业硅成本弱稳，各主产地成本均有下移；行业利润小幅改善，处华北外各产地毛利均有改善</a:t>
            </a:r>
          </a:p>
        </p:txBody>
      </p:sp>
      <p:sp>
        <p:nvSpPr>
          <p:cNvPr id="3" name="灯片编号占位符 2">
            <a:extLst>
              <a:ext uri="{FF2B5EF4-FFF2-40B4-BE49-F238E27FC236}">
                <a16:creationId xmlns:a16="http://schemas.microsoft.com/office/drawing/2014/main" id="{71C7D25B-CB15-4E58-AB48-9302E3D8E5A1}"/>
              </a:ext>
            </a:extLst>
          </p:cNvPr>
          <p:cNvSpPr>
            <a:spLocks noGrp="1"/>
          </p:cNvSpPr>
          <p:nvPr>
            <p:ph type="sldNum" sz="quarter" idx="11"/>
          </p:nvPr>
        </p:nvSpPr>
        <p:spPr/>
        <p:txBody>
          <a:bodyPr/>
          <a:lstStyle/>
          <a:p>
            <a:pPr>
              <a:defRPr/>
            </a:pPr>
            <a:fld id="{8E2C30CB-4307-4BB9-B24E-988C520472CC}" type="slidenum">
              <a:rPr lang="zh-CN" altLang="en-US" smtClean="0">
                <a:latin typeface="+mn-lt"/>
                <a:ea typeface="+mn-ea"/>
                <a:cs typeface="+mn-ea"/>
                <a:sym typeface="+mn-lt"/>
              </a:rPr>
              <a:pPr>
                <a:defRPr/>
              </a:pPr>
              <a:t>12</a:t>
            </a:fld>
            <a:endParaRPr lang="zh-CN" altLang="en-US" dirty="0">
              <a:latin typeface="+mn-lt"/>
              <a:ea typeface="+mn-ea"/>
              <a:cs typeface="+mn-ea"/>
              <a:sym typeface="+mn-lt"/>
            </a:endParaRPr>
          </a:p>
        </p:txBody>
      </p:sp>
      <p:grpSp>
        <p:nvGrpSpPr>
          <p:cNvPr id="11" name="组合 10">
            <a:extLst>
              <a:ext uri="{FF2B5EF4-FFF2-40B4-BE49-F238E27FC236}">
                <a16:creationId xmlns:a16="http://schemas.microsoft.com/office/drawing/2014/main" id="{4E2DC64C-7672-FBC1-8526-4CC0E11863C5}"/>
              </a:ext>
            </a:extLst>
          </p:cNvPr>
          <p:cNvGrpSpPr/>
          <p:nvPr/>
        </p:nvGrpSpPr>
        <p:grpSpPr>
          <a:xfrm>
            <a:off x="379681" y="930233"/>
            <a:ext cx="11202719" cy="5266135"/>
            <a:chOff x="460745" y="930233"/>
            <a:chExt cx="8640000" cy="5025929"/>
          </a:xfrm>
        </p:grpSpPr>
        <p:graphicFrame>
          <p:nvGraphicFramePr>
            <p:cNvPr id="4" name="图表 3">
              <a:extLst>
                <a:ext uri="{FF2B5EF4-FFF2-40B4-BE49-F238E27FC236}">
                  <a16:creationId xmlns:a16="http://schemas.microsoft.com/office/drawing/2014/main" id="{4A88E3E9-7404-5707-C1F6-6C85ACF34FB8}"/>
                </a:ext>
              </a:extLst>
            </p:cNvPr>
            <p:cNvGraphicFramePr>
              <a:graphicFrameLocks/>
            </p:cNvGraphicFramePr>
            <p:nvPr>
              <p:extLst>
                <p:ext uri="{D42A27DB-BD31-4B8C-83A1-F6EECF244321}">
                  <p14:modId xmlns:p14="http://schemas.microsoft.com/office/powerpoint/2010/main" val="2580849178"/>
                </p:ext>
              </p:extLst>
            </p:nvPr>
          </p:nvGraphicFramePr>
          <p:xfrm>
            <a:off x="460745" y="930233"/>
            <a:ext cx="4320000" cy="252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图表 5">
              <a:extLst>
                <a:ext uri="{FF2B5EF4-FFF2-40B4-BE49-F238E27FC236}">
                  <a16:creationId xmlns:a16="http://schemas.microsoft.com/office/drawing/2014/main" id="{84D891C6-B291-6F78-116F-3A44D10B4B0B}"/>
                </a:ext>
              </a:extLst>
            </p:cNvPr>
            <p:cNvGraphicFramePr>
              <a:graphicFrameLocks/>
            </p:cNvGraphicFramePr>
            <p:nvPr>
              <p:extLst>
                <p:ext uri="{D42A27DB-BD31-4B8C-83A1-F6EECF244321}">
                  <p14:modId xmlns:p14="http://schemas.microsoft.com/office/powerpoint/2010/main" val="721376602"/>
                </p:ext>
              </p:extLst>
            </p:nvPr>
          </p:nvGraphicFramePr>
          <p:xfrm>
            <a:off x="460745" y="3436162"/>
            <a:ext cx="4320000" cy="25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图表 6">
              <a:extLst>
                <a:ext uri="{FF2B5EF4-FFF2-40B4-BE49-F238E27FC236}">
                  <a16:creationId xmlns:a16="http://schemas.microsoft.com/office/drawing/2014/main" id="{BE15B1C1-030F-3586-C918-8C19E3B42624}"/>
                </a:ext>
              </a:extLst>
            </p:cNvPr>
            <p:cNvGraphicFramePr>
              <a:graphicFrameLocks/>
            </p:cNvGraphicFramePr>
            <p:nvPr>
              <p:extLst>
                <p:ext uri="{D42A27DB-BD31-4B8C-83A1-F6EECF244321}">
                  <p14:modId xmlns:p14="http://schemas.microsoft.com/office/powerpoint/2010/main" val="1027022405"/>
                </p:ext>
              </p:extLst>
            </p:nvPr>
          </p:nvGraphicFramePr>
          <p:xfrm>
            <a:off x="4780745" y="930233"/>
            <a:ext cx="4320000" cy="25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图表 8">
              <a:extLst>
                <a:ext uri="{FF2B5EF4-FFF2-40B4-BE49-F238E27FC236}">
                  <a16:creationId xmlns:a16="http://schemas.microsoft.com/office/drawing/2014/main" id="{1AC9344D-7AF4-5D2C-80AD-672CED18FBAC}"/>
                </a:ext>
              </a:extLst>
            </p:cNvPr>
            <p:cNvGraphicFramePr>
              <a:graphicFrameLocks/>
            </p:cNvGraphicFramePr>
            <p:nvPr>
              <p:extLst>
                <p:ext uri="{D42A27DB-BD31-4B8C-83A1-F6EECF244321}">
                  <p14:modId xmlns:p14="http://schemas.microsoft.com/office/powerpoint/2010/main" val="791359082"/>
                </p:ext>
              </p:extLst>
            </p:nvPr>
          </p:nvGraphicFramePr>
          <p:xfrm>
            <a:off x="4780744" y="3422092"/>
            <a:ext cx="4320000" cy="2520000"/>
          </p:xfrm>
          <a:graphic>
            <a:graphicData uri="http://schemas.openxmlformats.org/drawingml/2006/chart">
              <c:chart xmlns:c="http://schemas.openxmlformats.org/drawingml/2006/chart" xmlns:r="http://schemas.openxmlformats.org/officeDocument/2006/relationships" r:id="rId7"/>
            </a:graphicData>
          </a:graphic>
        </p:graphicFrame>
      </p:grpSp>
      <p:sp>
        <p:nvSpPr>
          <p:cNvPr id="13" name="文本框 14">
            <a:extLst>
              <a:ext uri="{FF2B5EF4-FFF2-40B4-BE49-F238E27FC236}">
                <a16:creationId xmlns:a16="http://schemas.microsoft.com/office/drawing/2014/main" id="{97DA2326-45F9-5ECE-8921-9D1F77B9CEF4}"/>
              </a:ext>
            </a:extLst>
          </p:cNvPr>
          <p:cNvSpPr txBox="1">
            <a:spLocks noChangeArrowheads="1"/>
          </p:cNvSpPr>
          <p:nvPr/>
        </p:nvSpPr>
        <p:spPr bwMode="auto">
          <a:xfrm>
            <a:off x="428836" y="1049519"/>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4" name="文本框 14">
            <a:extLst>
              <a:ext uri="{FF2B5EF4-FFF2-40B4-BE49-F238E27FC236}">
                <a16:creationId xmlns:a16="http://schemas.microsoft.com/office/drawing/2014/main" id="{93DAFEE2-4690-7E14-2B4E-151D93B2879C}"/>
              </a:ext>
            </a:extLst>
          </p:cNvPr>
          <p:cNvSpPr txBox="1">
            <a:spLocks noChangeArrowheads="1"/>
          </p:cNvSpPr>
          <p:nvPr/>
        </p:nvSpPr>
        <p:spPr bwMode="auto">
          <a:xfrm>
            <a:off x="5971730" y="1049518"/>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5" name="文本框 14">
            <a:extLst>
              <a:ext uri="{FF2B5EF4-FFF2-40B4-BE49-F238E27FC236}">
                <a16:creationId xmlns:a16="http://schemas.microsoft.com/office/drawing/2014/main" id="{20EB4F16-885B-9A05-8920-370D063A82A6}"/>
              </a:ext>
            </a:extLst>
          </p:cNvPr>
          <p:cNvSpPr txBox="1">
            <a:spLocks noChangeArrowheads="1"/>
          </p:cNvSpPr>
          <p:nvPr/>
        </p:nvSpPr>
        <p:spPr bwMode="auto">
          <a:xfrm>
            <a:off x="5971730" y="3679711"/>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6" name="文本框 14">
            <a:extLst>
              <a:ext uri="{FF2B5EF4-FFF2-40B4-BE49-F238E27FC236}">
                <a16:creationId xmlns:a16="http://schemas.microsoft.com/office/drawing/2014/main" id="{F0F4735E-504B-A686-A110-18EEE80BC757}"/>
              </a:ext>
            </a:extLst>
          </p:cNvPr>
          <p:cNvSpPr txBox="1">
            <a:spLocks noChangeArrowheads="1"/>
          </p:cNvSpPr>
          <p:nvPr/>
        </p:nvSpPr>
        <p:spPr bwMode="auto">
          <a:xfrm>
            <a:off x="446946" y="3652686"/>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5" name="灯片编号占位符 2">
            <a:extLst>
              <a:ext uri="{FF2B5EF4-FFF2-40B4-BE49-F238E27FC236}">
                <a16:creationId xmlns:a16="http://schemas.microsoft.com/office/drawing/2014/main" id="{8F650272-6869-F1B7-556F-F59776361617}"/>
              </a:ext>
            </a:extLst>
          </p:cNvPr>
          <p:cNvSpPr txBox="1">
            <a:spLocks noChangeArrowheads="1"/>
          </p:cNvSpPr>
          <p:nvPr/>
        </p:nvSpPr>
        <p:spPr bwMode="auto">
          <a:xfrm>
            <a:off x="190500" y="6369050"/>
            <a:ext cx="396761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同花顺，</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新湖研究所</a:t>
            </a:r>
          </a:p>
        </p:txBody>
      </p:sp>
    </p:spTree>
    <p:extLst>
      <p:ext uri="{BB962C8B-B14F-4D97-AF65-F5344CB8AC3E}">
        <p14:creationId xmlns:p14="http://schemas.microsoft.com/office/powerpoint/2010/main" val="18537603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1875AEE-EEBD-472C-AF44-3F2C6E7725DA}"/>
              </a:ext>
            </a:extLst>
          </p:cNvPr>
          <p:cNvSpPr>
            <a:spLocks noGrp="1"/>
          </p:cNvSpPr>
          <p:nvPr>
            <p:ph type="title"/>
          </p:nvPr>
        </p:nvSpPr>
        <p:spPr/>
        <p:txBody>
          <a:bodyPr/>
          <a:lstStyle/>
          <a:p>
            <a:r>
              <a:rPr lang="zh-CN" altLang="en-US" dirty="0">
                <a:latin typeface="+mn-lt"/>
                <a:ea typeface="+mn-ea"/>
                <a:cs typeface="+mn-ea"/>
                <a:sym typeface="+mn-lt"/>
              </a:rPr>
              <a:t>云南开炉数继续走高，西南产量保持增长，工业供给攀升至新高</a:t>
            </a:r>
          </a:p>
        </p:txBody>
      </p:sp>
      <p:sp>
        <p:nvSpPr>
          <p:cNvPr id="3" name="灯片编号占位符 2">
            <a:extLst>
              <a:ext uri="{FF2B5EF4-FFF2-40B4-BE49-F238E27FC236}">
                <a16:creationId xmlns:a16="http://schemas.microsoft.com/office/drawing/2014/main" id="{B477CAE0-8419-47ED-B5A6-2E557357FD47}"/>
              </a:ext>
            </a:extLst>
          </p:cNvPr>
          <p:cNvSpPr>
            <a:spLocks noGrp="1"/>
          </p:cNvSpPr>
          <p:nvPr>
            <p:ph type="sldNum" sz="quarter" idx="11"/>
          </p:nvPr>
        </p:nvSpPr>
        <p:spPr/>
        <p:txBody>
          <a:bodyPr/>
          <a:lstStyle/>
          <a:p>
            <a:pPr>
              <a:defRPr/>
            </a:pPr>
            <a:fld id="{8E2C30CB-4307-4BB9-B24E-988C520472CC}" type="slidenum">
              <a:rPr lang="zh-CN" altLang="en-US" smtClean="0">
                <a:latin typeface="+mn-lt"/>
                <a:ea typeface="+mn-ea"/>
                <a:cs typeface="+mn-ea"/>
                <a:sym typeface="+mn-lt"/>
              </a:rPr>
              <a:pPr>
                <a:defRPr/>
              </a:pPr>
              <a:t>13</a:t>
            </a:fld>
            <a:endParaRPr lang="zh-CN" altLang="en-US">
              <a:latin typeface="+mn-lt"/>
              <a:ea typeface="+mn-ea"/>
              <a:cs typeface="+mn-ea"/>
              <a:sym typeface="+mn-lt"/>
            </a:endParaRPr>
          </a:p>
        </p:txBody>
      </p:sp>
      <p:grpSp>
        <p:nvGrpSpPr>
          <p:cNvPr id="16" name="组合 15">
            <a:extLst>
              <a:ext uri="{FF2B5EF4-FFF2-40B4-BE49-F238E27FC236}">
                <a16:creationId xmlns:a16="http://schemas.microsoft.com/office/drawing/2014/main" id="{FC207895-D373-67D8-9EA0-81F0CFDAA9E7}"/>
              </a:ext>
            </a:extLst>
          </p:cNvPr>
          <p:cNvGrpSpPr/>
          <p:nvPr/>
        </p:nvGrpSpPr>
        <p:grpSpPr>
          <a:xfrm>
            <a:off x="138677" y="1007528"/>
            <a:ext cx="11798340" cy="5040000"/>
            <a:chOff x="507133" y="1014969"/>
            <a:chExt cx="8643630" cy="5040000"/>
          </a:xfrm>
        </p:grpSpPr>
        <p:graphicFrame>
          <p:nvGraphicFramePr>
            <p:cNvPr id="4" name="图表 3">
              <a:extLst>
                <a:ext uri="{FF2B5EF4-FFF2-40B4-BE49-F238E27FC236}">
                  <a16:creationId xmlns:a16="http://schemas.microsoft.com/office/drawing/2014/main" id="{38070174-B3FB-BF7A-470D-2A45C5B51E04}"/>
                </a:ext>
              </a:extLst>
            </p:cNvPr>
            <p:cNvGraphicFramePr>
              <a:graphicFrameLocks/>
            </p:cNvGraphicFramePr>
            <p:nvPr>
              <p:extLst>
                <p:ext uri="{D42A27DB-BD31-4B8C-83A1-F6EECF244321}">
                  <p14:modId xmlns:p14="http://schemas.microsoft.com/office/powerpoint/2010/main" val="1329426627"/>
                </p:ext>
              </p:extLst>
            </p:nvPr>
          </p:nvGraphicFramePr>
          <p:xfrm>
            <a:off x="507133" y="3534969"/>
            <a:ext cx="4320000" cy="252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图表 7">
              <a:extLst>
                <a:ext uri="{FF2B5EF4-FFF2-40B4-BE49-F238E27FC236}">
                  <a16:creationId xmlns:a16="http://schemas.microsoft.com/office/drawing/2014/main" id="{13EF6FDD-DBC2-94E6-D0F5-699B04A5C2A4}"/>
                </a:ext>
              </a:extLst>
            </p:cNvPr>
            <p:cNvGraphicFramePr>
              <a:graphicFrameLocks/>
            </p:cNvGraphicFramePr>
            <p:nvPr>
              <p:extLst>
                <p:ext uri="{D42A27DB-BD31-4B8C-83A1-F6EECF244321}">
                  <p14:modId xmlns:p14="http://schemas.microsoft.com/office/powerpoint/2010/main" val="3589618366"/>
                </p:ext>
              </p:extLst>
            </p:nvPr>
          </p:nvGraphicFramePr>
          <p:xfrm>
            <a:off x="510763" y="1014969"/>
            <a:ext cx="4320000" cy="25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图表 6">
              <a:extLst>
                <a:ext uri="{FF2B5EF4-FFF2-40B4-BE49-F238E27FC236}">
                  <a16:creationId xmlns:a16="http://schemas.microsoft.com/office/drawing/2014/main" id="{00000000-0008-0000-2F00-000004000000}"/>
                </a:ext>
              </a:extLst>
            </p:cNvPr>
            <p:cNvGraphicFramePr>
              <a:graphicFrameLocks/>
            </p:cNvGraphicFramePr>
            <p:nvPr>
              <p:extLst>
                <p:ext uri="{D42A27DB-BD31-4B8C-83A1-F6EECF244321}">
                  <p14:modId xmlns:p14="http://schemas.microsoft.com/office/powerpoint/2010/main" val="4265354230"/>
                </p:ext>
              </p:extLst>
            </p:nvPr>
          </p:nvGraphicFramePr>
          <p:xfrm>
            <a:off x="4830763" y="3534969"/>
            <a:ext cx="4320000" cy="2520000"/>
          </p:xfrm>
          <a:graphic>
            <a:graphicData uri="http://schemas.openxmlformats.org/drawingml/2006/chart">
              <c:chart xmlns:c="http://schemas.openxmlformats.org/drawingml/2006/chart" xmlns:r="http://schemas.openxmlformats.org/officeDocument/2006/relationships" r:id="rId6"/>
            </a:graphicData>
          </a:graphic>
        </p:graphicFrame>
      </p:grpSp>
      <p:sp>
        <p:nvSpPr>
          <p:cNvPr id="9" name="文本框 14">
            <a:extLst>
              <a:ext uri="{FF2B5EF4-FFF2-40B4-BE49-F238E27FC236}">
                <a16:creationId xmlns:a16="http://schemas.microsoft.com/office/drawing/2014/main" id="{57CC1A45-2BE1-DEF1-330D-CBB6C8B60151}"/>
              </a:ext>
            </a:extLst>
          </p:cNvPr>
          <p:cNvSpPr txBox="1">
            <a:spLocks noChangeArrowheads="1"/>
          </p:cNvSpPr>
          <p:nvPr/>
        </p:nvSpPr>
        <p:spPr bwMode="auto">
          <a:xfrm>
            <a:off x="129482" y="1125242"/>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a:t>
            </a:r>
            <a:r>
              <a:rPr lang="en-US" altLang="zh-CN" sz="1000" dirty="0">
                <a:latin typeface="+mn-lt"/>
                <a:ea typeface="+mn-ea"/>
                <a:cs typeface="+mn-ea"/>
                <a:sym typeface="+mn-lt"/>
              </a:rPr>
              <a:t>%</a:t>
            </a:r>
            <a:endParaRPr lang="zh-CN" altLang="en-US" sz="1000" dirty="0">
              <a:latin typeface="+mn-lt"/>
              <a:ea typeface="+mn-ea"/>
              <a:cs typeface="+mn-ea"/>
              <a:sym typeface="+mn-lt"/>
            </a:endParaRPr>
          </a:p>
        </p:txBody>
      </p:sp>
      <p:sp>
        <p:nvSpPr>
          <p:cNvPr id="10" name="文本框 14">
            <a:extLst>
              <a:ext uri="{FF2B5EF4-FFF2-40B4-BE49-F238E27FC236}">
                <a16:creationId xmlns:a16="http://schemas.microsoft.com/office/drawing/2014/main" id="{887BBCF6-FD6F-BC0F-BE9E-12D44A0FDF5C}"/>
              </a:ext>
            </a:extLst>
          </p:cNvPr>
          <p:cNvSpPr txBox="1">
            <a:spLocks noChangeArrowheads="1"/>
          </p:cNvSpPr>
          <p:nvPr/>
        </p:nvSpPr>
        <p:spPr bwMode="auto">
          <a:xfrm>
            <a:off x="129482" y="3622602"/>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吨</a:t>
            </a:r>
          </a:p>
        </p:txBody>
      </p:sp>
      <p:sp>
        <p:nvSpPr>
          <p:cNvPr id="11" name="文本框 14">
            <a:extLst>
              <a:ext uri="{FF2B5EF4-FFF2-40B4-BE49-F238E27FC236}">
                <a16:creationId xmlns:a16="http://schemas.microsoft.com/office/drawing/2014/main" id="{8A6CCFA8-3CDD-298C-A072-2E49903F9C62}"/>
              </a:ext>
            </a:extLst>
          </p:cNvPr>
          <p:cNvSpPr txBox="1">
            <a:spLocks noChangeArrowheads="1"/>
          </p:cNvSpPr>
          <p:nvPr/>
        </p:nvSpPr>
        <p:spPr bwMode="auto">
          <a:xfrm>
            <a:off x="6030810" y="3602131"/>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吨</a:t>
            </a:r>
          </a:p>
        </p:txBody>
      </p:sp>
      <p:graphicFrame>
        <p:nvGraphicFramePr>
          <p:cNvPr id="5" name="表格 4">
            <a:extLst>
              <a:ext uri="{FF2B5EF4-FFF2-40B4-BE49-F238E27FC236}">
                <a16:creationId xmlns:a16="http://schemas.microsoft.com/office/drawing/2014/main" id="{EBCB8F0B-3B4F-DCB6-B51F-5805EF0ED19F}"/>
              </a:ext>
            </a:extLst>
          </p:cNvPr>
          <p:cNvGraphicFramePr>
            <a:graphicFrameLocks noGrp="1"/>
          </p:cNvGraphicFramePr>
          <p:nvPr>
            <p:extLst>
              <p:ext uri="{D42A27DB-BD31-4B8C-83A1-F6EECF244321}">
                <p14:modId xmlns:p14="http://schemas.microsoft.com/office/powerpoint/2010/main" val="3415445122"/>
              </p:ext>
            </p:extLst>
          </p:nvPr>
        </p:nvGraphicFramePr>
        <p:xfrm>
          <a:off x="6096000" y="879021"/>
          <a:ext cx="5593305" cy="2573904"/>
        </p:xfrm>
        <a:graphic>
          <a:graphicData uri="http://schemas.openxmlformats.org/drawingml/2006/table">
            <a:tbl>
              <a:tblPr/>
              <a:tblGrid>
                <a:gridCol w="1118661">
                  <a:extLst>
                    <a:ext uri="{9D8B030D-6E8A-4147-A177-3AD203B41FA5}">
                      <a16:colId xmlns:a16="http://schemas.microsoft.com/office/drawing/2014/main" val="2920527121"/>
                    </a:ext>
                  </a:extLst>
                </a:gridCol>
                <a:gridCol w="1118661">
                  <a:extLst>
                    <a:ext uri="{9D8B030D-6E8A-4147-A177-3AD203B41FA5}">
                      <a16:colId xmlns:a16="http://schemas.microsoft.com/office/drawing/2014/main" val="1378420129"/>
                    </a:ext>
                  </a:extLst>
                </a:gridCol>
                <a:gridCol w="1118661">
                  <a:extLst>
                    <a:ext uri="{9D8B030D-6E8A-4147-A177-3AD203B41FA5}">
                      <a16:colId xmlns:a16="http://schemas.microsoft.com/office/drawing/2014/main" val="3698815327"/>
                    </a:ext>
                  </a:extLst>
                </a:gridCol>
                <a:gridCol w="1118661">
                  <a:extLst>
                    <a:ext uri="{9D8B030D-6E8A-4147-A177-3AD203B41FA5}">
                      <a16:colId xmlns:a16="http://schemas.microsoft.com/office/drawing/2014/main" val="3686348318"/>
                    </a:ext>
                  </a:extLst>
                </a:gridCol>
                <a:gridCol w="1118661">
                  <a:extLst>
                    <a:ext uri="{9D8B030D-6E8A-4147-A177-3AD203B41FA5}">
                      <a16:colId xmlns:a16="http://schemas.microsoft.com/office/drawing/2014/main" val="573157065"/>
                    </a:ext>
                  </a:extLst>
                </a:gridCol>
              </a:tblGrid>
              <a:tr h="263979">
                <a:tc>
                  <a:txBody>
                    <a:bodyPr/>
                    <a:lstStyle/>
                    <a:p>
                      <a:pPr algn="ctr" fontAlgn="b"/>
                      <a:r>
                        <a:rPr lang="zh-CN" altLang="en-US" sz="1100" b="0" i="0" u="none" strike="noStrike" dirty="0">
                          <a:solidFill>
                            <a:srgbClr val="000000"/>
                          </a:solidFill>
                          <a:effectLst/>
                          <a:latin typeface="+mn-lt"/>
                          <a:ea typeface="+mn-ea"/>
                          <a:cs typeface="+mn-ea"/>
                          <a:sym typeface="+mn-lt"/>
                        </a:rPr>
                        <a:t>地区</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algn="ctr" fontAlgn="b"/>
                      <a:r>
                        <a:rPr lang="zh-CN" altLang="en-US" sz="1100" b="0" i="0" u="none" strike="noStrike" dirty="0">
                          <a:solidFill>
                            <a:srgbClr val="000000"/>
                          </a:solidFill>
                          <a:effectLst/>
                          <a:latin typeface="+mn-lt"/>
                          <a:ea typeface="+mn-ea"/>
                          <a:cs typeface="+mn-ea"/>
                          <a:sym typeface="+mn-lt"/>
                        </a:rPr>
                        <a:t>总炉数</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algn="ctr" fontAlgn="b"/>
                      <a:r>
                        <a:rPr lang="zh-CN" altLang="en-US" sz="1100" b="0" i="0" u="none" strike="noStrike" dirty="0">
                          <a:solidFill>
                            <a:srgbClr val="000000"/>
                          </a:solidFill>
                          <a:effectLst/>
                          <a:latin typeface="+mn-lt"/>
                          <a:ea typeface="+mn-ea"/>
                          <a:cs typeface="+mn-ea"/>
                          <a:sym typeface="+mn-lt"/>
                        </a:rPr>
                        <a:t>本周开炉</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algn="ctr" fontAlgn="b"/>
                      <a:r>
                        <a:rPr lang="zh-CN" altLang="en-US" sz="1100" b="0" i="0" u="none" strike="noStrike" dirty="0">
                          <a:solidFill>
                            <a:srgbClr val="000000"/>
                          </a:solidFill>
                          <a:effectLst/>
                          <a:latin typeface="+mn-lt"/>
                          <a:ea typeface="+mn-ea"/>
                          <a:cs typeface="+mn-ea"/>
                          <a:sym typeface="+mn-lt"/>
                        </a:rPr>
                        <a:t>上周开炉</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algn="ctr" fontAlgn="b"/>
                      <a:r>
                        <a:rPr lang="zh-CN" altLang="en-US" sz="1100" b="0" i="0" u="none" strike="noStrike" dirty="0">
                          <a:solidFill>
                            <a:srgbClr val="000000"/>
                          </a:solidFill>
                          <a:effectLst/>
                          <a:latin typeface="+mn-lt"/>
                          <a:ea typeface="+mn-ea"/>
                          <a:cs typeface="+mn-ea"/>
                          <a:sym typeface="+mn-lt"/>
                        </a:rPr>
                        <a:t>变化量</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387384994"/>
                  </a:ext>
                </a:extLst>
              </a:tr>
              <a:tr h="252000">
                <a:tc>
                  <a:txBody>
                    <a:bodyPr/>
                    <a:lstStyle/>
                    <a:p>
                      <a:pPr algn="ctr" fontAlgn="b"/>
                      <a:r>
                        <a:rPr lang="zh-CN" altLang="en-US" sz="1100" b="0" i="0" u="none" strike="noStrike" dirty="0">
                          <a:solidFill>
                            <a:srgbClr val="000000"/>
                          </a:solidFill>
                          <a:effectLst/>
                          <a:latin typeface="+mn-lt"/>
                          <a:ea typeface="+mn-ea"/>
                          <a:cs typeface="+mn-ea"/>
                          <a:sym typeface="+mn-lt"/>
                        </a:rPr>
                        <a:t>新疆</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21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16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16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1</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153406824"/>
                  </a:ext>
                </a:extLst>
              </a:tr>
              <a:tr h="252000">
                <a:tc>
                  <a:txBody>
                    <a:bodyPr/>
                    <a:lstStyle/>
                    <a:p>
                      <a:pPr algn="ctr" fontAlgn="b"/>
                      <a:r>
                        <a:rPr lang="zh-CN" altLang="en-US" sz="1100" b="0" i="0" u="none" strike="noStrike" dirty="0">
                          <a:solidFill>
                            <a:srgbClr val="000000"/>
                          </a:solidFill>
                          <a:effectLst/>
                          <a:latin typeface="+mn-lt"/>
                          <a:ea typeface="+mn-ea"/>
                          <a:cs typeface="+mn-ea"/>
                          <a:sym typeface="+mn-lt"/>
                        </a:rPr>
                        <a:t>四川</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11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76</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7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2</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527167377"/>
                  </a:ext>
                </a:extLst>
              </a:tr>
              <a:tr h="252000">
                <a:tc>
                  <a:txBody>
                    <a:bodyPr/>
                    <a:lstStyle/>
                    <a:p>
                      <a:pPr algn="ctr" fontAlgn="b"/>
                      <a:r>
                        <a:rPr lang="zh-CN" altLang="en-US" sz="1100" b="0" i="0" u="none" strike="noStrike" dirty="0">
                          <a:solidFill>
                            <a:srgbClr val="000000"/>
                          </a:solidFill>
                          <a:effectLst/>
                          <a:latin typeface="+mn-lt"/>
                          <a:ea typeface="+mn-ea"/>
                          <a:cs typeface="+mn-ea"/>
                          <a:sym typeface="+mn-lt"/>
                        </a:rPr>
                        <a:t>云南</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13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10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8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19</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208429297"/>
                  </a:ext>
                </a:extLst>
              </a:tr>
              <a:tr h="252000">
                <a:tc>
                  <a:txBody>
                    <a:bodyPr/>
                    <a:lstStyle/>
                    <a:p>
                      <a:pPr algn="ctr" fontAlgn="b"/>
                      <a:r>
                        <a:rPr lang="zh-CN" altLang="en-US" sz="1100" b="0" i="0" u="none" strike="noStrike" dirty="0">
                          <a:solidFill>
                            <a:srgbClr val="000000"/>
                          </a:solidFill>
                          <a:effectLst/>
                          <a:latin typeface="+mn-lt"/>
                          <a:ea typeface="+mn-ea"/>
                          <a:cs typeface="+mn-ea"/>
                          <a:sym typeface="+mn-lt"/>
                        </a:rPr>
                        <a:t>福建</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3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867490573"/>
                  </a:ext>
                </a:extLst>
              </a:tr>
              <a:tr h="252000">
                <a:tc>
                  <a:txBody>
                    <a:bodyPr/>
                    <a:lstStyle/>
                    <a:p>
                      <a:pPr algn="ctr" fontAlgn="b"/>
                      <a:r>
                        <a:rPr lang="zh-CN" altLang="en-US" sz="1100" b="0" i="0" u="none" strike="noStrike" dirty="0">
                          <a:solidFill>
                            <a:srgbClr val="000000"/>
                          </a:solidFill>
                          <a:effectLst/>
                          <a:latin typeface="+mn-lt"/>
                          <a:ea typeface="+mn-ea"/>
                          <a:cs typeface="+mn-ea"/>
                          <a:sym typeface="+mn-lt"/>
                        </a:rPr>
                        <a:t>甘肃</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3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17</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856933128"/>
                  </a:ext>
                </a:extLst>
              </a:tr>
              <a:tr h="252000">
                <a:tc>
                  <a:txBody>
                    <a:bodyPr/>
                    <a:lstStyle/>
                    <a:p>
                      <a:pPr algn="ctr" fontAlgn="b"/>
                      <a:r>
                        <a:rPr lang="zh-CN" altLang="en-US" sz="1100" b="0" i="0" u="none" strike="noStrike" dirty="0">
                          <a:solidFill>
                            <a:srgbClr val="000000"/>
                          </a:solidFill>
                          <a:effectLst/>
                          <a:latin typeface="+mn-lt"/>
                          <a:ea typeface="+mn-ea"/>
                          <a:cs typeface="+mn-ea"/>
                          <a:sym typeface="+mn-lt"/>
                        </a:rPr>
                        <a:t>内蒙</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4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24</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22</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2</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992227842"/>
                  </a:ext>
                </a:extLst>
              </a:tr>
              <a:tr h="252000">
                <a:tc>
                  <a:txBody>
                    <a:bodyPr/>
                    <a:lstStyle/>
                    <a:p>
                      <a:pPr algn="ctr" fontAlgn="b"/>
                      <a:r>
                        <a:rPr lang="zh-CN" altLang="en-US" sz="1100" b="0" i="0" u="none" strike="noStrike" dirty="0">
                          <a:solidFill>
                            <a:srgbClr val="000000"/>
                          </a:solidFill>
                          <a:effectLst/>
                          <a:latin typeface="+mn-lt"/>
                          <a:ea typeface="+mn-ea"/>
                          <a:cs typeface="+mn-ea"/>
                          <a:sym typeface="+mn-lt"/>
                        </a:rPr>
                        <a:t>重庆</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2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10</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9</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1</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877525835"/>
                  </a:ext>
                </a:extLst>
              </a:tr>
              <a:tr h="293925">
                <a:tc>
                  <a:txBody>
                    <a:bodyPr/>
                    <a:lstStyle/>
                    <a:p>
                      <a:pPr algn="ctr" fontAlgn="b"/>
                      <a:r>
                        <a:rPr lang="zh-CN" altLang="en-US" sz="1100" b="0" i="0" u="none" strike="noStrike" dirty="0">
                          <a:solidFill>
                            <a:srgbClr val="000000"/>
                          </a:solidFill>
                          <a:effectLst/>
                          <a:latin typeface="+mn-lt"/>
                          <a:ea typeface="+mn-ea"/>
                          <a:cs typeface="+mn-ea"/>
                          <a:sym typeface="+mn-lt"/>
                        </a:rPr>
                        <a:t>其他</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13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4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4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0</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920457058"/>
                  </a:ext>
                </a:extLst>
              </a:tr>
              <a:tr h="252000">
                <a:tc>
                  <a:txBody>
                    <a:bodyPr/>
                    <a:lstStyle/>
                    <a:p>
                      <a:pPr algn="ctr" fontAlgn="b"/>
                      <a:r>
                        <a:rPr lang="zh-CN" altLang="en-US" sz="1100" b="0" i="0" u="none" strike="noStrike" dirty="0">
                          <a:solidFill>
                            <a:srgbClr val="000000"/>
                          </a:solidFill>
                          <a:effectLst/>
                          <a:latin typeface="+mn-lt"/>
                          <a:ea typeface="+mn-ea"/>
                          <a:cs typeface="+mn-ea"/>
                          <a:sym typeface="+mn-lt"/>
                        </a:rPr>
                        <a:t>合计</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4">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73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44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a:solidFill>
                            <a:srgbClr val="000000"/>
                          </a:solidFill>
                          <a:effectLst/>
                          <a:latin typeface="黑体" panose="02010609060101010101" pitchFamily="49" charset="-122"/>
                          <a:ea typeface="黑体" panose="02010609060101010101" pitchFamily="49" charset="-122"/>
                          <a:cs typeface="+mn-cs"/>
                        </a:rPr>
                        <a:t>41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20000"/>
                        <a:lumOff val="80000"/>
                      </a:schemeClr>
                    </a:solidFill>
                  </a:tcPr>
                </a:tc>
                <a:tc>
                  <a:txBody>
                    <a:bodyPr/>
                    <a:lstStyle/>
                    <a:p>
                      <a:pPr marL="0" algn="ctr" defTabSz="914400" rtl="0" eaLnBrk="1" fontAlgn="b" latinLnBrk="0" hangingPunct="1"/>
                      <a:r>
                        <a:rPr lang="en-US" altLang="zh-CN" sz="1100" b="0" i="0" u="none" strike="noStrike" kern="1200" dirty="0">
                          <a:solidFill>
                            <a:srgbClr val="000000"/>
                          </a:solidFill>
                          <a:effectLst/>
                          <a:latin typeface="黑体" panose="02010609060101010101" pitchFamily="49" charset="-122"/>
                          <a:ea typeface="黑体" panose="02010609060101010101" pitchFamily="49" charset="-122"/>
                          <a:cs typeface="+mn-cs"/>
                        </a:rPr>
                        <a:t>23</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756367375"/>
                  </a:ext>
                </a:extLst>
              </a:tr>
            </a:tbl>
          </a:graphicData>
        </a:graphic>
      </p:graphicFrame>
      <p:sp>
        <p:nvSpPr>
          <p:cNvPr id="6" name="灯片编号占位符 2">
            <a:extLst>
              <a:ext uri="{FF2B5EF4-FFF2-40B4-BE49-F238E27FC236}">
                <a16:creationId xmlns:a16="http://schemas.microsoft.com/office/drawing/2014/main" id="{75A84AC7-5988-C4BF-3CA3-11EE12FDAF7D}"/>
              </a:ext>
            </a:extLst>
          </p:cNvPr>
          <p:cNvSpPr txBox="1">
            <a:spLocks noChangeArrowheads="1"/>
          </p:cNvSpPr>
          <p:nvPr/>
        </p:nvSpPr>
        <p:spPr bwMode="auto">
          <a:xfrm>
            <a:off x="190500" y="6369050"/>
            <a:ext cx="396761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同花顺，</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新湖研究所</a:t>
            </a:r>
          </a:p>
        </p:txBody>
      </p:sp>
    </p:spTree>
    <p:extLst>
      <p:ext uri="{BB962C8B-B14F-4D97-AF65-F5344CB8AC3E}">
        <p14:creationId xmlns:p14="http://schemas.microsoft.com/office/powerpoint/2010/main" val="29030787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图片 1">
            <a:extLst>
              <a:ext uri="{FF2B5EF4-FFF2-40B4-BE49-F238E27FC236}">
                <a16:creationId xmlns:a16="http://schemas.microsoft.com/office/drawing/2014/main" id="{ED4BC1EB-63AF-4906-9A5F-B5B6FD8AC0F9}"/>
              </a:ext>
            </a:extLst>
          </p:cNvPr>
          <p:cNvPicPr>
            <a:picLocks noChangeAspect="1"/>
          </p:cNvPicPr>
          <p:nvPr/>
        </p:nvPicPr>
        <p:blipFill>
          <a:blip r:embed="rId10">
            <a:extLst>
              <a:ext uri="{28A0092B-C50C-407E-A947-70E740481C1C}">
                <a14:useLocalDpi xmlns:a14="http://schemas.microsoft.com/office/drawing/2010/main" val="0"/>
              </a:ext>
            </a:extLst>
          </a:blip>
          <a:srcRect l="35039"/>
          <a:stretch>
            <a:fillRect/>
          </a:stretch>
        </p:blipFill>
        <p:spPr bwMode="auto">
          <a:xfrm>
            <a:off x="0" y="1211263"/>
            <a:ext cx="3790950" cy="473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ext Placeholder 2">
            <a:extLst>
              <a:ext uri="{FF2B5EF4-FFF2-40B4-BE49-F238E27FC236}">
                <a16:creationId xmlns:a16="http://schemas.microsoft.com/office/drawing/2014/main" id="{79749A57-C681-44A6-A162-5737EF4EC6C8}"/>
              </a:ext>
            </a:extLst>
          </p:cNvPr>
          <p:cNvSpPr>
            <a:spLocks noGrp="1"/>
          </p:cNvSpPr>
          <p:nvPr>
            <p:custDataLst>
              <p:tags r:id="rId2"/>
            </p:custDataLst>
          </p:nvPr>
        </p:nvSpPr>
        <p:spPr bwMode="gray">
          <a:xfrm>
            <a:off x="4457700" y="2517664"/>
            <a:ext cx="5967412" cy="719138"/>
          </a:xfrm>
          <a:prstGeom prst="rect">
            <a:avLst/>
          </a:prstGeom>
          <a:no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现货与期货价格</a:t>
            </a:r>
            <a:endParaRPr lang="en-US" altLang="zh-CN" sz="2000" b="1" dirty="0">
              <a:solidFill>
                <a:srgbClr val="007680"/>
              </a:solidFill>
              <a:latin typeface="+mn-lt"/>
              <a:ea typeface="+mn-ea"/>
              <a:cs typeface="+mn-ea"/>
              <a:sym typeface="+mn-lt"/>
            </a:endParaRPr>
          </a:p>
        </p:txBody>
      </p:sp>
      <p:sp>
        <p:nvSpPr>
          <p:cNvPr id="6148" name="标题 1">
            <a:extLst>
              <a:ext uri="{FF2B5EF4-FFF2-40B4-BE49-F238E27FC236}">
                <a16:creationId xmlns:a16="http://schemas.microsoft.com/office/drawing/2014/main" id="{08C718D0-164A-401F-831C-2638993756F3}"/>
              </a:ext>
            </a:extLst>
          </p:cNvPr>
          <p:cNvSpPr txBox="1">
            <a:spLocks noChangeArrowheads="1"/>
          </p:cNvSpPr>
          <p:nvPr/>
        </p:nvSpPr>
        <p:spPr bwMode="auto">
          <a:xfrm>
            <a:off x="4457700" y="404813"/>
            <a:ext cx="7886700" cy="132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lnSpc>
                <a:spcPct val="90000"/>
              </a:lnSpc>
              <a:spcBef>
                <a:spcPct val="0"/>
              </a:spcBef>
              <a:buFontTx/>
              <a:buNone/>
            </a:pPr>
            <a:r>
              <a:rPr lang="zh-CN" altLang="en-US" sz="2800" b="1">
                <a:solidFill>
                  <a:srgbClr val="007680"/>
                </a:solidFill>
                <a:latin typeface="+mn-lt"/>
                <a:ea typeface="+mn-ea"/>
                <a:cs typeface="+mn-ea"/>
                <a:sym typeface="+mn-lt"/>
              </a:rPr>
              <a:t>目录</a:t>
            </a:r>
            <a:endParaRPr lang="en-US" altLang="zh-CN" sz="2800" b="1">
              <a:solidFill>
                <a:srgbClr val="007680"/>
              </a:solidFill>
              <a:latin typeface="+mn-lt"/>
              <a:ea typeface="+mn-ea"/>
              <a:cs typeface="+mn-ea"/>
              <a:sym typeface="+mn-lt"/>
            </a:endParaRPr>
          </a:p>
        </p:txBody>
      </p:sp>
      <p:sp>
        <p:nvSpPr>
          <p:cNvPr id="6149" name="Text Placeholder 2">
            <a:extLst>
              <a:ext uri="{FF2B5EF4-FFF2-40B4-BE49-F238E27FC236}">
                <a16:creationId xmlns:a16="http://schemas.microsoft.com/office/drawing/2014/main" id="{6645C107-EAB8-4096-A57C-AA15FA7E38FB}"/>
              </a:ext>
            </a:extLst>
          </p:cNvPr>
          <p:cNvSpPr>
            <a:spLocks noGrp="1" noChangeArrowheads="1"/>
          </p:cNvSpPr>
          <p:nvPr>
            <p:custDataLst>
              <p:tags r:id="rId3"/>
            </p:custDataLst>
          </p:nvPr>
        </p:nvSpPr>
        <p:spPr bwMode="gray">
          <a:xfrm>
            <a:off x="4457700" y="3235629"/>
            <a:ext cx="5967412" cy="720725"/>
          </a:xfrm>
          <a:prstGeom prst="rect">
            <a:avLst/>
          </a:prstGeom>
          <a:noFill/>
          <a:ln>
            <a:noFill/>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供应情况</a:t>
            </a:r>
            <a:endParaRPr lang="en-US" altLang="zh-CN" sz="2000" b="1" dirty="0">
              <a:solidFill>
                <a:srgbClr val="007680"/>
              </a:solidFill>
              <a:latin typeface="+mn-lt"/>
              <a:ea typeface="+mn-ea"/>
              <a:cs typeface="+mn-ea"/>
              <a:sym typeface="+mn-lt"/>
            </a:endParaRPr>
          </a:p>
        </p:txBody>
      </p:sp>
      <p:sp>
        <p:nvSpPr>
          <p:cNvPr id="6150" name="Text Placeholder 2">
            <a:extLst>
              <a:ext uri="{FF2B5EF4-FFF2-40B4-BE49-F238E27FC236}">
                <a16:creationId xmlns:a16="http://schemas.microsoft.com/office/drawing/2014/main" id="{753CE32B-266E-44D7-B284-27428EF974FE}"/>
              </a:ext>
            </a:extLst>
          </p:cNvPr>
          <p:cNvSpPr>
            <a:spLocks noGrp="1" noChangeArrowheads="1"/>
          </p:cNvSpPr>
          <p:nvPr>
            <p:custDataLst>
              <p:tags r:id="rId4"/>
            </p:custDataLst>
          </p:nvPr>
        </p:nvSpPr>
        <p:spPr bwMode="gray">
          <a:xfrm>
            <a:off x="4457700" y="3955181"/>
            <a:ext cx="5967412" cy="719137"/>
          </a:xfrm>
          <a:prstGeom prst="rect">
            <a:avLst/>
          </a:prstGeom>
          <a:solidFill>
            <a:srgbClr val="007680"/>
          </a:solidFill>
          <a:ln>
            <a:noFill/>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chemeClr val="bg1"/>
                </a:solidFill>
                <a:latin typeface="+mn-lt"/>
                <a:ea typeface="+mn-ea"/>
                <a:cs typeface="+mn-ea"/>
                <a:sym typeface="+mn-lt"/>
              </a:rPr>
              <a:t>需求情况</a:t>
            </a:r>
            <a:endParaRPr lang="en-US" altLang="zh-CN" sz="2000" b="1" dirty="0">
              <a:solidFill>
                <a:schemeClr val="bg1"/>
              </a:solidFill>
              <a:latin typeface="+mn-lt"/>
              <a:ea typeface="+mn-ea"/>
              <a:cs typeface="+mn-ea"/>
              <a:sym typeface="+mn-lt"/>
            </a:endParaRPr>
          </a:p>
        </p:txBody>
      </p:sp>
      <p:sp>
        <p:nvSpPr>
          <p:cNvPr id="6151" name="Text Placeholder 2">
            <a:extLst>
              <a:ext uri="{FF2B5EF4-FFF2-40B4-BE49-F238E27FC236}">
                <a16:creationId xmlns:a16="http://schemas.microsoft.com/office/drawing/2014/main" id="{2BAC68A4-92B8-4CEA-BE34-8D5038007401}"/>
              </a:ext>
            </a:extLst>
          </p:cNvPr>
          <p:cNvSpPr>
            <a:spLocks noGrp="1" noChangeArrowheads="1"/>
          </p:cNvSpPr>
          <p:nvPr>
            <p:custDataLst>
              <p:tags r:id="rId5"/>
            </p:custDataLst>
          </p:nvPr>
        </p:nvSpPr>
        <p:spPr bwMode="gray">
          <a:xfrm>
            <a:off x="4457700" y="4673146"/>
            <a:ext cx="5967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库存情况</a:t>
            </a:r>
            <a:endParaRPr lang="en-US" altLang="zh-CN" sz="2000" b="1" dirty="0">
              <a:solidFill>
                <a:srgbClr val="007680"/>
              </a:solidFill>
              <a:latin typeface="+mn-lt"/>
              <a:ea typeface="+mn-ea"/>
              <a:cs typeface="+mn-ea"/>
              <a:sym typeface="+mn-lt"/>
            </a:endParaRPr>
          </a:p>
        </p:txBody>
      </p:sp>
      <p:sp>
        <p:nvSpPr>
          <p:cNvPr id="6153" name="灯片编号占位符 1">
            <a:extLst>
              <a:ext uri="{FF2B5EF4-FFF2-40B4-BE49-F238E27FC236}">
                <a16:creationId xmlns:a16="http://schemas.microsoft.com/office/drawing/2014/main" id="{FB454E3B-C50C-4196-9B11-779975A80A2A}"/>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fld id="{C6595CE2-4FFC-466C-9857-5B197AF4AF3E}" type="slidenum">
              <a:rPr lang="zh-CN" altLang="en-US" sz="1200" smtClean="0">
                <a:solidFill>
                  <a:srgbClr val="898989"/>
                </a:solidFill>
                <a:latin typeface="+mn-lt"/>
                <a:ea typeface="+mn-ea"/>
                <a:cs typeface="+mn-ea"/>
                <a:sym typeface="+mn-lt"/>
              </a:rPr>
              <a:pPr>
                <a:spcBef>
                  <a:spcPct val="0"/>
                </a:spcBef>
                <a:buFontTx/>
                <a:buNone/>
              </a:pPr>
              <a:t>14</a:t>
            </a:fld>
            <a:endParaRPr lang="zh-CN" altLang="en-US" sz="1200">
              <a:solidFill>
                <a:srgbClr val="898989"/>
              </a:solidFill>
              <a:latin typeface="+mn-lt"/>
              <a:ea typeface="+mn-ea"/>
              <a:cs typeface="+mn-ea"/>
              <a:sym typeface="+mn-lt"/>
            </a:endParaRPr>
          </a:p>
        </p:txBody>
      </p:sp>
      <p:sp>
        <p:nvSpPr>
          <p:cNvPr id="9" name="Text Placeholder 2">
            <a:extLst>
              <a:ext uri="{FF2B5EF4-FFF2-40B4-BE49-F238E27FC236}">
                <a16:creationId xmlns:a16="http://schemas.microsoft.com/office/drawing/2014/main" id="{A10AECED-F4FD-46F5-B9F3-AB5F5DD25C1F}"/>
              </a:ext>
            </a:extLst>
          </p:cNvPr>
          <p:cNvSpPr>
            <a:spLocks noGrp="1"/>
          </p:cNvSpPr>
          <p:nvPr>
            <p:custDataLst>
              <p:tags r:id="rId6"/>
            </p:custDataLst>
          </p:nvPr>
        </p:nvSpPr>
        <p:spPr bwMode="gray">
          <a:xfrm>
            <a:off x="4457700" y="1799699"/>
            <a:ext cx="5967412" cy="719138"/>
          </a:xfrm>
          <a:prstGeom prst="rect">
            <a:avLst/>
          </a:prstGeom>
          <a:no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政策与要闻</a:t>
            </a:r>
            <a:endParaRPr lang="en-US" altLang="zh-CN" sz="2000" b="1" dirty="0">
              <a:solidFill>
                <a:srgbClr val="007680"/>
              </a:solidFill>
              <a:latin typeface="+mn-lt"/>
              <a:ea typeface="+mn-ea"/>
              <a:cs typeface="+mn-ea"/>
              <a:sym typeface="+mn-lt"/>
            </a:endParaRPr>
          </a:p>
        </p:txBody>
      </p:sp>
      <p:sp>
        <p:nvSpPr>
          <p:cNvPr id="10" name="Text Placeholder 2">
            <a:extLst>
              <a:ext uri="{FF2B5EF4-FFF2-40B4-BE49-F238E27FC236}">
                <a16:creationId xmlns:a16="http://schemas.microsoft.com/office/drawing/2014/main" id="{127EBADF-1C2A-4145-9193-84F3D36E0C4D}"/>
              </a:ext>
            </a:extLst>
          </p:cNvPr>
          <p:cNvSpPr>
            <a:spLocks noGrp="1" noChangeArrowheads="1"/>
          </p:cNvSpPr>
          <p:nvPr>
            <p:custDataLst>
              <p:tags r:id="rId7"/>
            </p:custDataLst>
          </p:nvPr>
        </p:nvSpPr>
        <p:spPr bwMode="gray">
          <a:xfrm>
            <a:off x="4457700" y="5396966"/>
            <a:ext cx="5967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结论</a:t>
            </a:r>
            <a:endParaRPr lang="en-US" altLang="zh-CN" sz="2000" b="1" dirty="0">
              <a:solidFill>
                <a:srgbClr val="007680"/>
              </a:solidFill>
              <a:latin typeface="+mn-lt"/>
              <a:ea typeface="+mn-ea"/>
              <a:cs typeface="+mn-ea"/>
              <a:sym typeface="+mn-lt"/>
            </a:endParaRPr>
          </a:p>
        </p:txBody>
      </p:sp>
    </p:spTree>
    <p:extLst>
      <p:ext uri="{BB962C8B-B14F-4D97-AF65-F5344CB8AC3E}">
        <p14:creationId xmlns:p14="http://schemas.microsoft.com/office/powerpoint/2010/main" val="3909463276"/>
      </p:ext>
    </p:extLst>
  </p:cSld>
  <p:clrMapOvr>
    <a:masterClrMapping/>
  </p:clrMapOvr>
  <p:transition advTm="1000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标题 1">
            <a:extLst>
              <a:ext uri="{FF2B5EF4-FFF2-40B4-BE49-F238E27FC236}">
                <a16:creationId xmlns:a16="http://schemas.microsoft.com/office/drawing/2014/main" id="{9C0FB83C-7843-4B01-BFDF-03C537B0A1B8}"/>
              </a:ext>
            </a:extLst>
          </p:cNvPr>
          <p:cNvSpPr>
            <a:spLocks noGrp="1"/>
          </p:cNvSpPr>
          <p:nvPr>
            <p:ph type="title"/>
          </p:nvPr>
        </p:nvSpPr>
        <p:spPr>
          <a:xfrm>
            <a:off x="479424" y="274638"/>
            <a:ext cx="11102975" cy="417512"/>
          </a:xfrm>
        </p:spPr>
        <p:txBody>
          <a:bodyPr/>
          <a:lstStyle/>
          <a:p>
            <a:r>
              <a:rPr lang="zh-CN" altLang="en-US" dirty="0">
                <a:latin typeface="+mn-lt"/>
                <a:ea typeface="+mn-ea"/>
                <a:cs typeface="+mn-ea"/>
                <a:sym typeface="+mn-lt"/>
              </a:rPr>
              <a:t>多晶硅产量再度回落，行业利润持稳，成本保持小幅下移，价格趋稳</a:t>
            </a:r>
          </a:p>
        </p:txBody>
      </p:sp>
      <p:sp>
        <p:nvSpPr>
          <p:cNvPr id="11267" name="灯片编号占位符 2">
            <a:extLst>
              <a:ext uri="{FF2B5EF4-FFF2-40B4-BE49-F238E27FC236}">
                <a16:creationId xmlns:a16="http://schemas.microsoft.com/office/drawing/2014/main" id="{2E035863-97DC-4480-92F6-1CC5A2D10E18}"/>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fld id="{8484E33B-820A-409F-9809-25639949DF89}" type="slidenum">
              <a:rPr lang="zh-CN" altLang="en-US" sz="1200" smtClean="0">
                <a:solidFill>
                  <a:srgbClr val="898989"/>
                </a:solidFill>
                <a:latin typeface="+mn-lt"/>
                <a:ea typeface="+mn-ea"/>
                <a:cs typeface="+mn-ea"/>
                <a:sym typeface="+mn-lt"/>
              </a:rPr>
              <a:pPr>
                <a:spcBef>
                  <a:spcPct val="0"/>
                </a:spcBef>
                <a:buFontTx/>
                <a:buNone/>
              </a:pPr>
              <a:t>15</a:t>
            </a:fld>
            <a:endParaRPr lang="zh-CN" altLang="en-US" sz="1200">
              <a:solidFill>
                <a:srgbClr val="898989"/>
              </a:solidFill>
              <a:latin typeface="+mn-lt"/>
              <a:ea typeface="+mn-ea"/>
              <a:cs typeface="+mn-ea"/>
              <a:sym typeface="+mn-lt"/>
            </a:endParaRPr>
          </a:p>
        </p:txBody>
      </p:sp>
      <p:sp>
        <p:nvSpPr>
          <p:cNvPr id="10" name="灯片编号占位符 2">
            <a:extLst>
              <a:ext uri="{FF2B5EF4-FFF2-40B4-BE49-F238E27FC236}">
                <a16:creationId xmlns:a16="http://schemas.microsoft.com/office/drawing/2014/main" id="{D82F2CE1-0DBD-490E-B86C-5EFFDCC4F41A}"/>
              </a:ext>
            </a:extLst>
          </p:cNvPr>
          <p:cNvSpPr txBox="1">
            <a:spLocks noChangeArrowheads="1"/>
          </p:cNvSpPr>
          <p:nvPr/>
        </p:nvSpPr>
        <p:spPr bwMode="auto">
          <a:xfrm>
            <a:off x="190500" y="6369050"/>
            <a:ext cx="349708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中国天气网，同花顺，新湖研究所</a:t>
            </a:r>
          </a:p>
        </p:txBody>
      </p:sp>
      <p:grpSp>
        <p:nvGrpSpPr>
          <p:cNvPr id="6" name="组合 5">
            <a:extLst>
              <a:ext uri="{FF2B5EF4-FFF2-40B4-BE49-F238E27FC236}">
                <a16:creationId xmlns:a16="http://schemas.microsoft.com/office/drawing/2014/main" id="{BCBA16F1-D499-7B86-04A4-B0C08FA74012}"/>
              </a:ext>
            </a:extLst>
          </p:cNvPr>
          <p:cNvGrpSpPr/>
          <p:nvPr/>
        </p:nvGrpSpPr>
        <p:grpSpPr>
          <a:xfrm>
            <a:off x="145915" y="865760"/>
            <a:ext cx="11537004" cy="5379398"/>
            <a:chOff x="741626" y="1253798"/>
            <a:chExt cx="8640000" cy="5040000"/>
          </a:xfrm>
        </p:grpSpPr>
        <p:graphicFrame>
          <p:nvGraphicFramePr>
            <p:cNvPr id="2" name="图表 1">
              <a:extLst>
                <a:ext uri="{FF2B5EF4-FFF2-40B4-BE49-F238E27FC236}">
                  <a16:creationId xmlns:a16="http://schemas.microsoft.com/office/drawing/2014/main" id="{00000000-0008-0000-2800-000002000000}"/>
                </a:ext>
              </a:extLst>
            </p:cNvPr>
            <p:cNvGraphicFramePr>
              <a:graphicFrameLocks/>
            </p:cNvGraphicFramePr>
            <p:nvPr>
              <p:extLst>
                <p:ext uri="{D42A27DB-BD31-4B8C-83A1-F6EECF244321}">
                  <p14:modId xmlns:p14="http://schemas.microsoft.com/office/powerpoint/2010/main" val="704356400"/>
                </p:ext>
              </p:extLst>
            </p:nvPr>
          </p:nvGraphicFramePr>
          <p:xfrm>
            <a:off x="5061626" y="1253798"/>
            <a:ext cx="4320000" cy="252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图表 2">
              <a:extLst>
                <a:ext uri="{FF2B5EF4-FFF2-40B4-BE49-F238E27FC236}">
                  <a16:creationId xmlns:a16="http://schemas.microsoft.com/office/drawing/2014/main" id="{14DD96AF-980A-EC45-0DDD-0A979DD5E822}"/>
                </a:ext>
              </a:extLst>
            </p:cNvPr>
            <p:cNvGraphicFramePr>
              <a:graphicFrameLocks/>
            </p:cNvGraphicFramePr>
            <p:nvPr>
              <p:extLst>
                <p:ext uri="{D42A27DB-BD31-4B8C-83A1-F6EECF244321}">
                  <p14:modId xmlns:p14="http://schemas.microsoft.com/office/powerpoint/2010/main" val="3111734653"/>
                </p:ext>
              </p:extLst>
            </p:nvPr>
          </p:nvGraphicFramePr>
          <p:xfrm>
            <a:off x="741626" y="1253798"/>
            <a:ext cx="4320000" cy="252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图表 3">
              <a:extLst>
                <a:ext uri="{FF2B5EF4-FFF2-40B4-BE49-F238E27FC236}">
                  <a16:creationId xmlns:a16="http://schemas.microsoft.com/office/drawing/2014/main" id="{9879D69F-B0E6-6F69-E3DA-1BD8D59139B7}"/>
                </a:ext>
              </a:extLst>
            </p:cNvPr>
            <p:cNvGraphicFramePr>
              <a:graphicFrameLocks/>
            </p:cNvGraphicFramePr>
            <p:nvPr>
              <p:extLst>
                <p:ext uri="{D42A27DB-BD31-4B8C-83A1-F6EECF244321}">
                  <p14:modId xmlns:p14="http://schemas.microsoft.com/office/powerpoint/2010/main" val="3798974915"/>
                </p:ext>
              </p:extLst>
            </p:nvPr>
          </p:nvGraphicFramePr>
          <p:xfrm>
            <a:off x="5061626" y="3773798"/>
            <a:ext cx="4320000" cy="2520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图表 4">
              <a:extLst>
                <a:ext uri="{FF2B5EF4-FFF2-40B4-BE49-F238E27FC236}">
                  <a16:creationId xmlns:a16="http://schemas.microsoft.com/office/drawing/2014/main" id="{57C68FB4-25F3-FE18-B3AE-8E94DBCCD809}"/>
                </a:ext>
              </a:extLst>
            </p:cNvPr>
            <p:cNvGraphicFramePr>
              <a:graphicFrameLocks/>
            </p:cNvGraphicFramePr>
            <p:nvPr>
              <p:extLst>
                <p:ext uri="{D42A27DB-BD31-4B8C-83A1-F6EECF244321}">
                  <p14:modId xmlns:p14="http://schemas.microsoft.com/office/powerpoint/2010/main" val="445940159"/>
                </p:ext>
              </p:extLst>
            </p:nvPr>
          </p:nvGraphicFramePr>
          <p:xfrm>
            <a:off x="741626" y="3773798"/>
            <a:ext cx="4320000" cy="2520000"/>
          </p:xfrm>
          <a:graphic>
            <a:graphicData uri="http://schemas.openxmlformats.org/drawingml/2006/chart">
              <c:chart xmlns:c="http://schemas.openxmlformats.org/drawingml/2006/chart" xmlns:r="http://schemas.openxmlformats.org/officeDocument/2006/relationships" r:id="rId7"/>
            </a:graphicData>
          </a:graphic>
        </p:graphicFrame>
      </p:grpSp>
      <p:sp>
        <p:nvSpPr>
          <p:cNvPr id="7" name="文本框 14">
            <a:extLst>
              <a:ext uri="{FF2B5EF4-FFF2-40B4-BE49-F238E27FC236}">
                <a16:creationId xmlns:a16="http://schemas.microsoft.com/office/drawing/2014/main" id="{0422BE39-7241-F062-C2C6-B721AADE8699}"/>
              </a:ext>
            </a:extLst>
          </p:cNvPr>
          <p:cNvSpPr txBox="1">
            <a:spLocks noChangeArrowheads="1"/>
          </p:cNvSpPr>
          <p:nvPr/>
        </p:nvSpPr>
        <p:spPr bwMode="auto">
          <a:xfrm>
            <a:off x="141870" y="1025203"/>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吨</a:t>
            </a:r>
          </a:p>
        </p:txBody>
      </p:sp>
      <p:sp>
        <p:nvSpPr>
          <p:cNvPr id="8" name="文本框 14">
            <a:extLst>
              <a:ext uri="{FF2B5EF4-FFF2-40B4-BE49-F238E27FC236}">
                <a16:creationId xmlns:a16="http://schemas.microsoft.com/office/drawing/2014/main" id="{ED70290B-0A53-AC61-7801-520BD00C1B96}"/>
              </a:ext>
            </a:extLst>
          </p:cNvPr>
          <p:cNvSpPr txBox="1">
            <a:spLocks noChangeArrowheads="1"/>
          </p:cNvSpPr>
          <p:nvPr/>
        </p:nvSpPr>
        <p:spPr bwMode="auto">
          <a:xfrm>
            <a:off x="5910372" y="1025203"/>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9" name="文本框 14">
            <a:extLst>
              <a:ext uri="{FF2B5EF4-FFF2-40B4-BE49-F238E27FC236}">
                <a16:creationId xmlns:a16="http://schemas.microsoft.com/office/drawing/2014/main" id="{6059EA8F-C66E-6F25-A450-A06D6A420356}"/>
              </a:ext>
            </a:extLst>
          </p:cNvPr>
          <p:cNvSpPr txBox="1">
            <a:spLocks noChangeArrowheads="1"/>
          </p:cNvSpPr>
          <p:nvPr/>
        </p:nvSpPr>
        <p:spPr bwMode="auto">
          <a:xfrm>
            <a:off x="141870" y="3714902"/>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1" name="文本框 14">
            <a:extLst>
              <a:ext uri="{FF2B5EF4-FFF2-40B4-BE49-F238E27FC236}">
                <a16:creationId xmlns:a16="http://schemas.microsoft.com/office/drawing/2014/main" id="{9615739E-0F0B-DD8E-D364-1CB73FEE238F}"/>
              </a:ext>
            </a:extLst>
          </p:cNvPr>
          <p:cNvSpPr txBox="1">
            <a:spLocks noChangeArrowheads="1"/>
          </p:cNvSpPr>
          <p:nvPr/>
        </p:nvSpPr>
        <p:spPr bwMode="auto">
          <a:xfrm>
            <a:off x="5910372" y="3714902"/>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Tree>
    <p:extLst>
      <p:ext uri="{BB962C8B-B14F-4D97-AF65-F5344CB8AC3E}">
        <p14:creationId xmlns:p14="http://schemas.microsoft.com/office/powerpoint/2010/main" val="18245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a:extLst>
              <a:ext uri="{FF2B5EF4-FFF2-40B4-BE49-F238E27FC236}">
                <a16:creationId xmlns:a16="http://schemas.microsoft.com/office/drawing/2014/main" id="{A55BCADC-56E9-E9B8-AB82-5BC4155C21DB}"/>
              </a:ext>
            </a:extLst>
          </p:cNvPr>
          <p:cNvGrpSpPr/>
          <p:nvPr/>
        </p:nvGrpSpPr>
        <p:grpSpPr>
          <a:xfrm>
            <a:off x="266473" y="965675"/>
            <a:ext cx="11419901" cy="5297760"/>
            <a:chOff x="5339912" y="123825"/>
            <a:chExt cx="9128579" cy="5512707"/>
          </a:xfrm>
        </p:grpSpPr>
        <p:graphicFrame>
          <p:nvGraphicFramePr>
            <p:cNvPr id="4" name="图表 3">
              <a:extLst>
                <a:ext uri="{FF2B5EF4-FFF2-40B4-BE49-F238E27FC236}">
                  <a16:creationId xmlns:a16="http://schemas.microsoft.com/office/drawing/2014/main" id="{178BD959-F9CB-78F3-88D1-1C94C47D1B47}"/>
                </a:ext>
              </a:extLst>
            </p:cNvPr>
            <p:cNvGraphicFramePr>
              <a:graphicFrameLocks/>
            </p:cNvGraphicFramePr>
            <p:nvPr>
              <p:extLst>
                <p:ext uri="{D42A27DB-BD31-4B8C-83A1-F6EECF244321}">
                  <p14:modId xmlns:p14="http://schemas.microsoft.com/office/powerpoint/2010/main" val="1232938300"/>
                </p:ext>
              </p:extLst>
            </p:nvPr>
          </p:nvGraphicFramePr>
          <p:xfrm>
            <a:off x="5339912" y="123825"/>
            <a:ext cx="4571093" cy="27395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图表 5">
              <a:extLst>
                <a:ext uri="{FF2B5EF4-FFF2-40B4-BE49-F238E27FC236}">
                  <a16:creationId xmlns:a16="http://schemas.microsoft.com/office/drawing/2014/main" id="{00000000-0008-0000-3300-000002000000}"/>
                </a:ext>
              </a:extLst>
            </p:cNvPr>
            <p:cNvGraphicFramePr>
              <a:graphicFrameLocks/>
            </p:cNvGraphicFramePr>
            <p:nvPr>
              <p:extLst>
                <p:ext uri="{D42A27DB-BD31-4B8C-83A1-F6EECF244321}">
                  <p14:modId xmlns:p14="http://schemas.microsoft.com/office/powerpoint/2010/main" val="3612295754"/>
                </p:ext>
              </p:extLst>
            </p:nvPr>
          </p:nvGraphicFramePr>
          <p:xfrm>
            <a:off x="9911005" y="2863397"/>
            <a:ext cx="4557486" cy="27731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图表 6">
              <a:extLst>
                <a:ext uri="{FF2B5EF4-FFF2-40B4-BE49-F238E27FC236}">
                  <a16:creationId xmlns:a16="http://schemas.microsoft.com/office/drawing/2014/main" id="{00000000-0008-0000-3300-000005000000}"/>
                </a:ext>
              </a:extLst>
            </p:cNvPr>
            <p:cNvGraphicFramePr>
              <a:graphicFrameLocks/>
            </p:cNvGraphicFramePr>
            <p:nvPr>
              <p:extLst>
                <p:ext uri="{D42A27DB-BD31-4B8C-83A1-F6EECF244321}">
                  <p14:modId xmlns:p14="http://schemas.microsoft.com/office/powerpoint/2010/main" val="604210924"/>
                </p:ext>
              </p:extLst>
            </p:nvPr>
          </p:nvGraphicFramePr>
          <p:xfrm>
            <a:off x="5339912" y="2863397"/>
            <a:ext cx="4559300" cy="277041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图表 8">
              <a:extLst>
                <a:ext uri="{FF2B5EF4-FFF2-40B4-BE49-F238E27FC236}">
                  <a16:creationId xmlns:a16="http://schemas.microsoft.com/office/drawing/2014/main" id="{00000000-0008-0000-3300-000006000000}"/>
                </a:ext>
              </a:extLst>
            </p:cNvPr>
            <p:cNvGraphicFramePr>
              <a:graphicFrameLocks/>
            </p:cNvGraphicFramePr>
            <p:nvPr>
              <p:extLst>
                <p:ext uri="{D42A27DB-BD31-4B8C-83A1-F6EECF244321}">
                  <p14:modId xmlns:p14="http://schemas.microsoft.com/office/powerpoint/2010/main" val="3955001706"/>
                </p:ext>
              </p:extLst>
            </p:nvPr>
          </p:nvGraphicFramePr>
          <p:xfrm>
            <a:off x="9911005" y="123825"/>
            <a:ext cx="4557486" cy="2774043"/>
          </p:xfrm>
          <a:graphic>
            <a:graphicData uri="http://schemas.openxmlformats.org/drawingml/2006/chart">
              <c:chart xmlns:c="http://schemas.openxmlformats.org/drawingml/2006/chart" xmlns:r="http://schemas.openxmlformats.org/officeDocument/2006/relationships" r:id="rId6"/>
            </a:graphicData>
          </a:graphic>
        </p:graphicFrame>
      </p:grpSp>
      <p:sp>
        <p:nvSpPr>
          <p:cNvPr id="2" name="标题 1">
            <a:extLst>
              <a:ext uri="{FF2B5EF4-FFF2-40B4-BE49-F238E27FC236}">
                <a16:creationId xmlns:a16="http://schemas.microsoft.com/office/drawing/2014/main" id="{9F52BA40-BE04-423C-89A6-B7C7D6526505}"/>
              </a:ext>
            </a:extLst>
          </p:cNvPr>
          <p:cNvSpPr>
            <a:spLocks noGrp="1"/>
          </p:cNvSpPr>
          <p:nvPr>
            <p:ph type="title"/>
          </p:nvPr>
        </p:nvSpPr>
        <p:spPr>
          <a:xfrm>
            <a:off x="479220" y="227137"/>
            <a:ext cx="11103180" cy="417976"/>
          </a:xfrm>
        </p:spPr>
        <p:txBody>
          <a:bodyPr/>
          <a:lstStyle/>
          <a:p>
            <a:r>
              <a:rPr lang="zh-CN" altLang="en-US" dirty="0">
                <a:latin typeface="+mn-lt"/>
                <a:ea typeface="+mn-ea"/>
                <a:cs typeface="+mn-ea"/>
                <a:sym typeface="+mn-lt"/>
              </a:rPr>
              <a:t>有机硅开工回升，产量继续增长，行业亏损轻微增加，市场价格平稳运行</a:t>
            </a:r>
          </a:p>
        </p:txBody>
      </p:sp>
      <p:sp>
        <p:nvSpPr>
          <p:cNvPr id="3" name="灯片编号占位符 2">
            <a:extLst>
              <a:ext uri="{FF2B5EF4-FFF2-40B4-BE49-F238E27FC236}">
                <a16:creationId xmlns:a16="http://schemas.microsoft.com/office/drawing/2014/main" id="{362D9BFD-5E81-4942-899A-D375FA20DE02}"/>
              </a:ext>
            </a:extLst>
          </p:cNvPr>
          <p:cNvSpPr>
            <a:spLocks noGrp="1"/>
          </p:cNvSpPr>
          <p:nvPr>
            <p:ph type="sldNum" sz="quarter" idx="11"/>
          </p:nvPr>
        </p:nvSpPr>
        <p:spPr/>
        <p:txBody>
          <a:bodyPr/>
          <a:lstStyle/>
          <a:p>
            <a:pPr>
              <a:defRPr/>
            </a:pPr>
            <a:fld id="{8E2C30CB-4307-4BB9-B24E-988C520472CC}" type="slidenum">
              <a:rPr lang="zh-CN" altLang="en-US" smtClean="0">
                <a:latin typeface="+mn-lt"/>
                <a:ea typeface="+mn-ea"/>
                <a:cs typeface="+mn-ea"/>
                <a:sym typeface="+mn-lt"/>
              </a:rPr>
              <a:pPr>
                <a:defRPr/>
              </a:pPr>
              <a:t>16</a:t>
            </a:fld>
            <a:endParaRPr lang="zh-CN" altLang="en-US">
              <a:latin typeface="+mn-lt"/>
              <a:ea typeface="+mn-ea"/>
              <a:cs typeface="+mn-ea"/>
              <a:sym typeface="+mn-lt"/>
            </a:endParaRPr>
          </a:p>
        </p:txBody>
      </p:sp>
      <p:sp>
        <p:nvSpPr>
          <p:cNvPr id="5" name="文本框 14">
            <a:extLst>
              <a:ext uri="{FF2B5EF4-FFF2-40B4-BE49-F238E27FC236}">
                <a16:creationId xmlns:a16="http://schemas.microsoft.com/office/drawing/2014/main" id="{78B5E1DF-8157-4116-934A-30A67A5AB048}"/>
              </a:ext>
            </a:extLst>
          </p:cNvPr>
          <p:cNvSpPr txBox="1">
            <a:spLocks noChangeArrowheads="1"/>
          </p:cNvSpPr>
          <p:nvPr/>
        </p:nvSpPr>
        <p:spPr bwMode="auto">
          <a:xfrm>
            <a:off x="222222" y="1066651"/>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1" name="文本框 14">
            <a:extLst>
              <a:ext uri="{FF2B5EF4-FFF2-40B4-BE49-F238E27FC236}">
                <a16:creationId xmlns:a16="http://schemas.microsoft.com/office/drawing/2014/main" id="{B65FDDC5-067A-83AC-774B-6547F84CD38C}"/>
              </a:ext>
            </a:extLst>
          </p:cNvPr>
          <p:cNvSpPr txBox="1">
            <a:spLocks noChangeArrowheads="1"/>
          </p:cNvSpPr>
          <p:nvPr/>
        </p:nvSpPr>
        <p:spPr bwMode="auto">
          <a:xfrm>
            <a:off x="247017" y="3699404"/>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吨</a:t>
            </a:r>
          </a:p>
        </p:txBody>
      </p:sp>
      <p:sp>
        <p:nvSpPr>
          <p:cNvPr id="12" name="文本框 14">
            <a:extLst>
              <a:ext uri="{FF2B5EF4-FFF2-40B4-BE49-F238E27FC236}">
                <a16:creationId xmlns:a16="http://schemas.microsoft.com/office/drawing/2014/main" id="{4D27D7D1-BD94-4A43-84EB-025A22032705}"/>
              </a:ext>
            </a:extLst>
          </p:cNvPr>
          <p:cNvSpPr txBox="1">
            <a:spLocks noChangeArrowheads="1"/>
          </p:cNvSpPr>
          <p:nvPr/>
        </p:nvSpPr>
        <p:spPr bwMode="auto">
          <a:xfrm>
            <a:off x="5970182" y="1066651"/>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3" name="文本框 14">
            <a:extLst>
              <a:ext uri="{FF2B5EF4-FFF2-40B4-BE49-F238E27FC236}">
                <a16:creationId xmlns:a16="http://schemas.microsoft.com/office/drawing/2014/main" id="{089987DA-F26B-3C07-5F65-678C977E66AC}"/>
              </a:ext>
            </a:extLst>
          </p:cNvPr>
          <p:cNvSpPr txBox="1">
            <a:spLocks noChangeArrowheads="1"/>
          </p:cNvSpPr>
          <p:nvPr/>
        </p:nvSpPr>
        <p:spPr bwMode="auto">
          <a:xfrm>
            <a:off x="5984935" y="3699403"/>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a:t>
            </a:r>
            <a:r>
              <a:rPr lang="en-US" altLang="zh-CN" sz="1000" dirty="0">
                <a:latin typeface="+mn-lt"/>
                <a:ea typeface="+mn-ea"/>
                <a:cs typeface="+mn-ea"/>
                <a:sym typeface="+mn-lt"/>
              </a:rPr>
              <a:t>%</a:t>
            </a:r>
            <a:endParaRPr lang="zh-CN" altLang="en-US" sz="1000" dirty="0">
              <a:latin typeface="+mn-lt"/>
              <a:ea typeface="+mn-ea"/>
              <a:cs typeface="+mn-ea"/>
              <a:sym typeface="+mn-lt"/>
            </a:endParaRPr>
          </a:p>
        </p:txBody>
      </p:sp>
      <p:sp>
        <p:nvSpPr>
          <p:cNvPr id="8" name="灯片编号占位符 2">
            <a:extLst>
              <a:ext uri="{FF2B5EF4-FFF2-40B4-BE49-F238E27FC236}">
                <a16:creationId xmlns:a16="http://schemas.microsoft.com/office/drawing/2014/main" id="{ADF49FDB-B567-8C56-793D-4A317397E699}"/>
              </a:ext>
            </a:extLst>
          </p:cNvPr>
          <p:cNvSpPr txBox="1">
            <a:spLocks noChangeArrowheads="1"/>
          </p:cNvSpPr>
          <p:nvPr/>
        </p:nvSpPr>
        <p:spPr bwMode="auto">
          <a:xfrm>
            <a:off x="190500" y="6369050"/>
            <a:ext cx="396761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同花顺，</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新湖研究所</a:t>
            </a:r>
          </a:p>
        </p:txBody>
      </p:sp>
    </p:spTree>
    <p:extLst>
      <p:ext uri="{BB962C8B-B14F-4D97-AF65-F5344CB8AC3E}">
        <p14:creationId xmlns:p14="http://schemas.microsoft.com/office/powerpoint/2010/main" val="20734459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45DF23C-FBDC-48B2-BDD1-6AD2A3D47D35}"/>
              </a:ext>
            </a:extLst>
          </p:cNvPr>
          <p:cNvSpPr>
            <a:spLocks noGrp="1"/>
          </p:cNvSpPr>
          <p:nvPr>
            <p:ph type="title"/>
          </p:nvPr>
        </p:nvSpPr>
        <p:spPr/>
        <p:txBody>
          <a:bodyPr/>
          <a:lstStyle/>
          <a:p>
            <a:r>
              <a:rPr lang="zh-CN" altLang="en-US" dirty="0">
                <a:latin typeface="+mn-lt"/>
                <a:ea typeface="+mn-ea"/>
                <a:cs typeface="+mn-ea"/>
                <a:sym typeface="+mn-lt"/>
              </a:rPr>
              <a:t>下游淡季临近，铝合金价格回落</a:t>
            </a:r>
          </a:p>
        </p:txBody>
      </p:sp>
      <p:sp>
        <p:nvSpPr>
          <p:cNvPr id="3" name="灯片编号占位符 2">
            <a:extLst>
              <a:ext uri="{FF2B5EF4-FFF2-40B4-BE49-F238E27FC236}">
                <a16:creationId xmlns:a16="http://schemas.microsoft.com/office/drawing/2014/main" id="{2274BB08-05C8-455A-A129-14A8739C8D7D}"/>
              </a:ext>
            </a:extLst>
          </p:cNvPr>
          <p:cNvSpPr>
            <a:spLocks noGrp="1"/>
          </p:cNvSpPr>
          <p:nvPr>
            <p:ph type="sldNum" sz="quarter" idx="11"/>
          </p:nvPr>
        </p:nvSpPr>
        <p:spPr/>
        <p:txBody>
          <a:bodyPr/>
          <a:lstStyle/>
          <a:p>
            <a:pPr>
              <a:defRPr/>
            </a:pPr>
            <a:fld id="{8E2C30CB-4307-4BB9-B24E-988C520472CC}" type="slidenum">
              <a:rPr lang="zh-CN" altLang="en-US" smtClean="0">
                <a:latin typeface="+mn-lt"/>
                <a:ea typeface="+mn-ea"/>
                <a:cs typeface="+mn-ea"/>
                <a:sym typeface="+mn-lt"/>
              </a:rPr>
              <a:pPr>
                <a:defRPr/>
              </a:pPr>
              <a:t>17</a:t>
            </a:fld>
            <a:endParaRPr lang="zh-CN" altLang="en-US">
              <a:latin typeface="+mn-lt"/>
              <a:ea typeface="+mn-ea"/>
              <a:cs typeface="+mn-ea"/>
              <a:sym typeface="+mn-lt"/>
            </a:endParaRPr>
          </a:p>
        </p:txBody>
      </p:sp>
      <p:grpSp>
        <p:nvGrpSpPr>
          <p:cNvPr id="13" name="组合 12">
            <a:extLst>
              <a:ext uri="{FF2B5EF4-FFF2-40B4-BE49-F238E27FC236}">
                <a16:creationId xmlns:a16="http://schemas.microsoft.com/office/drawing/2014/main" id="{4E6D2DE0-84EC-1BF6-8E37-78B5A022B942}"/>
              </a:ext>
            </a:extLst>
          </p:cNvPr>
          <p:cNvGrpSpPr/>
          <p:nvPr/>
        </p:nvGrpSpPr>
        <p:grpSpPr>
          <a:xfrm>
            <a:off x="268769" y="794209"/>
            <a:ext cx="11313631" cy="2728231"/>
            <a:chOff x="330378" y="1006265"/>
            <a:chExt cx="9164409" cy="2728231"/>
          </a:xfrm>
        </p:grpSpPr>
        <p:graphicFrame>
          <p:nvGraphicFramePr>
            <p:cNvPr id="4" name="图表 3">
              <a:extLst>
                <a:ext uri="{FF2B5EF4-FFF2-40B4-BE49-F238E27FC236}">
                  <a16:creationId xmlns:a16="http://schemas.microsoft.com/office/drawing/2014/main" id="{00000000-0008-0000-2200-000005000000}"/>
                </a:ext>
              </a:extLst>
            </p:cNvPr>
            <p:cNvGraphicFramePr>
              <a:graphicFrameLocks/>
            </p:cNvGraphicFramePr>
            <p:nvPr>
              <p:extLst>
                <p:ext uri="{D42A27DB-BD31-4B8C-83A1-F6EECF244321}">
                  <p14:modId xmlns:p14="http://schemas.microsoft.com/office/powerpoint/2010/main" val="4128209894"/>
                </p:ext>
              </p:extLst>
            </p:nvPr>
          </p:nvGraphicFramePr>
          <p:xfrm>
            <a:off x="330378" y="1006265"/>
            <a:ext cx="4577442" cy="27282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图表 6">
              <a:extLst>
                <a:ext uri="{FF2B5EF4-FFF2-40B4-BE49-F238E27FC236}">
                  <a16:creationId xmlns:a16="http://schemas.microsoft.com/office/drawing/2014/main" id="{00000000-0008-0000-2200-000006000000}"/>
                </a:ext>
              </a:extLst>
            </p:cNvPr>
            <p:cNvGraphicFramePr>
              <a:graphicFrameLocks/>
            </p:cNvGraphicFramePr>
            <p:nvPr>
              <p:extLst>
                <p:ext uri="{D42A27DB-BD31-4B8C-83A1-F6EECF244321}">
                  <p14:modId xmlns:p14="http://schemas.microsoft.com/office/powerpoint/2010/main" val="1414067793"/>
                </p:ext>
              </p:extLst>
            </p:nvPr>
          </p:nvGraphicFramePr>
          <p:xfrm>
            <a:off x="4907820" y="1006265"/>
            <a:ext cx="4586967" cy="2728231"/>
          </p:xfrm>
          <a:graphic>
            <a:graphicData uri="http://schemas.openxmlformats.org/drawingml/2006/chart">
              <c:chart xmlns:c="http://schemas.openxmlformats.org/drawingml/2006/chart" xmlns:r="http://schemas.openxmlformats.org/officeDocument/2006/relationships" r:id="rId4"/>
            </a:graphicData>
          </a:graphic>
        </p:graphicFrame>
      </p:grpSp>
      <p:sp>
        <p:nvSpPr>
          <p:cNvPr id="8" name="文本框 14">
            <a:extLst>
              <a:ext uri="{FF2B5EF4-FFF2-40B4-BE49-F238E27FC236}">
                <a16:creationId xmlns:a16="http://schemas.microsoft.com/office/drawing/2014/main" id="{34368EF1-40B3-B5B6-D6AB-938A13E140D5}"/>
              </a:ext>
            </a:extLst>
          </p:cNvPr>
          <p:cNvSpPr txBox="1">
            <a:spLocks noChangeArrowheads="1"/>
          </p:cNvSpPr>
          <p:nvPr/>
        </p:nvSpPr>
        <p:spPr bwMode="auto">
          <a:xfrm>
            <a:off x="227086" y="876962"/>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9" name="文本框 14">
            <a:extLst>
              <a:ext uri="{FF2B5EF4-FFF2-40B4-BE49-F238E27FC236}">
                <a16:creationId xmlns:a16="http://schemas.microsoft.com/office/drawing/2014/main" id="{13971C54-2F05-4B84-D9E4-94B8F42A897C}"/>
              </a:ext>
            </a:extLst>
          </p:cNvPr>
          <p:cNvSpPr txBox="1">
            <a:spLocks noChangeArrowheads="1"/>
          </p:cNvSpPr>
          <p:nvPr/>
        </p:nvSpPr>
        <p:spPr bwMode="auto">
          <a:xfrm>
            <a:off x="5878700" y="876961"/>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9" name="文本框 14">
            <a:extLst>
              <a:ext uri="{FF2B5EF4-FFF2-40B4-BE49-F238E27FC236}">
                <a16:creationId xmlns:a16="http://schemas.microsoft.com/office/drawing/2014/main" id="{EA47DB19-CEA7-76D9-CA5D-009A3CE234FE}"/>
              </a:ext>
            </a:extLst>
          </p:cNvPr>
          <p:cNvSpPr txBox="1">
            <a:spLocks noChangeArrowheads="1"/>
          </p:cNvSpPr>
          <p:nvPr/>
        </p:nvSpPr>
        <p:spPr bwMode="auto">
          <a:xfrm>
            <a:off x="227086" y="3613277"/>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a:t>
            </a:r>
            <a:r>
              <a:rPr lang="en-US" altLang="zh-CN" sz="1000" dirty="0">
                <a:latin typeface="+mn-lt"/>
                <a:ea typeface="+mn-ea"/>
                <a:cs typeface="+mn-ea"/>
                <a:sym typeface="+mn-lt"/>
              </a:rPr>
              <a:t>%</a:t>
            </a:r>
          </a:p>
        </p:txBody>
      </p:sp>
      <p:sp>
        <p:nvSpPr>
          <p:cNvPr id="20" name="文本框 14">
            <a:extLst>
              <a:ext uri="{FF2B5EF4-FFF2-40B4-BE49-F238E27FC236}">
                <a16:creationId xmlns:a16="http://schemas.microsoft.com/office/drawing/2014/main" id="{8B78DB7B-17D9-FDDC-51FC-FCAF7792962E}"/>
              </a:ext>
            </a:extLst>
          </p:cNvPr>
          <p:cNvSpPr txBox="1">
            <a:spLocks noChangeArrowheads="1"/>
          </p:cNvSpPr>
          <p:nvPr/>
        </p:nvSpPr>
        <p:spPr bwMode="auto">
          <a:xfrm>
            <a:off x="5851404" y="3588093"/>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a:t>
            </a:r>
            <a:r>
              <a:rPr lang="en-US" altLang="zh-CN" sz="1000" dirty="0">
                <a:latin typeface="+mn-lt"/>
                <a:ea typeface="+mn-ea"/>
                <a:cs typeface="+mn-ea"/>
                <a:sym typeface="+mn-lt"/>
              </a:rPr>
              <a:t>%</a:t>
            </a:r>
          </a:p>
        </p:txBody>
      </p:sp>
      <p:sp>
        <p:nvSpPr>
          <p:cNvPr id="5" name="灯片编号占位符 2">
            <a:extLst>
              <a:ext uri="{FF2B5EF4-FFF2-40B4-BE49-F238E27FC236}">
                <a16:creationId xmlns:a16="http://schemas.microsoft.com/office/drawing/2014/main" id="{87703C93-69D0-469F-3A4E-F66B8C1BA91D}"/>
              </a:ext>
            </a:extLst>
          </p:cNvPr>
          <p:cNvSpPr txBox="1">
            <a:spLocks noChangeArrowheads="1"/>
          </p:cNvSpPr>
          <p:nvPr/>
        </p:nvSpPr>
        <p:spPr bwMode="auto">
          <a:xfrm>
            <a:off x="190500" y="6369050"/>
            <a:ext cx="396761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同花顺，</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新湖研究所</a:t>
            </a:r>
          </a:p>
        </p:txBody>
      </p:sp>
      <p:graphicFrame>
        <p:nvGraphicFramePr>
          <p:cNvPr id="6" name="图表 5">
            <a:extLst>
              <a:ext uri="{FF2B5EF4-FFF2-40B4-BE49-F238E27FC236}">
                <a16:creationId xmlns:a16="http://schemas.microsoft.com/office/drawing/2014/main" id="{00000000-0008-0000-4100-000002000000}"/>
              </a:ext>
            </a:extLst>
          </p:cNvPr>
          <p:cNvGraphicFramePr>
            <a:graphicFrameLocks/>
          </p:cNvGraphicFramePr>
          <p:nvPr>
            <p:extLst>
              <p:ext uri="{D42A27DB-BD31-4B8C-83A1-F6EECF244321}">
                <p14:modId xmlns:p14="http://schemas.microsoft.com/office/powerpoint/2010/main" val="956692138"/>
              </p:ext>
            </p:extLst>
          </p:nvPr>
        </p:nvGraphicFramePr>
        <p:xfrm>
          <a:off x="283710" y="3429000"/>
          <a:ext cx="5635995" cy="279082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图表 9">
            <a:extLst>
              <a:ext uri="{FF2B5EF4-FFF2-40B4-BE49-F238E27FC236}">
                <a16:creationId xmlns:a16="http://schemas.microsoft.com/office/drawing/2014/main" id="{00000000-0008-0000-4100-000003000000}"/>
              </a:ext>
            </a:extLst>
          </p:cNvPr>
          <p:cNvGraphicFramePr>
            <a:graphicFrameLocks/>
          </p:cNvGraphicFramePr>
          <p:nvPr>
            <p:extLst>
              <p:ext uri="{D42A27DB-BD31-4B8C-83A1-F6EECF244321}">
                <p14:modId xmlns:p14="http://schemas.microsoft.com/office/powerpoint/2010/main" val="846600826"/>
              </p:ext>
            </p:extLst>
          </p:nvPr>
        </p:nvGraphicFramePr>
        <p:xfrm>
          <a:off x="5878700" y="3429000"/>
          <a:ext cx="5774064" cy="279263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1172781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图片 1">
            <a:extLst>
              <a:ext uri="{FF2B5EF4-FFF2-40B4-BE49-F238E27FC236}">
                <a16:creationId xmlns:a16="http://schemas.microsoft.com/office/drawing/2014/main" id="{ED4BC1EB-63AF-4906-9A5F-B5B6FD8AC0F9}"/>
              </a:ext>
            </a:extLst>
          </p:cNvPr>
          <p:cNvPicPr>
            <a:picLocks noChangeAspect="1"/>
          </p:cNvPicPr>
          <p:nvPr/>
        </p:nvPicPr>
        <p:blipFill>
          <a:blip r:embed="rId11">
            <a:extLst>
              <a:ext uri="{28A0092B-C50C-407E-A947-70E740481C1C}">
                <a14:useLocalDpi xmlns:a14="http://schemas.microsoft.com/office/drawing/2010/main" val="0"/>
              </a:ext>
            </a:extLst>
          </a:blip>
          <a:srcRect l="35039"/>
          <a:stretch>
            <a:fillRect/>
          </a:stretch>
        </p:blipFill>
        <p:spPr bwMode="auto">
          <a:xfrm>
            <a:off x="0" y="1211263"/>
            <a:ext cx="3790950" cy="473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ext Placeholder 2">
            <a:extLst>
              <a:ext uri="{FF2B5EF4-FFF2-40B4-BE49-F238E27FC236}">
                <a16:creationId xmlns:a16="http://schemas.microsoft.com/office/drawing/2014/main" id="{79749A57-C681-44A6-A162-5737EF4EC6C8}"/>
              </a:ext>
            </a:extLst>
          </p:cNvPr>
          <p:cNvSpPr>
            <a:spLocks noGrp="1"/>
          </p:cNvSpPr>
          <p:nvPr>
            <p:custDataLst>
              <p:tags r:id="rId3"/>
            </p:custDataLst>
          </p:nvPr>
        </p:nvSpPr>
        <p:spPr bwMode="gray">
          <a:xfrm>
            <a:off x="4457700" y="2517664"/>
            <a:ext cx="5967412" cy="719138"/>
          </a:xfrm>
          <a:prstGeom prst="rect">
            <a:avLst/>
          </a:prstGeom>
          <a:no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现货与期货价格</a:t>
            </a:r>
            <a:endParaRPr lang="en-US" altLang="zh-CN" sz="2000" b="1" dirty="0">
              <a:solidFill>
                <a:srgbClr val="007680"/>
              </a:solidFill>
              <a:latin typeface="+mn-lt"/>
              <a:ea typeface="+mn-ea"/>
              <a:cs typeface="+mn-ea"/>
              <a:sym typeface="+mn-lt"/>
            </a:endParaRPr>
          </a:p>
        </p:txBody>
      </p:sp>
      <p:sp>
        <p:nvSpPr>
          <p:cNvPr id="6148" name="标题 1">
            <a:extLst>
              <a:ext uri="{FF2B5EF4-FFF2-40B4-BE49-F238E27FC236}">
                <a16:creationId xmlns:a16="http://schemas.microsoft.com/office/drawing/2014/main" id="{08C718D0-164A-401F-831C-2638993756F3}"/>
              </a:ext>
            </a:extLst>
          </p:cNvPr>
          <p:cNvSpPr txBox="1">
            <a:spLocks noChangeArrowheads="1"/>
          </p:cNvSpPr>
          <p:nvPr/>
        </p:nvSpPr>
        <p:spPr bwMode="auto">
          <a:xfrm>
            <a:off x="4457700" y="404813"/>
            <a:ext cx="7886700" cy="132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lnSpc>
                <a:spcPct val="90000"/>
              </a:lnSpc>
              <a:spcBef>
                <a:spcPct val="0"/>
              </a:spcBef>
              <a:buFontTx/>
              <a:buNone/>
            </a:pPr>
            <a:r>
              <a:rPr lang="zh-CN" altLang="en-US" sz="2800" b="1">
                <a:solidFill>
                  <a:srgbClr val="007680"/>
                </a:solidFill>
                <a:latin typeface="+mn-lt"/>
                <a:ea typeface="+mn-ea"/>
                <a:cs typeface="+mn-ea"/>
                <a:sym typeface="+mn-lt"/>
              </a:rPr>
              <a:t>目录</a:t>
            </a:r>
            <a:endParaRPr lang="en-US" altLang="zh-CN" sz="2800" b="1">
              <a:solidFill>
                <a:srgbClr val="007680"/>
              </a:solidFill>
              <a:latin typeface="+mn-lt"/>
              <a:ea typeface="+mn-ea"/>
              <a:cs typeface="+mn-ea"/>
              <a:sym typeface="+mn-lt"/>
            </a:endParaRPr>
          </a:p>
        </p:txBody>
      </p:sp>
      <p:sp>
        <p:nvSpPr>
          <p:cNvPr id="6149" name="Text Placeholder 2">
            <a:extLst>
              <a:ext uri="{FF2B5EF4-FFF2-40B4-BE49-F238E27FC236}">
                <a16:creationId xmlns:a16="http://schemas.microsoft.com/office/drawing/2014/main" id="{6645C107-EAB8-4096-A57C-AA15FA7E38FB}"/>
              </a:ext>
            </a:extLst>
          </p:cNvPr>
          <p:cNvSpPr>
            <a:spLocks noGrp="1" noChangeArrowheads="1"/>
          </p:cNvSpPr>
          <p:nvPr>
            <p:custDataLst>
              <p:tags r:id="rId4"/>
            </p:custDataLst>
          </p:nvPr>
        </p:nvSpPr>
        <p:spPr bwMode="gray">
          <a:xfrm>
            <a:off x="4457700" y="3235629"/>
            <a:ext cx="5967412" cy="720725"/>
          </a:xfrm>
          <a:prstGeom prst="rect">
            <a:avLst/>
          </a:prstGeom>
          <a:noFill/>
          <a:ln>
            <a:noFill/>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供应情况</a:t>
            </a:r>
            <a:endParaRPr lang="en-US" altLang="zh-CN" sz="2000" b="1" dirty="0">
              <a:solidFill>
                <a:srgbClr val="007680"/>
              </a:solidFill>
              <a:latin typeface="+mn-lt"/>
              <a:ea typeface="+mn-ea"/>
              <a:cs typeface="+mn-ea"/>
              <a:sym typeface="+mn-lt"/>
            </a:endParaRPr>
          </a:p>
        </p:txBody>
      </p:sp>
      <p:sp>
        <p:nvSpPr>
          <p:cNvPr id="6150" name="Text Placeholder 2">
            <a:extLst>
              <a:ext uri="{FF2B5EF4-FFF2-40B4-BE49-F238E27FC236}">
                <a16:creationId xmlns:a16="http://schemas.microsoft.com/office/drawing/2014/main" id="{753CE32B-266E-44D7-B284-27428EF974FE}"/>
              </a:ext>
            </a:extLst>
          </p:cNvPr>
          <p:cNvSpPr>
            <a:spLocks noGrp="1" noChangeArrowheads="1"/>
          </p:cNvSpPr>
          <p:nvPr>
            <p:custDataLst>
              <p:tags r:id="rId5"/>
            </p:custDataLst>
          </p:nvPr>
        </p:nvSpPr>
        <p:spPr bwMode="gray">
          <a:xfrm>
            <a:off x="4457700" y="3955181"/>
            <a:ext cx="5967412" cy="719137"/>
          </a:xfrm>
          <a:prstGeom prst="rect">
            <a:avLst/>
          </a:prstGeom>
          <a:noFill/>
          <a:ln>
            <a:noFill/>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需求情况</a:t>
            </a:r>
            <a:endParaRPr lang="en-US" altLang="zh-CN" sz="2000" b="1" dirty="0">
              <a:solidFill>
                <a:srgbClr val="007680"/>
              </a:solidFill>
              <a:latin typeface="+mn-lt"/>
              <a:ea typeface="+mn-ea"/>
              <a:cs typeface="+mn-ea"/>
              <a:sym typeface="+mn-lt"/>
            </a:endParaRPr>
          </a:p>
        </p:txBody>
      </p:sp>
      <p:sp>
        <p:nvSpPr>
          <p:cNvPr id="6151" name="Text Placeholder 2">
            <a:extLst>
              <a:ext uri="{FF2B5EF4-FFF2-40B4-BE49-F238E27FC236}">
                <a16:creationId xmlns:a16="http://schemas.microsoft.com/office/drawing/2014/main" id="{2BAC68A4-92B8-4CEA-BE34-8D5038007401}"/>
              </a:ext>
            </a:extLst>
          </p:cNvPr>
          <p:cNvSpPr>
            <a:spLocks noGrp="1" noChangeArrowheads="1"/>
          </p:cNvSpPr>
          <p:nvPr>
            <p:custDataLst>
              <p:tags r:id="rId6"/>
            </p:custDataLst>
          </p:nvPr>
        </p:nvSpPr>
        <p:spPr bwMode="gray">
          <a:xfrm>
            <a:off x="4457700" y="4673146"/>
            <a:ext cx="5967412" cy="720725"/>
          </a:xfrm>
          <a:prstGeom prst="rect">
            <a:avLst/>
          </a:prstGeom>
          <a:solidFill>
            <a:srgbClr val="007680"/>
          </a:solidFill>
          <a:ln>
            <a:noFill/>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chemeClr val="bg1"/>
                </a:solidFill>
                <a:latin typeface="+mn-lt"/>
                <a:ea typeface="+mn-ea"/>
                <a:cs typeface="+mn-ea"/>
                <a:sym typeface="+mn-lt"/>
              </a:rPr>
              <a:t>库存情况</a:t>
            </a:r>
            <a:endParaRPr lang="en-US" altLang="zh-CN" sz="2000" b="1" dirty="0">
              <a:solidFill>
                <a:schemeClr val="bg1"/>
              </a:solidFill>
              <a:latin typeface="+mn-lt"/>
              <a:ea typeface="+mn-ea"/>
              <a:cs typeface="+mn-ea"/>
              <a:sym typeface="+mn-lt"/>
            </a:endParaRPr>
          </a:p>
        </p:txBody>
      </p:sp>
      <p:sp>
        <p:nvSpPr>
          <p:cNvPr id="6153" name="灯片编号占位符 1">
            <a:extLst>
              <a:ext uri="{FF2B5EF4-FFF2-40B4-BE49-F238E27FC236}">
                <a16:creationId xmlns:a16="http://schemas.microsoft.com/office/drawing/2014/main" id="{FB454E3B-C50C-4196-9B11-779975A80A2A}"/>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fld id="{C6595CE2-4FFC-466C-9857-5B197AF4AF3E}" type="slidenum">
              <a:rPr lang="zh-CN" altLang="en-US" sz="1200" smtClean="0">
                <a:solidFill>
                  <a:srgbClr val="898989"/>
                </a:solidFill>
                <a:latin typeface="+mn-lt"/>
                <a:ea typeface="+mn-ea"/>
                <a:cs typeface="+mn-ea"/>
                <a:sym typeface="+mn-lt"/>
              </a:rPr>
              <a:pPr>
                <a:spcBef>
                  <a:spcPct val="0"/>
                </a:spcBef>
                <a:buFontTx/>
                <a:buNone/>
              </a:pPr>
              <a:t>18</a:t>
            </a:fld>
            <a:endParaRPr lang="zh-CN" altLang="en-US" sz="1200">
              <a:solidFill>
                <a:srgbClr val="898989"/>
              </a:solidFill>
              <a:latin typeface="+mn-lt"/>
              <a:ea typeface="+mn-ea"/>
              <a:cs typeface="+mn-ea"/>
              <a:sym typeface="+mn-lt"/>
            </a:endParaRPr>
          </a:p>
        </p:txBody>
      </p:sp>
      <p:sp>
        <p:nvSpPr>
          <p:cNvPr id="9" name="Text Placeholder 2">
            <a:extLst>
              <a:ext uri="{FF2B5EF4-FFF2-40B4-BE49-F238E27FC236}">
                <a16:creationId xmlns:a16="http://schemas.microsoft.com/office/drawing/2014/main" id="{A10AECED-F4FD-46F5-B9F3-AB5F5DD25C1F}"/>
              </a:ext>
            </a:extLst>
          </p:cNvPr>
          <p:cNvSpPr>
            <a:spLocks noGrp="1"/>
          </p:cNvSpPr>
          <p:nvPr>
            <p:custDataLst>
              <p:tags r:id="rId7"/>
            </p:custDataLst>
          </p:nvPr>
        </p:nvSpPr>
        <p:spPr bwMode="gray">
          <a:xfrm>
            <a:off x="4457700" y="1799699"/>
            <a:ext cx="5967412" cy="719138"/>
          </a:xfrm>
          <a:prstGeom prst="rect">
            <a:avLst/>
          </a:prstGeom>
          <a:no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政策与要闻</a:t>
            </a:r>
            <a:endParaRPr lang="en-US" altLang="zh-CN" sz="2000" b="1" dirty="0">
              <a:solidFill>
                <a:srgbClr val="007680"/>
              </a:solidFill>
              <a:latin typeface="+mn-lt"/>
              <a:ea typeface="+mn-ea"/>
              <a:cs typeface="+mn-ea"/>
              <a:sym typeface="+mn-lt"/>
            </a:endParaRPr>
          </a:p>
        </p:txBody>
      </p:sp>
      <p:sp>
        <p:nvSpPr>
          <p:cNvPr id="10" name="Text Placeholder 2">
            <a:extLst>
              <a:ext uri="{FF2B5EF4-FFF2-40B4-BE49-F238E27FC236}">
                <a16:creationId xmlns:a16="http://schemas.microsoft.com/office/drawing/2014/main" id="{3572C6BD-534E-41BD-8D36-9CA7B9FE0429}"/>
              </a:ext>
            </a:extLst>
          </p:cNvPr>
          <p:cNvSpPr>
            <a:spLocks noGrp="1" noChangeArrowheads="1"/>
          </p:cNvSpPr>
          <p:nvPr>
            <p:custDataLst>
              <p:tags r:id="rId8"/>
            </p:custDataLst>
          </p:nvPr>
        </p:nvSpPr>
        <p:spPr bwMode="gray">
          <a:xfrm>
            <a:off x="4457700" y="5396966"/>
            <a:ext cx="5967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结论</a:t>
            </a:r>
            <a:endParaRPr lang="en-US" altLang="zh-CN" sz="2000" b="1" dirty="0">
              <a:solidFill>
                <a:srgbClr val="007680"/>
              </a:solidFill>
              <a:latin typeface="+mn-lt"/>
              <a:ea typeface="+mn-ea"/>
              <a:cs typeface="+mn-ea"/>
              <a:sym typeface="+mn-lt"/>
            </a:endParaRPr>
          </a:p>
        </p:txBody>
      </p:sp>
    </p:spTree>
    <p:custDataLst>
      <p:tags r:id="rId2"/>
    </p:custDataLst>
    <p:extLst>
      <p:ext uri="{BB962C8B-B14F-4D97-AF65-F5344CB8AC3E}">
        <p14:creationId xmlns:p14="http://schemas.microsoft.com/office/powerpoint/2010/main" val="1655647549"/>
      </p:ext>
    </p:extLst>
  </p:cSld>
  <p:clrMapOvr>
    <a:masterClrMapping/>
  </p:clrMapOvr>
  <p:transition advTm="10000"/>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EF1F12F-2218-4F75-9E35-D94BDE3D3838}"/>
              </a:ext>
            </a:extLst>
          </p:cNvPr>
          <p:cNvSpPr>
            <a:spLocks noGrp="1"/>
          </p:cNvSpPr>
          <p:nvPr>
            <p:ph type="title"/>
          </p:nvPr>
        </p:nvSpPr>
        <p:spPr>
          <a:xfrm>
            <a:off x="544410" y="204279"/>
            <a:ext cx="11103180" cy="417976"/>
          </a:xfrm>
        </p:spPr>
        <p:txBody>
          <a:bodyPr/>
          <a:lstStyle/>
          <a:p>
            <a:r>
              <a:rPr lang="zh-CN" altLang="en-US" dirty="0">
                <a:latin typeface="+mn-lt"/>
                <a:ea typeface="+mn-ea"/>
                <a:cs typeface="+mn-ea"/>
                <a:sym typeface="+mn-lt"/>
              </a:rPr>
              <a:t>工业硅行业库存高位累库，市场库存暂稳，工厂库存加速累增，交割库库存保持增长</a:t>
            </a:r>
          </a:p>
        </p:txBody>
      </p:sp>
      <p:sp>
        <p:nvSpPr>
          <p:cNvPr id="3" name="灯片编号占位符 2">
            <a:extLst>
              <a:ext uri="{FF2B5EF4-FFF2-40B4-BE49-F238E27FC236}">
                <a16:creationId xmlns:a16="http://schemas.microsoft.com/office/drawing/2014/main" id="{2D0CDD6B-6844-4F5D-ADBE-3FC9CC547212}"/>
              </a:ext>
            </a:extLst>
          </p:cNvPr>
          <p:cNvSpPr>
            <a:spLocks noGrp="1"/>
          </p:cNvSpPr>
          <p:nvPr>
            <p:ph type="sldNum" sz="quarter" idx="11"/>
          </p:nvPr>
        </p:nvSpPr>
        <p:spPr/>
        <p:txBody>
          <a:bodyPr/>
          <a:lstStyle/>
          <a:p>
            <a:pPr>
              <a:defRPr/>
            </a:pPr>
            <a:fld id="{8E2C30CB-4307-4BB9-B24E-988C520472CC}" type="slidenum">
              <a:rPr lang="zh-CN" altLang="en-US" smtClean="0">
                <a:latin typeface="+mn-lt"/>
                <a:ea typeface="+mn-ea"/>
                <a:cs typeface="+mn-ea"/>
                <a:sym typeface="+mn-lt"/>
              </a:rPr>
              <a:pPr>
                <a:defRPr/>
              </a:pPr>
              <a:t>19</a:t>
            </a:fld>
            <a:endParaRPr lang="zh-CN" altLang="en-US">
              <a:latin typeface="+mn-lt"/>
              <a:ea typeface="+mn-ea"/>
              <a:cs typeface="+mn-ea"/>
              <a:sym typeface="+mn-lt"/>
            </a:endParaRPr>
          </a:p>
        </p:txBody>
      </p:sp>
      <p:grpSp>
        <p:nvGrpSpPr>
          <p:cNvPr id="8" name="组合 7">
            <a:extLst>
              <a:ext uri="{FF2B5EF4-FFF2-40B4-BE49-F238E27FC236}">
                <a16:creationId xmlns:a16="http://schemas.microsoft.com/office/drawing/2014/main" id="{DC7A5C81-E0F0-37CA-FE9B-0E060E320025}"/>
              </a:ext>
            </a:extLst>
          </p:cNvPr>
          <p:cNvGrpSpPr/>
          <p:nvPr/>
        </p:nvGrpSpPr>
        <p:grpSpPr>
          <a:xfrm>
            <a:off x="311285" y="805534"/>
            <a:ext cx="11336305" cy="5486400"/>
            <a:chOff x="190500" y="980630"/>
            <a:chExt cx="9144000" cy="5486400"/>
          </a:xfrm>
        </p:grpSpPr>
        <p:graphicFrame>
          <p:nvGraphicFramePr>
            <p:cNvPr id="4" name="图表 3">
              <a:extLst>
                <a:ext uri="{FF2B5EF4-FFF2-40B4-BE49-F238E27FC236}">
                  <a16:creationId xmlns:a16="http://schemas.microsoft.com/office/drawing/2014/main" id="{AAD1E2A9-C344-36B4-B508-A3BFB0A209DE}"/>
                </a:ext>
              </a:extLst>
            </p:cNvPr>
            <p:cNvGraphicFramePr>
              <a:graphicFrameLocks/>
            </p:cNvGraphicFramePr>
            <p:nvPr>
              <p:extLst>
                <p:ext uri="{D42A27DB-BD31-4B8C-83A1-F6EECF244321}">
                  <p14:modId xmlns:p14="http://schemas.microsoft.com/office/powerpoint/2010/main" val="315303990"/>
                </p:ext>
              </p:extLst>
            </p:nvPr>
          </p:nvGraphicFramePr>
          <p:xfrm>
            <a:off x="190500" y="980630"/>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图表 4">
              <a:extLst>
                <a:ext uri="{FF2B5EF4-FFF2-40B4-BE49-F238E27FC236}">
                  <a16:creationId xmlns:a16="http://schemas.microsoft.com/office/drawing/2014/main" id="{4A839DDF-2F1C-9AF3-FDC5-9296F71B57ED}"/>
                </a:ext>
              </a:extLst>
            </p:cNvPr>
            <p:cNvGraphicFramePr>
              <a:graphicFrameLocks/>
            </p:cNvGraphicFramePr>
            <p:nvPr>
              <p:extLst>
                <p:ext uri="{D42A27DB-BD31-4B8C-83A1-F6EECF244321}">
                  <p14:modId xmlns:p14="http://schemas.microsoft.com/office/powerpoint/2010/main" val="4001117929"/>
                </p:ext>
              </p:extLst>
            </p:nvPr>
          </p:nvGraphicFramePr>
          <p:xfrm>
            <a:off x="4762500" y="3723830"/>
            <a:ext cx="4572000" cy="2743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 name="图表 5">
              <a:extLst>
                <a:ext uri="{FF2B5EF4-FFF2-40B4-BE49-F238E27FC236}">
                  <a16:creationId xmlns:a16="http://schemas.microsoft.com/office/drawing/2014/main" id="{7A686B43-380A-C0AD-EB54-D2A9B90EE9F3}"/>
                </a:ext>
              </a:extLst>
            </p:cNvPr>
            <p:cNvGraphicFramePr>
              <a:graphicFrameLocks/>
            </p:cNvGraphicFramePr>
            <p:nvPr>
              <p:extLst>
                <p:ext uri="{D42A27DB-BD31-4B8C-83A1-F6EECF244321}">
                  <p14:modId xmlns:p14="http://schemas.microsoft.com/office/powerpoint/2010/main" val="154553996"/>
                </p:ext>
              </p:extLst>
            </p:nvPr>
          </p:nvGraphicFramePr>
          <p:xfrm>
            <a:off x="190500" y="3723830"/>
            <a:ext cx="4572000" cy="27432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图表 6">
              <a:extLst>
                <a:ext uri="{FF2B5EF4-FFF2-40B4-BE49-F238E27FC236}">
                  <a16:creationId xmlns:a16="http://schemas.microsoft.com/office/drawing/2014/main" id="{D77DFE87-5139-5FC3-2A3B-46231DD0A554}"/>
                </a:ext>
              </a:extLst>
            </p:cNvPr>
            <p:cNvGraphicFramePr>
              <a:graphicFrameLocks/>
            </p:cNvGraphicFramePr>
            <p:nvPr>
              <p:extLst>
                <p:ext uri="{D42A27DB-BD31-4B8C-83A1-F6EECF244321}">
                  <p14:modId xmlns:p14="http://schemas.microsoft.com/office/powerpoint/2010/main" val="4168352372"/>
                </p:ext>
              </p:extLst>
            </p:nvPr>
          </p:nvGraphicFramePr>
          <p:xfrm>
            <a:off x="4762500" y="980630"/>
            <a:ext cx="4572000" cy="2743200"/>
          </p:xfrm>
          <a:graphic>
            <a:graphicData uri="http://schemas.openxmlformats.org/drawingml/2006/chart">
              <c:chart xmlns:c="http://schemas.openxmlformats.org/drawingml/2006/chart" xmlns:r="http://schemas.openxmlformats.org/officeDocument/2006/relationships" r:id="rId7"/>
            </a:graphicData>
          </a:graphic>
        </p:graphicFrame>
      </p:grpSp>
      <p:sp>
        <p:nvSpPr>
          <p:cNvPr id="9" name="文本框 14">
            <a:extLst>
              <a:ext uri="{FF2B5EF4-FFF2-40B4-BE49-F238E27FC236}">
                <a16:creationId xmlns:a16="http://schemas.microsoft.com/office/drawing/2014/main" id="{F02078A8-2C3F-ABB4-2204-16F8A0E5E7B9}"/>
              </a:ext>
            </a:extLst>
          </p:cNvPr>
          <p:cNvSpPr txBox="1">
            <a:spLocks noChangeArrowheads="1"/>
          </p:cNvSpPr>
          <p:nvPr/>
        </p:nvSpPr>
        <p:spPr bwMode="auto">
          <a:xfrm>
            <a:off x="311285" y="949920"/>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吨</a:t>
            </a:r>
          </a:p>
        </p:txBody>
      </p:sp>
      <p:sp>
        <p:nvSpPr>
          <p:cNvPr id="11" name="文本框 14">
            <a:extLst>
              <a:ext uri="{FF2B5EF4-FFF2-40B4-BE49-F238E27FC236}">
                <a16:creationId xmlns:a16="http://schemas.microsoft.com/office/drawing/2014/main" id="{93E7F04D-01DB-BB92-2A0C-A6036E0A3A62}"/>
              </a:ext>
            </a:extLst>
          </p:cNvPr>
          <p:cNvSpPr txBox="1">
            <a:spLocks noChangeArrowheads="1"/>
          </p:cNvSpPr>
          <p:nvPr/>
        </p:nvSpPr>
        <p:spPr bwMode="auto">
          <a:xfrm>
            <a:off x="5979438" y="949920"/>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吨</a:t>
            </a:r>
          </a:p>
        </p:txBody>
      </p:sp>
      <p:sp>
        <p:nvSpPr>
          <p:cNvPr id="12" name="文本框 14">
            <a:extLst>
              <a:ext uri="{FF2B5EF4-FFF2-40B4-BE49-F238E27FC236}">
                <a16:creationId xmlns:a16="http://schemas.microsoft.com/office/drawing/2014/main" id="{6BAB2D57-ECCC-4DE2-B2A1-9FA6A263C74C}"/>
              </a:ext>
            </a:extLst>
          </p:cNvPr>
          <p:cNvSpPr txBox="1">
            <a:spLocks noChangeArrowheads="1"/>
          </p:cNvSpPr>
          <p:nvPr/>
        </p:nvSpPr>
        <p:spPr bwMode="auto">
          <a:xfrm>
            <a:off x="5979438" y="3712214"/>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吨</a:t>
            </a:r>
          </a:p>
        </p:txBody>
      </p:sp>
      <p:sp>
        <p:nvSpPr>
          <p:cNvPr id="13" name="文本框 14">
            <a:extLst>
              <a:ext uri="{FF2B5EF4-FFF2-40B4-BE49-F238E27FC236}">
                <a16:creationId xmlns:a16="http://schemas.microsoft.com/office/drawing/2014/main" id="{A95253EC-BCB9-A3C8-E1B3-0EB8A2BD7C94}"/>
              </a:ext>
            </a:extLst>
          </p:cNvPr>
          <p:cNvSpPr txBox="1">
            <a:spLocks noChangeArrowheads="1"/>
          </p:cNvSpPr>
          <p:nvPr/>
        </p:nvSpPr>
        <p:spPr bwMode="auto">
          <a:xfrm>
            <a:off x="311285" y="3712214"/>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吨</a:t>
            </a:r>
          </a:p>
        </p:txBody>
      </p:sp>
      <p:sp>
        <p:nvSpPr>
          <p:cNvPr id="14" name="灯片编号占位符 2">
            <a:extLst>
              <a:ext uri="{FF2B5EF4-FFF2-40B4-BE49-F238E27FC236}">
                <a16:creationId xmlns:a16="http://schemas.microsoft.com/office/drawing/2014/main" id="{F04BC848-5ECE-E975-E3A4-67C48ED42500}"/>
              </a:ext>
            </a:extLst>
          </p:cNvPr>
          <p:cNvSpPr txBox="1">
            <a:spLocks noChangeArrowheads="1"/>
          </p:cNvSpPr>
          <p:nvPr/>
        </p:nvSpPr>
        <p:spPr bwMode="auto">
          <a:xfrm>
            <a:off x="190500" y="6369050"/>
            <a:ext cx="396761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同花顺，</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新湖研究所</a:t>
            </a:r>
          </a:p>
        </p:txBody>
      </p:sp>
    </p:spTree>
    <p:extLst>
      <p:ext uri="{BB962C8B-B14F-4D97-AF65-F5344CB8AC3E}">
        <p14:creationId xmlns:p14="http://schemas.microsoft.com/office/powerpoint/2010/main" val="2679779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图片 1">
            <a:extLst>
              <a:ext uri="{FF2B5EF4-FFF2-40B4-BE49-F238E27FC236}">
                <a16:creationId xmlns:a16="http://schemas.microsoft.com/office/drawing/2014/main" id="{ED4BC1EB-63AF-4906-9A5F-B5B6FD8AC0F9}"/>
              </a:ext>
            </a:extLst>
          </p:cNvPr>
          <p:cNvPicPr>
            <a:picLocks noChangeAspect="1"/>
          </p:cNvPicPr>
          <p:nvPr/>
        </p:nvPicPr>
        <p:blipFill>
          <a:blip r:embed="rId11">
            <a:extLst>
              <a:ext uri="{28A0092B-C50C-407E-A947-70E740481C1C}">
                <a14:useLocalDpi xmlns:a14="http://schemas.microsoft.com/office/drawing/2010/main" val="0"/>
              </a:ext>
            </a:extLst>
          </a:blip>
          <a:srcRect l="35039"/>
          <a:stretch>
            <a:fillRect/>
          </a:stretch>
        </p:blipFill>
        <p:spPr bwMode="auto">
          <a:xfrm>
            <a:off x="0" y="1211263"/>
            <a:ext cx="3790950" cy="473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ext Placeholder 2">
            <a:extLst>
              <a:ext uri="{FF2B5EF4-FFF2-40B4-BE49-F238E27FC236}">
                <a16:creationId xmlns:a16="http://schemas.microsoft.com/office/drawing/2014/main" id="{79749A57-C681-44A6-A162-5737EF4EC6C8}"/>
              </a:ext>
            </a:extLst>
          </p:cNvPr>
          <p:cNvSpPr>
            <a:spLocks noGrp="1"/>
          </p:cNvSpPr>
          <p:nvPr>
            <p:custDataLst>
              <p:tags r:id="rId3"/>
            </p:custDataLst>
          </p:nvPr>
        </p:nvSpPr>
        <p:spPr bwMode="gray">
          <a:xfrm>
            <a:off x="4457700" y="2517664"/>
            <a:ext cx="5967412" cy="719138"/>
          </a:xfrm>
          <a:prstGeom prst="rect">
            <a:avLst/>
          </a:prstGeom>
          <a:no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现货与期货价格</a:t>
            </a:r>
            <a:endParaRPr lang="en-US" altLang="zh-CN" sz="2000" b="1" dirty="0">
              <a:solidFill>
                <a:srgbClr val="007680"/>
              </a:solidFill>
              <a:latin typeface="+mn-lt"/>
              <a:ea typeface="+mn-ea"/>
              <a:cs typeface="+mn-ea"/>
              <a:sym typeface="+mn-lt"/>
            </a:endParaRPr>
          </a:p>
        </p:txBody>
      </p:sp>
      <p:sp>
        <p:nvSpPr>
          <p:cNvPr id="6148" name="标题 1">
            <a:extLst>
              <a:ext uri="{FF2B5EF4-FFF2-40B4-BE49-F238E27FC236}">
                <a16:creationId xmlns:a16="http://schemas.microsoft.com/office/drawing/2014/main" id="{08C718D0-164A-401F-831C-2638993756F3}"/>
              </a:ext>
            </a:extLst>
          </p:cNvPr>
          <p:cNvSpPr txBox="1">
            <a:spLocks noChangeArrowheads="1"/>
          </p:cNvSpPr>
          <p:nvPr/>
        </p:nvSpPr>
        <p:spPr bwMode="auto">
          <a:xfrm>
            <a:off x="4457700" y="404813"/>
            <a:ext cx="7886700" cy="132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lnSpc>
                <a:spcPct val="90000"/>
              </a:lnSpc>
              <a:spcBef>
                <a:spcPct val="0"/>
              </a:spcBef>
              <a:buFontTx/>
              <a:buNone/>
            </a:pPr>
            <a:r>
              <a:rPr lang="zh-CN" altLang="en-US" sz="2800" b="1">
                <a:solidFill>
                  <a:srgbClr val="007680"/>
                </a:solidFill>
                <a:latin typeface="+mn-lt"/>
                <a:ea typeface="+mn-ea"/>
                <a:cs typeface="+mn-ea"/>
                <a:sym typeface="+mn-lt"/>
              </a:rPr>
              <a:t>目录</a:t>
            </a:r>
            <a:endParaRPr lang="en-US" altLang="zh-CN" sz="2800" b="1">
              <a:solidFill>
                <a:srgbClr val="007680"/>
              </a:solidFill>
              <a:latin typeface="+mn-lt"/>
              <a:ea typeface="+mn-ea"/>
              <a:cs typeface="+mn-ea"/>
              <a:sym typeface="+mn-lt"/>
            </a:endParaRPr>
          </a:p>
        </p:txBody>
      </p:sp>
      <p:sp>
        <p:nvSpPr>
          <p:cNvPr id="6149" name="Text Placeholder 2">
            <a:extLst>
              <a:ext uri="{FF2B5EF4-FFF2-40B4-BE49-F238E27FC236}">
                <a16:creationId xmlns:a16="http://schemas.microsoft.com/office/drawing/2014/main" id="{6645C107-EAB8-4096-A57C-AA15FA7E38FB}"/>
              </a:ext>
            </a:extLst>
          </p:cNvPr>
          <p:cNvSpPr>
            <a:spLocks noGrp="1" noChangeArrowheads="1"/>
          </p:cNvSpPr>
          <p:nvPr>
            <p:custDataLst>
              <p:tags r:id="rId4"/>
            </p:custDataLst>
          </p:nvPr>
        </p:nvSpPr>
        <p:spPr bwMode="gray">
          <a:xfrm>
            <a:off x="4457700" y="3235629"/>
            <a:ext cx="5967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供应情况</a:t>
            </a:r>
            <a:endParaRPr lang="en-US" altLang="zh-CN" sz="2000" b="1" dirty="0">
              <a:solidFill>
                <a:srgbClr val="007680"/>
              </a:solidFill>
              <a:latin typeface="+mn-lt"/>
              <a:ea typeface="+mn-ea"/>
              <a:cs typeface="+mn-ea"/>
              <a:sym typeface="+mn-lt"/>
            </a:endParaRPr>
          </a:p>
        </p:txBody>
      </p:sp>
      <p:sp>
        <p:nvSpPr>
          <p:cNvPr id="6150" name="Text Placeholder 2">
            <a:extLst>
              <a:ext uri="{FF2B5EF4-FFF2-40B4-BE49-F238E27FC236}">
                <a16:creationId xmlns:a16="http://schemas.microsoft.com/office/drawing/2014/main" id="{753CE32B-266E-44D7-B284-27428EF974FE}"/>
              </a:ext>
            </a:extLst>
          </p:cNvPr>
          <p:cNvSpPr>
            <a:spLocks noGrp="1" noChangeArrowheads="1"/>
          </p:cNvSpPr>
          <p:nvPr>
            <p:custDataLst>
              <p:tags r:id="rId5"/>
            </p:custDataLst>
          </p:nvPr>
        </p:nvSpPr>
        <p:spPr bwMode="gray">
          <a:xfrm>
            <a:off x="4457700" y="3955181"/>
            <a:ext cx="5967412"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需求情况</a:t>
            </a:r>
            <a:endParaRPr lang="en-US" altLang="zh-CN" sz="2000" b="1" dirty="0">
              <a:solidFill>
                <a:srgbClr val="007680"/>
              </a:solidFill>
              <a:latin typeface="+mn-lt"/>
              <a:ea typeface="+mn-ea"/>
              <a:cs typeface="+mn-ea"/>
              <a:sym typeface="+mn-lt"/>
            </a:endParaRPr>
          </a:p>
        </p:txBody>
      </p:sp>
      <p:sp>
        <p:nvSpPr>
          <p:cNvPr id="6151" name="Text Placeholder 2">
            <a:extLst>
              <a:ext uri="{FF2B5EF4-FFF2-40B4-BE49-F238E27FC236}">
                <a16:creationId xmlns:a16="http://schemas.microsoft.com/office/drawing/2014/main" id="{2BAC68A4-92B8-4CEA-BE34-8D5038007401}"/>
              </a:ext>
            </a:extLst>
          </p:cNvPr>
          <p:cNvSpPr>
            <a:spLocks noGrp="1" noChangeArrowheads="1"/>
          </p:cNvSpPr>
          <p:nvPr>
            <p:custDataLst>
              <p:tags r:id="rId6"/>
            </p:custDataLst>
          </p:nvPr>
        </p:nvSpPr>
        <p:spPr bwMode="gray">
          <a:xfrm>
            <a:off x="4457700" y="4673146"/>
            <a:ext cx="5967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库存情况</a:t>
            </a:r>
            <a:endParaRPr lang="en-US" altLang="zh-CN" sz="2000" b="1" dirty="0">
              <a:solidFill>
                <a:srgbClr val="007680"/>
              </a:solidFill>
              <a:latin typeface="+mn-lt"/>
              <a:ea typeface="+mn-ea"/>
              <a:cs typeface="+mn-ea"/>
              <a:sym typeface="+mn-lt"/>
            </a:endParaRPr>
          </a:p>
        </p:txBody>
      </p:sp>
      <p:sp>
        <p:nvSpPr>
          <p:cNvPr id="6153" name="灯片编号占位符 1">
            <a:extLst>
              <a:ext uri="{FF2B5EF4-FFF2-40B4-BE49-F238E27FC236}">
                <a16:creationId xmlns:a16="http://schemas.microsoft.com/office/drawing/2014/main" id="{FB454E3B-C50C-4196-9B11-779975A80A2A}"/>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fld id="{C6595CE2-4FFC-466C-9857-5B197AF4AF3E}" type="slidenum">
              <a:rPr lang="zh-CN" altLang="en-US" sz="1200" smtClean="0">
                <a:solidFill>
                  <a:srgbClr val="898989"/>
                </a:solidFill>
                <a:latin typeface="+mn-lt"/>
                <a:ea typeface="+mn-ea"/>
                <a:cs typeface="+mn-ea"/>
                <a:sym typeface="+mn-lt"/>
              </a:rPr>
              <a:pPr>
                <a:spcBef>
                  <a:spcPct val="0"/>
                </a:spcBef>
                <a:buFontTx/>
                <a:buNone/>
              </a:pPr>
              <a:t>2</a:t>
            </a:fld>
            <a:endParaRPr lang="zh-CN" altLang="en-US" sz="1200">
              <a:solidFill>
                <a:srgbClr val="898989"/>
              </a:solidFill>
              <a:latin typeface="+mn-lt"/>
              <a:ea typeface="+mn-ea"/>
              <a:cs typeface="+mn-ea"/>
              <a:sym typeface="+mn-lt"/>
            </a:endParaRPr>
          </a:p>
        </p:txBody>
      </p:sp>
      <p:sp>
        <p:nvSpPr>
          <p:cNvPr id="9" name="Text Placeholder 2">
            <a:extLst>
              <a:ext uri="{FF2B5EF4-FFF2-40B4-BE49-F238E27FC236}">
                <a16:creationId xmlns:a16="http://schemas.microsoft.com/office/drawing/2014/main" id="{A10AECED-F4FD-46F5-B9F3-AB5F5DD25C1F}"/>
              </a:ext>
            </a:extLst>
          </p:cNvPr>
          <p:cNvSpPr>
            <a:spLocks noGrp="1"/>
          </p:cNvSpPr>
          <p:nvPr>
            <p:custDataLst>
              <p:tags r:id="rId7"/>
            </p:custDataLst>
          </p:nvPr>
        </p:nvSpPr>
        <p:spPr bwMode="gray">
          <a:xfrm>
            <a:off x="4457700" y="1799699"/>
            <a:ext cx="5967412" cy="719138"/>
          </a:xfrm>
          <a:prstGeom prst="rect">
            <a:avLst/>
          </a:prstGeom>
          <a:solidFill>
            <a:srgbClr val="007680"/>
          </a:solid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FFFFFF"/>
                </a:solidFill>
                <a:latin typeface="+mn-lt"/>
                <a:ea typeface="+mn-ea"/>
                <a:cs typeface="+mn-ea"/>
                <a:sym typeface="+mn-lt"/>
              </a:rPr>
              <a:t>政策与要闻</a:t>
            </a:r>
            <a:endParaRPr lang="en-US" altLang="zh-CN" sz="2000" b="1" dirty="0">
              <a:solidFill>
                <a:srgbClr val="FFFFFF"/>
              </a:solidFill>
              <a:latin typeface="+mn-lt"/>
              <a:ea typeface="+mn-ea"/>
              <a:cs typeface="+mn-ea"/>
              <a:sym typeface="+mn-lt"/>
            </a:endParaRPr>
          </a:p>
        </p:txBody>
      </p:sp>
      <p:sp>
        <p:nvSpPr>
          <p:cNvPr id="11" name="Text Placeholder 2">
            <a:extLst>
              <a:ext uri="{FF2B5EF4-FFF2-40B4-BE49-F238E27FC236}">
                <a16:creationId xmlns:a16="http://schemas.microsoft.com/office/drawing/2014/main" id="{102130F6-170C-4B35-803F-42DE475B5F62}"/>
              </a:ext>
            </a:extLst>
          </p:cNvPr>
          <p:cNvSpPr>
            <a:spLocks noGrp="1" noChangeArrowheads="1"/>
          </p:cNvSpPr>
          <p:nvPr>
            <p:custDataLst>
              <p:tags r:id="rId8"/>
            </p:custDataLst>
          </p:nvPr>
        </p:nvSpPr>
        <p:spPr bwMode="gray">
          <a:xfrm>
            <a:off x="4457700" y="5396966"/>
            <a:ext cx="5967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结论</a:t>
            </a:r>
            <a:endParaRPr lang="en-US" altLang="zh-CN" sz="2000" b="1" dirty="0">
              <a:solidFill>
                <a:srgbClr val="007680"/>
              </a:solidFill>
              <a:latin typeface="+mn-lt"/>
              <a:ea typeface="+mn-ea"/>
              <a:cs typeface="+mn-ea"/>
              <a:sym typeface="+mn-lt"/>
            </a:endParaRPr>
          </a:p>
        </p:txBody>
      </p:sp>
    </p:spTree>
    <p:custDataLst>
      <p:tags r:id="rId2"/>
    </p:custDataLst>
  </p:cSld>
  <p:clrMapOvr>
    <a:masterClrMapping/>
  </p:clrMapOvr>
  <p:transition advTm="10000"/>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图片 1">
            <a:extLst>
              <a:ext uri="{FF2B5EF4-FFF2-40B4-BE49-F238E27FC236}">
                <a16:creationId xmlns:a16="http://schemas.microsoft.com/office/drawing/2014/main" id="{ED4BC1EB-63AF-4906-9A5F-B5B6FD8AC0F9}"/>
              </a:ext>
            </a:extLst>
          </p:cNvPr>
          <p:cNvPicPr>
            <a:picLocks noChangeAspect="1"/>
          </p:cNvPicPr>
          <p:nvPr/>
        </p:nvPicPr>
        <p:blipFill>
          <a:blip r:embed="rId11">
            <a:extLst>
              <a:ext uri="{28A0092B-C50C-407E-A947-70E740481C1C}">
                <a14:useLocalDpi xmlns:a14="http://schemas.microsoft.com/office/drawing/2010/main" val="0"/>
              </a:ext>
            </a:extLst>
          </a:blip>
          <a:srcRect l="35039"/>
          <a:stretch>
            <a:fillRect/>
          </a:stretch>
        </p:blipFill>
        <p:spPr bwMode="auto">
          <a:xfrm>
            <a:off x="0" y="1211263"/>
            <a:ext cx="3790950" cy="473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ext Placeholder 2">
            <a:extLst>
              <a:ext uri="{FF2B5EF4-FFF2-40B4-BE49-F238E27FC236}">
                <a16:creationId xmlns:a16="http://schemas.microsoft.com/office/drawing/2014/main" id="{79749A57-C681-44A6-A162-5737EF4EC6C8}"/>
              </a:ext>
            </a:extLst>
          </p:cNvPr>
          <p:cNvSpPr>
            <a:spLocks noGrp="1"/>
          </p:cNvSpPr>
          <p:nvPr>
            <p:custDataLst>
              <p:tags r:id="rId3"/>
            </p:custDataLst>
          </p:nvPr>
        </p:nvSpPr>
        <p:spPr bwMode="gray">
          <a:xfrm>
            <a:off x="4457700" y="2517664"/>
            <a:ext cx="5967412" cy="719138"/>
          </a:xfrm>
          <a:prstGeom prst="rect">
            <a:avLst/>
          </a:prstGeom>
          <a:no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现货与期货价格</a:t>
            </a:r>
            <a:endParaRPr lang="en-US" altLang="zh-CN" sz="2000" b="1" dirty="0">
              <a:solidFill>
                <a:srgbClr val="007680"/>
              </a:solidFill>
              <a:latin typeface="+mn-lt"/>
              <a:ea typeface="+mn-ea"/>
              <a:cs typeface="+mn-ea"/>
              <a:sym typeface="+mn-lt"/>
            </a:endParaRPr>
          </a:p>
        </p:txBody>
      </p:sp>
      <p:sp>
        <p:nvSpPr>
          <p:cNvPr id="6148" name="标题 1">
            <a:extLst>
              <a:ext uri="{FF2B5EF4-FFF2-40B4-BE49-F238E27FC236}">
                <a16:creationId xmlns:a16="http://schemas.microsoft.com/office/drawing/2014/main" id="{08C718D0-164A-401F-831C-2638993756F3}"/>
              </a:ext>
            </a:extLst>
          </p:cNvPr>
          <p:cNvSpPr txBox="1">
            <a:spLocks noChangeArrowheads="1"/>
          </p:cNvSpPr>
          <p:nvPr/>
        </p:nvSpPr>
        <p:spPr bwMode="auto">
          <a:xfrm>
            <a:off x="4457700" y="404813"/>
            <a:ext cx="7886700" cy="132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lnSpc>
                <a:spcPct val="90000"/>
              </a:lnSpc>
              <a:spcBef>
                <a:spcPct val="0"/>
              </a:spcBef>
              <a:buFontTx/>
              <a:buNone/>
            </a:pPr>
            <a:r>
              <a:rPr lang="zh-CN" altLang="en-US" sz="2800" b="1">
                <a:solidFill>
                  <a:srgbClr val="007680"/>
                </a:solidFill>
                <a:latin typeface="+mn-lt"/>
                <a:ea typeface="+mn-ea"/>
                <a:cs typeface="+mn-ea"/>
                <a:sym typeface="+mn-lt"/>
              </a:rPr>
              <a:t>目录</a:t>
            </a:r>
            <a:endParaRPr lang="en-US" altLang="zh-CN" sz="2800" b="1">
              <a:solidFill>
                <a:srgbClr val="007680"/>
              </a:solidFill>
              <a:latin typeface="+mn-lt"/>
              <a:ea typeface="+mn-ea"/>
              <a:cs typeface="+mn-ea"/>
              <a:sym typeface="+mn-lt"/>
            </a:endParaRPr>
          </a:p>
        </p:txBody>
      </p:sp>
      <p:sp>
        <p:nvSpPr>
          <p:cNvPr id="6149" name="Text Placeholder 2">
            <a:extLst>
              <a:ext uri="{FF2B5EF4-FFF2-40B4-BE49-F238E27FC236}">
                <a16:creationId xmlns:a16="http://schemas.microsoft.com/office/drawing/2014/main" id="{6645C107-EAB8-4096-A57C-AA15FA7E38FB}"/>
              </a:ext>
            </a:extLst>
          </p:cNvPr>
          <p:cNvSpPr>
            <a:spLocks noGrp="1" noChangeArrowheads="1"/>
          </p:cNvSpPr>
          <p:nvPr>
            <p:custDataLst>
              <p:tags r:id="rId4"/>
            </p:custDataLst>
          </p:nvPr>
        </p:nvSpPr>
        <p:spPr bwMode="gray">
          <a:xfrm>
            <a:off x="4457700" y="3235629"/>
            <a:ext cx="5967412" cy="720725"/>
          </a:xfrm>
          <a:prstGeom prst="rect">
            <a:avLst/>
          </a:prstGeom>
          <a:noFill/>
          <a:ln>
            <a:noFill/>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供应情况</a:t>
            </a:r>
            <a:endParaRPr lang="en-US" altLang="zh-CN" sz="2000" b="1" dirty="0">
              <a:solidFill>
                <a:srgbClr val="007680"/>
              </a:solidFill>
              <a:latin typeface="+mn-lt"/>
              <a:ea typeface="+mn-ea"/>
              <a:cs typeface="+mn-ea"/>
              <a:sym typeface="+mn-lt"/>
            </a:endParaRPr>
          </a:p>
        </p:txBody>
      </p:sp>
      <p:sp>
        <p:nvSpPr>
          <p:cNvPr id="6150" name="Text Placeholder 2">
            <a:extLst>
              <a:ext uri="{FF2B5EF4-FFF2-40B4-BE49-F238E27FC236}">
                <a16:creationId xmlns:a16="http://schemas.microsoft.com/office/drawing/2014/main" id="{753CE32B-266E-44D7-B284-27428EF974FE}"/>
              </a:ext>
            </a:extLst>
          </p:cNvPr>
          <p:cNvSpPr>
            <a:spLocks noGrp="1" noChangeArrowheads="1"/>
          </p:cNvSpPr>
          <p:nvPr>
            <p:custDataLst>
              <p:tags r:id="rId5"/>
            </p:custDataLst>
          </p:nvPr>
        </p:nvSpPr>
        <p:spPr bwMode="gray">
          <a:xfrm>
            <a:off x="4457700" y="3955181"/>
            <a:ext cx="5967412" cy="719137"/>
          </a:xfrm>
          <a:prstGeom prst="rect">
            <a:avLst/>
          </a:prstGeom>
          <a:noFill/>
          <a:ln>
            <a:noFill/>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需求情况</a:t>
            </a:r>
            <a:endParaRPr lang="en-US" altLang="zh-CN" sz="2000" b="1" dirty="0">
              <a:solidFill>
                <a:srgbClr val="007680"/>
              </a:solidFill>
              <a:latin typeface="+mn-lt"/>
              <a:ea typeface="+mn-ea"/>
              <a:cs typeface="+mn-ea"/>
              <a:sym typeface="+mn-lt"/>
            </a:endParaRPr>
          </a:p>
        </p:txBody>
      </p:sp>
      <p:sp>
        <p:nvSpPr>
          <p:cNvPr id="6151" name="Text Placeholder 2">
            <a:extLst>
              <a:ext uri="{FF2B5EF4-FFF2-40B4-BE49-F238E27FC236}">
                <a16:creationId xmlns:a16="http://schemas.microsoft.com/office/drawing/2014/main" id="{2BAC68A4-92B8-4CEA-BE34-8D5038007401}"/>
              </a:ext>
            </a:extLst>
          </p:cNvPr>
          <p:cNvSpPr>
            <a:spLocks noGrp="1" noChangeArrowheads="1"/>
          </p:cNvSpPr>
          <p:nvPr>
            <p:custDataLst>
              <p:tags r:id="rId6"/>
            </p:custDataLst>
          </p:nvPr>
        </p:nvSpPr>
        <p:spPr bwMode="gray">
          <a:xfrm>
            <a:off x="4457700" y="4673146"/>
            <a:ext cx="5967412" cy="720725"/>
          </a:xfrm>
          <a:prstGeom prst="rect">
            <a:avLst/>
          </a:prstGeom>
          <a:noFill/>
          <a:ln>
            <a:noFill/>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库存情况</a:t>
            </a:r>
            <a:endParaRPr lang="en-US" altLang="zh-CN" sz="2000" b="1" dirty="0">
              <a:solidFill>
                <a:srgbClr val="007680"/>
              </a:solidFill>
              <a:latin typeface="+mn-lt"/>
              <a:ea typeface="+mn-ea"/>
              <a:cs typeface="+mn-ea"/>
              <a:sym typeface="+mn-lt"/>
            </a:endParaRPr>
          </a:p>
        </p:txBody>
      </p:sp>
      <p:sp>
        <p:nvSpPr>
          <p:cNvPr id="6153" name="灯片编号占位符 1">
            <a:extLst>
              <a:ext uri="{FF2B5EF4-FFF2-40B4-BE49-F238E27FC236}">
                <a16:creationId xmlns:a16="http://schemas.microsoft.com/office/drawing/2014/main" id="{FB454E3B-C50C-4196-9B11-779975A80A2A}"/>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fld id="{C6595CE2-4FFC-466C-9857-5B197AF4AF3E}" type="slidenum">
              <a:rPr lang="zh-CN" altLang="en-US" sz="1200" smtClean="0">
                <a:solidFill>
                  <a:srgbClr val="898989"/>
                </a:solidFill>
                <a:latin typeface="+mn-lt"/>
                <a:ea typeface="+mn-ea"/>
                <a:cs typeface="+mn-ea"/>
                <a:sym typeface="+mn-lt"/>
              </a:rPr>
              <a:pPr>
                <a:spcBef>
                  <a:spcPct val="0"/>
                </a:spcBef>
                <a:buFontTx/>
                <a:buNone/>
              </a:pPr>
              <a:t>20</a:t>
            </a:fld>
            <a:endParaRPr lang="zh-CN" altLang="en-US" sz="1200">
              <a:solidFill>
                <a:srgbClr val="898989"/>
              </a:solidFill>
              <a:latin typeface="+mn-lt"/>
              <a:ea typeface="+mn-ea"/>
              <a:cs typeface="+mn-ea"/>
              <a:sym typeface="+mn-lt"/>
            </a:endParaRPr>
          </a:p>
        </p:txBody>
      </p:sp>
      <p:sp>
        <p:nvSpPr>
          <p:cNvPr id="9" name="Text Placeholder 2">
            <a:extLst>
              <a:ext uri="{FF2B5EF4-FFF2-40B4-BE49-F238E27FC236}">
                <a16:creationId xmlns:a16="http://schemas.microsoft.com/office/drawing/2014/main" id="{A10AECED-F4FD-46F5-B9F3-AB5F5DD25C1F}"/>
              </a:ext>
            </a:extLst>
          </p:cNvPr>
          <p:cNvSpPr>
            <a:spLocks noGrp="1"/>
          </p:cNvSpPr>
          <p:nvPr>
            <p:custDataLst>
              <p:tags r:id="rId7"/>
            </p:custDataLst>
          </p:nvPr>
        </p:nvSpPr>
        <p:spPr bwMode="gray">
          <a:xfrm>
            <a:off x="4457700" y="1799699"/>
            <a:ext cx="5967412" cy="719138"/>
          </a:xfrm>
          <a:prstGeom prst="rect">
            <a:avLst/>
          </a:prstGeom>
          <a:no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政策与要闻</a:t>
            </a:r>
            <a:endParaRPr lang="en-US" altLang="zh-CN" sz="2000" b="1" dirty="0">
              <a:solidFill>
                <a:srgbClr val="007680"/>
              </a:solidFill>
              <a:latin typeface="+mn-lt"/>
              <a:ea typeface="+mn-ea"/>
              <a:cs typeface="+mn-ea"/>
              <a:sym typeface="+mn-lt"/>
            </a:endParaRPr>
          </a:p>
        </p:txBody>
      </p:sp>
      <p:sp>
        <p:nvSpPr>
          <p:cNvPr id="10" name="Text Placeholder 2">
            <a:extLst>
              <a:ext uri="{FF2B5EF4-FFF2-40B4-BE49-F238E27FC236}">
                <a16:creationId xmlns:a16="http://schemas.microsoft.com/office/drawing/2014/main" id="{3572C6BD-534E-41BD-8D36-9CA7B9FE0429}"/>
              </a:ext>
            </a:extLst>
          </p:cNvPr>
          <p:cNvSpPr>
            <a:spLocks noGrp="1" noChangeArrowheads="1"/>
          </p:cNvSpPr>
          <p:nvPr>
            <p:custDataLst>
              <p:tags r:id="rId8"/>
            </p:custDataLst>
          </p:nvPr>
        </p:nvSpPr>
        <p:spPr bwMode="gray">
          <a:xfrm>
            <a:off x="4457700" y="5396966"/>
            <a:ext cx="5967412" cy="720725"/>
          </a:xfrm>
          <a:prstGeom prst="rect">
            <a:avLst/>
          </a:prstGeom>
          <a:solidFill>
            <a:srgbClr val="007680"/>
          </a:solidFill>
          <a:ln>
            <a:noFill/>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chemeClr val="bg1"/>
                </a:solidFill>
                <a:latin typeface="+mn-lt"/>
                <a:ea typeface="+mn-ea"/>
                <a:cs typeface="+mn-ea"/>
                <a:sym typeface="+mn-lt"/>
              </a:rPr>
              <a:t>结论</a:t>
            </a:r>
            <a:endParaRPr lang="en-US" altLang="zh-CN" sz="2000" b="1" dirty="0">
              <a:solidFill>
                <a:schemeClr val="bg1"/>
              </a:solidFill>
              <a:latin typeface="+mn-lt"/>
              <a:ea typeface="+mn-ea"/>
              <a:cs typeface="+mn-ea"/>
              <a:sym typeface="+mn-lt"/>
            </a:endParaRPr>
          </a:p>
        </p:txBody>
      </p:sp>
    </p:spTree>
    <p:custDataLst>
      <p:tags r:id="rId2"/>
    </p:custDataLst>
    <p:extLst>
      <p:ext uri="{BB962C8B-B14F-4D97-AF65-F5344CB8AC3E}">
        <p14:creationId xmlns:p14="http://schemas.microsoft.com/office/powerpoint/2010/main" val="3441834746"/>
      </p:ext>
    </p:extLst>
  </p:cSld>
  <p:clrMapOvr>
    <a:masterClrMapping/>
  </p:clrMapOvr>
  <p:transition advTm="10000"/>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6ABEAEF-F7D3-439B-B8B6-C90354FF01D0}"/>
              </a:ext>
            </a:extLst>
          </p:cNvPr>
          <p:cNvSpPr>
            <a:spLocks noGrp="1"/>
          </p:cNvSpPr>
          <p:nvPr>
            <p:ph type="title"/>
          </p:nvPr>
        </p:nvSpPr>
        <p:spPr/>
        <p:txBody>
          <a:bodyPr/>
          <a:lstStyle/>
          <a:p>
            <a:r>
              <a:rPr lang="zh-CN" altLang="en-US" dirty="0">
                <a:latin typeface="+mn-lt"/>
                <a:ea typeface="+mn-ea"/>
                <a:cs typeface="+mn-ea"/>
                <a:sym typeface="+mn-lt"/>
              </a:rPr>
              <a:t>工业硅观点</a:t>
            </a:r>
          </a:p>
        </p:txBody>
      </p:sp>
      <p:sp>
        <p:nvSpPr>
          <p:cNvPr id="3" name="灯片编号占位符 2">
            <a:extLst>
              <a:ext uri="{FF2B5EF4-FFF2-40B4-BE49-F238E27FC236}">
                <a16:creationId xmlns:a16="http://schemas.microsoft.com/office/drawing/2014/main" id="{6BF43944-753A-4EBE-AEBC-B956CC978C6B}"/>
              </a:ext>
            </a:extLst>
          </p:cNvPr>
          <p:cNvSpPr>
            <a:spLocks noGrp="1"/>
          </p:cNvSpPr>
          <p:nvPr>
            <p:ph type="sldNum"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E2C30CB-4307-4BB9-B24E-988C520472CC}" type="slidenum">
              <a:rPr kumimoji="0" lang="zh-CN" altLang="en-US" sz="1200" b="0" i="0" u="none" strike="noStrike" kern="1200" cap="none" spc="0" normalizeH="0" baseline="0" noProof="0" smtClean="0">
                <a:ln>
                  <a:noFill/>
                </a:ln>
                <a:solidFill>
                  <a:srgbClr val="898989"/>
                </a:solidFill>
                <a:effectLst/>
                <a:uLnTx/>
                <a:uFillTx/>
                <a:latin typeface="+mn-lt"/>
                <a:ea typeface="+mn-ea"/>
                <a:cs typeface="+mn-ea"/>
                <a:sym typeface="+mn-lt"/>
              </a:rPr>
              <a:pPr marL="0" marR="0" lvl="0" indent="0" algn="ctr" defTabSz="914400" rtl="0" eaLnBrk="1" fontAlgn="auto" latinLnBrk="0" hangingPunct="1">
                <a:lnSpc>
                  <a:spcPct val="100000"/>
                </a:lnSpc>
                <a:spcBef>
                  <a:spcPts val="0"/>
                </a:spcBef>
                <a:spcAft>
                  <a:spcPts val="0"/>
                </a:spcAft>
                <a:buClrTx/>
                <a:buSzTx/>
                <a:buFontTx/>
                <a:buNone/>
                <a:tabLst/>
                <a:defRPr/>
              </a:pPr>
              <a:t>21</a:t>
            </a:fld>
            <a:endParaRPr kumimoji="0" lang="zh-CN" altLang="en-US" sz="1200" b="0" i="0" u="none" strike="noStrike" kern="1200" cap="none" spc="0" normalizeH="0" baseline="0" noProof="0" dirty="0">
              <a:ln>
                <a:noFill/>
              </a:ln>
              <a:solidFill>
                <a:srgbClr val="898989"/>
              </a:solidFill>
              <a:effectLst/>
              <a:uLnTx/>
              <a:uFillTx/>
              <a:latin typeface="+mn-lt"/>
              <a:ea typeface="+mn-ea"/>
              <a:cs typeface="+mn-ea"/>
              <a:sym typeface="+mn-lt"/>
            </a:endParaRPr>
          </a:p>
        </p:txBody>
      </p:sp>
      <p:sp>
        <p:nvSpPr>
          <p:cNvPr id="22" name="矩形 21">
            <a:extLst>
              <a:ext uri="{FF2B5EF4-FFF2-40B4-BE49-F238E27FC236}">
                <a16:creationId xmlns:a16="http://schemas.microsoft.com/office/drawing/2014/main" id="{6AE4987E-68EF-4C78-86B0-E463FE4A568B}"/>
              </a:ext>
            </a:extLst>
          </p:cNvPr>
          <p:cNvSpPr/>
          <p:nvPr/>
        </p:nvSpPr>
        <p:spPr>
          <a:xfrm>
            <a:off x="2389460" y="936074"/>
            <a:ext cx="9355235" cy="5250506"/>
          </a:xfrm>
          <a:prstGeom prst="rect">
            <a:avLst/>
          </a:prstGeom>
          <a:solidFill>
            <a:schemeClr val="bg1">
              <a:lumMod val="95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18288" tIns="746252" rIns="1821992" bIns="1697228" numCol="1" spcCol="1270" rtlCol="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zh-CN" altLang="en-US" sz="1600" b="0" i="0" u="none" strike="noStrike" kern="1200" cap="none" spc="0" normalizeH="0" baseline="0" noProof="0" dirty="0">
              <a:ln>
                <a:noFill/>
              </a:ln>
              <a:solidFill>
                <a:prstClr val="white"/>
              </a:solidFill>
              <a:effectLst/>
              <a:uLnTx/>
              <a:uFillTx/>
              <a:cs typeface="+mn-ea"/>
              <a:sym typeface="+mn-lt"/>
            </a:endParaRPr>
          </a:p>
        </p:txBody>
      </p:sp>
      <p:sp>
        <p:nvSpPr>
          <p:cNvPr id="21" name="矩形 20">
            <a:extLst>
              <a:ext uri="{FF2B5EF4-FFF2-40B4-BE49-F238E27FC236}">
                <a16:creationId xmlns:a16="http://schemas.microsoft.com/office/drawing/2014/main" id="{1645BFF5-FA72-4BC9-BB6D-AC6082BAD600}"/>
              </a:ext>
            </a:extLst>
          </p:cNvPr>
          <p:cNvSpPr/>
          <p:nvPr/>
        </p:nvSpPr>
        <p:spPr>
          <a:xfrm>
            <a:off x="336888" y="1195402"/>
            <a:ext cx="1768164" cy="786791"/>
          </a:xfrm>
          <a:prstGeom prst="rect">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black"/>
                </a:solidFill>
                <a:effectLst/>
                <a:uLnTx/>
                <a:uFillTx/>
                <a:cs typeface="+mn-ea"/>
                <a:sym typeface="+mn-lt"/>
              </a:rPr>
              <a:t>供给</a:t>
            </a:r>
            <a:endParaRPr kumimoji="0" lang="en-US" altLang="zh-CN" sz="1800" b="1" i="0" u="none" strike="noStrike" kern="1200" cap="none" spc="0" normalizeH="0" baseline="0" noProof="0" dirty="0">
              <a:ln>
                <a:noFill/>
              </a:ln>
              <a:solidFill>
                <a:prstClr val="black"/>
              </a:solidFill>
              <a:effectLst/>
              <a:uLnTx/>
              <a:uFillTx/>
              <a:cs typeface="+mn-ea"/>
              <a:sym typeface="+mn-lt"/>
            </a:endParaRPr>
          </a:p>
        </p:txBody>
      </p:sp>
      <p:sp>
        <p:nvSpPr>
          <p:cNvPr id="19" name="文本框 18">
            <a:extLst>
              <a:ext uri="{FF2B5EF4-FFF2-40B4-BE49-F238E27FC236}">
                <a16:creationId xmlns:a16="http://schemas.microsoft.com/office/drawing/2014/main" id="{BE869DA6-AC8B-44C1-BC52-D10E6D11030C}"/>
              </a:ext>
            </a:extLst>
          </p:cNvPr>
          <p:cNvSpPr txBox="1"/>
          <p:nvPr/>
        </p:nvSpPr>
        <p:spPr>
          <a:xfrm>
            <a:off x="2387484" y="1227607"/>
            <a:ext cx="9192943" cy="696986"/>
          </a:xfrm>
          <a:prstGeom prst="rect">
            <a:avLst/>
          </a:prstGeom>
          <a:noFill/>
          <a:ln>
            <a:noFill/>
          </a:ln>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lang="zh-CN" altLang="en-US" sz="1600" dirty="0">
                <a:solidFill>
                  <a:prstClr val="black"/>
                </a:solidFill>
                <a:cs typeface="+mn-ea"/>
                <a:sym typeface="+mn-lt"/>
              </a:rPr>
              <a:t>本周行业供给继续攀升，云南新开炉数据保持高增长，叠加部分前期推迟复产企业，月内西南供给仍有增加预期。行业整体成本平稳，毛利率小幅改善，现货硅价继续探底。</a:t>
            </a:r>
          </a:p>
        </p:txBody>
      </p:sp>
      <p:grpSp>
        <p:nvGrpSpPr>
          <p:cNvPr id="8" name="组合 7">
            <a:extLst>
              <a:ext uri="{FF2B5EF4-FFF2-40B4-BE49-F238E27FC236}">
                <a16:creationId xmlns:a16="http://schemas.microsoft.com/office/drawing/2014/main" id="{5D544AC9-FC7A-49BB-AED6-1E2DEC2BC3D1}"/>
              </a:ext>
            </a:extLst>
          </p:cNvPr>
          <p:cNvGrpSpPr/>
          <p:nvPr/>
        </p:nvGrpSpPr>
        <p:grpSpPr>
          <a:xfrm>
            <a:off x="336888" y="2670628"/>
            <a:ext cx="11245511" cy="786791"/>
            <a:chOff x="803738" y="2451556"/>
            <a:chExt cx="11025367" cy="774187"/>
          </a:xfrm>
        </p:grpSpPr>
        <p:sp>
          <p:nvSpPr>
            <p:cNvPr id="17" name="矩形 16">
              <a:extLst>
                <a:ext uri="{FF2B5EF4-FFF2-40B4-BE49-F238E27FC236}">
                  <a16:creationId xmlns:a16="http://schemas.microsoft.com/office/drawing/2014/main" id="{5078E437-310A-4071-A9C8-BF1B95789708}"/>
                </a:ext>
              </a:extLst>
            </p:cNvPr>
            <p:cNvSpPr/>
            <p:nvPr/>
          </p:nvSpPr>
          <p:spPr>
            <a:xfrm>
              <a:off x="803738" y="2451556"/>
              <a:ext cx="1733550" cy="774187"/>
            </a:xfrm>
            <a:prstGeom prst="rect">
              <a:avLst/>
            </a:prstGeom>
            <a:solidFill>
              <a:srgbClr val="007680"/>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cs typeface="+mn-ea"/>
                  <a:sym typeface="+mn-lt"/>
                </a:rPr>
                <a:t>需求</a:t>
              </a:r>
              <a:endParaRPr kumimoji="0" lang="en-US" altLang="zh-CN" sz="1800" b="1" i="0" u="none" strike="noStrike" kern="1200" cap="none" spc="0" normalizeH="0" baseline="0" noProof="0" dirty="0">
                <a:ln>
                  <a:noFill/>
                </a:ln>
                <a:solidFill>
                  <a:srgbClr val="FFFFFF"/>
                </a:solidFill>
                <a:effectLst/>
                <a:uLnTx/>
                <a:uFillTx/>
                <a:cs typeface="+mn-ea"/>
                <a:sym typeface="+mn-lt"/>
              </a:endParaRPr>
            </a:p>
          </p:txBody>
        </p:sp>
        <p:sp>
          <p:nvSpPr>
            <p:cNvPr id="15" name="文本框 14">
              <a:extLst>
                <a:ext uri="{FF2B5EF4-FFF2-40B4-BE49-F238E27FC236}">
                  <a16:creationId xmlns:a16="http://schemas.microsoft.com/office/drawing/2014/main" id="{619AB869-5191-4CA3-BCD2-3D8A58411413}"/>
                </a:ext>
              </a:extLst>
            </p:cNvPr>
            <p:cNvSpPr txBox="1"/>
            <p:nvPr/>
          </p:nvSpPr>
          <p:spPr>
            <a:xfrm>
              <a:off x="2816125" y="2824775"/>
              <a:ext cx="9012980" cy="373006"/>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prstClr val="black"/>
                </a:solidFill>
                <a:effectLst/>
                <a:uLnTx/>
                <a:uFillTx/>
                <a:cs typeface="+mn-ea"/>
                <a:sym typeface="+mn-lt"/>
              </a:endParaRPr>
            </a:p>
          </p:txBody>
        </p:sp>
      </p:grpSp>
      <p:sp>
        <p:nvSpPr>
          <p:cNvPr id="13" name="矩形 12">
            <a:extLst>
              <a:ext uri="{FF2B5EF4-FFF2-40B4-BE49-F238E27FC236}">
                <a16:creationId xmlns:a16="http://schemas.microsoft.com/office/drawing/2014/main" id="{CAF26F1A-756E-4333-B0C7-382FC05A99D3}"/>
              </a:ext>
            </a:extLst>
          </p:cNvPr>
          <p:cNvSpPr/>
          <p:nvPr/>
        </p:nvSpPr>
        <p:spPr>
          <a:xfrm>
            <a:off x="342900" y="5105267"/>
            <a:ext cx="1762152" cy="786791"/>
          </a:xfrm>
          <a:prstGeom prst="rect">
            <a:avLst/>
          </a:prstGeom>
          <a:solidFill>
            <a:srgbClr val="007680"/>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chemeClr val="bg1"/>
                </a:solidFill>
                <a:effectLst/>
                <a:uLnTx/>
                <a:uFillTx/>
                <a:cs typeface="+mn-ea"/>
                <a:sym typeface="+mn-lt"/>
              </a:rPr>
              <a:t>策略</a:t>
            </a:r>
            <a:endParaRPr kumimoji="0" lang="en-US" altLang="zh-CN" sz="1800" b="1" i="0" u="none" strike="noStrike" kern="1200" cap="none" spc="0" normalizeH="0" baseline="0" noProof="0" dirty="0">
              <a:ln>
                <a:noFill/>
              </a:ln>
              <a:solidFill>
                <a:schemeClr val="bg1"/>
              </a:solidFill>
              <a:effectLst/>
              <a:uLnTx/>
              <a:uFillTx/>
              <a:cs typeface="+mn-ea"/>
              <a:sym typeface="+mn-lt"/>
            </a:endParaRPr>
          </a:p>
        </p:txBody>
      </p:sp>
      <p:sp>
        <p:nvSpPr>
          <p:cNvPr id="11" name="文本框 10">
            <a:extLst>
              <a:ext uri="{FF2B5EF4-FFF2-40B4-BE49-F238E27FC236}">
                <a16:creationId xmlns:a16="http://schemas.microsoft.com/office/drawing/2014/main" id="{6A9407C2-3768-4C6A-B086-1E3DA71EF5F4}"/>
              </a:ext>
            </a:extLst>
          </p:cNvPr>
          <p:cNvSpPr txBox="1"/>
          <p:nvPr/>
        </p:nvSpPr>
        <p:spPr>
          <a:xfrm>
            <a:off x="2387484" y="5060915"/>
            <a:ext cx="9058588" cy="696986"/>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lang="zh-CN" altLang="en-US" sz="1600" dirty="0">
                <a:solidFill>
                  <a:prstClr val="black"/>
                </a:solidFill>
                <a:cs typeface="+mn-ea"/>
                <a:sym typeface="+mn-lt"/>
              </a:rPr>
              <a:t>工业硅供需关系在西南开工继续增长之后更加宽松，而行业库存保持高位累增，需求端难有起色，现货价格持续承压。短线建议参考</a:t>
            </a:r>
            <a:r>
              <a:rPr lang="en-US" altLang="zh-CN" sz="1600" dirty="0">
                <a:solidFill>
                  <a:prstClr val="black"/>
                </a:solidFill>
                <a:cs typeface="+mn-ea"/>
                <a:sym typeface="+mn-lt"/>
              </a:rPr>
              <a:t>99</a:t>
            </a:r>
            <a:r>
              <a:rPr lang="zh-CN" altLang="en-US" sz="1600" dirty="0">
                <a:solidFill>
                  <a:prstClr val="black"/>
                </a:solidFill>
                <a:cs typeface="+mn-ea"/>
                <a:sym typeface="+mn-lt"/>
              </a:rPr>
              <a:t>硅现货价格，计算升贴水后区间操作，长线建议正套策略。</a:t>
            </a:r>
          </a:p>
        </p:txBody>
      </p:sp>
      <p:cxnSp>
        <p:nvCxnSpPr>
          <p:cNvPr id="24" name="直接连接符 23">
            <a:extLst>
              <a:ext uri="{FF2B5EF4-FFF2-40B4-BE49-F238E27FC236}">
                <a16:creationId xmlns:a16="http://schemas.microsoft.com/office/drawing/2014/main" id="{0B5DE175-1355-4AEC-BE84-841EDEDAED70}"/>
              </a:ext>
            </a:extLst>
          </p:cNvPr>
          <p:cNvCxnSpPr>
            <a:cxnSpLocks/>
          </p:cNvCxnSpPr>
          <p:nvPr/>
        </p:nvCxnSpPr>
        <p:spPr>
          <a:xfrm>
            <a:off x="253590" y="4894476"/>
            <a:ext cx="11015644" cy="0"/>
          </a:xfrm>
          <a:prstGeom prst="line">
            <a:avLst/>
          </a:prstGeom>
          <a:ln w="19050">
            <a:solidFill>
              <a:srgbClr val="007680"/>
            </a:solidFill>
            <a:prstDash val="dash"/>
          </a:ln>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0E33A92A-AE42-4F37-A17C-A241414013C1}"/>
              </a:ext>
            </a:extLst>
          </p:cNvPr>
          <p:cNvCxnSpPr>
            <a:cxnSpLocks/>
          </p:cNvCxnSpPr>
          <p:nvPr/>
        </p:nvCxnSpPr>
        <p:spPr>
          <a:xfrm>
            <a:off x="253590" y="2322434"/>
            <a:ext cx="11015644" cy="0"/>
          </a:xfrm>
          <a:prstGeom prst="line">
            <a:avLst/>
          </a:prstGeom>
          <a:ln w="19050">
            <a:solidFill>
              <a:srgbClr val="007680"/>
            </a:solidFill>
            <a:prstDash val="dash"/>
          </a:ln>
        </p:spPr>
        <p:style>
          <a:lnRef idx="1">
            <a:schemeClr val="accent1"/>
          </a:lnRef>
          <a:fillRef idx="0">
            <a:schemeClr val="accent1"/>
          </a:fillRef>
          <a:effectRef idx="0">
            <a:schemeClr val="accent1"/>
          </a:effectRef>
          <a:fontRef idx="minor">
            <a:schemeClr val="tx1"/>
          </a:fontRef>
        </p:style>
      </p:cxnSp>
      <p:sp>
        <p:nvSpPr>
          <p:cNvPr id="18" name="矩形 17">
            <a:extLst>
              <a:ext uri="{FF2B5EF4-FFF2-40B4-BE49-F238E27FC236}">
                <a16:creationId xmlns:a16="http://schemas.microsoft.com/office/drawing/2014/main" id="{B5C6F8EB-97E2-40DF-896B-9E8948CA865E}"/>
              </a:ext>
            </a:extLst>
          </p:cNvPr>
          <p:cNvSpPr/>
          <p:nvPr/>
        </p:nvSpPr>
        <p:spPr>
          <a:xfrm>
            <a:off x="336888" y="3904027"/>
            <a:ext cx="1768164" cy="786791"/>
          </a:xfrm>
          <a:prstGeom prst="rect">
            <a:avLst/>
          </a:prstGeom>
          <a:solidFill>
            <a:schemeClr val="tx1">
              <a:lumMod val="50000"/>
              <a:lumOff val="50000"/>
              <a:alpha val="20000"/>
            </a:schemeClr>
          </a:solidFill>
          <a:ln w="5715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marL="0" marR="0" lvl="0" indent="0" algn="ctr" defTabSz="913765"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prstClr val="black"/>
                </a:solidFill>
                <a:effectLst/>
                <a:uLnTx/>
                <a:uFillTx/>
                <a:cs typeface="+mn-ea"/>
                <a:sym typeface="+mn-lt"/>
              </a:rPr>
              <a:t>库存</a:t>
            </a:r>
            <a:endParaRPr kumimoji="0" lang="en-US" altLang="zh-CN" sz="1800" b="1" i="0" u="none" strike="noStrike" kern="1200" cap="none" spc="0" normalizeH="0" baseline="0" noProof="0" dirty="0">
              <a:ln>
                <a:noFill/>
              </a:ln>
              <a:solidFill>
                <a:prstClr val="black"/>
              </a:solidFill>
              <a:effectLst/>
              <a:uLnTx/>
              <a:uFillTx/>
              <a:cs typeface="+mn-ea"/>
              <a:sym typeface="+mn-lt"/>
            </a:endParaRPr>
          </a:p>
        </p:txBody>
      </p:sp>
      <p:sp>
        <p:nvSpPr>
          <p:cNvPr id="20" name="文本框 19">
            <a:extLst>
              <a:ext uri="{FF2B5EF4-FFF2-40B4-BE49-F238E27FC236}">
                <a16:creationId xmlns:a16="http://schemas.microsoft.com/office/drawing/2014/main" id="{CAC60D88-CDD0-41C1-856E-D4260A121936}"/>
              </a:ext>
            </a:extLst>
          </p:cNvPr>
          <p:cNvSpPr txBox="1"/>
          <p:nvPr/>
        </p:nvSpPr>
        <p:spPr>
          <a:xfrm>
            <a:off x="2387484" y="4051873"/>
            <a:ext cx="9106329" cy="376898"/>
          </a:xfrm>
          <a:prstGeom prst="rect">
            <a:avLst/>
          </a:prstGeom>
          <a:noFill/>
        </p:spPr>
        <p:txBody>
          <a:bodyPr wrap="square" rtlCol="0">
            <a:spAutoFit/>
          </a:bodyPr>
          <a:lstStyle>
            <a:defPPr>
              <a:defRPr lang="zh-CN"/>
            </a:defPPr>
            <a:lvl1pPr algn="ctr">
              <a:lnSpc>
                <a:spcPct val="150000"/>
              </a:lnSpc>
              <a:defRPr sz="1200">
                <a:solidFill>
                  <a:schemeClr val="bg1">
                    <a:lumMod val="50000"/>
                  </a:schemeClr>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lang="zh-CN" altLang="en-US" sz="1600" dirty="0">
                <a:solidFill>
                  <a:prstClr val="black"/>
                </a:solidFill>
                <a:cs typeface="+mn-ea"/>
                <a:sym typeface="+mn-lt"/>
              </a:rPr>
              <a:t>工业硅行业库存高位增长，各部门均有累库，厂库累增明显，继续压制价格。</a:t>
            </a:r>
          </a:p>
        </p:txBody>
      </p:sp>
      <p:cxnSp>
        <p:nvCxnSpPr>
          <p:cNvPr id="23" name="直接连接符 22">
            <a:extLst>
              <a:ext uri="{FF2B5EF4-FFF2-40B4-BE49-F238E27FC236}">
                <a16:creationId xmlns:a16="http://schemas.microsoft.com/office/drawing/2014/main" id="{47E5FBA2-4570-40BF-B1A2-A7B205B340D3}"/>
              </a:ext>
            </a:extLst>
          </p:cNvPr>
          <p:cNvCxnSpPr>
            <a:cxnSpLocks/>
          </p:cNvCxnSpPr>
          <p:nvPr/>
        </p:nvCxnSpPr>
        <p:spPr>
          <a:xfrm>
            <a:off x="336888" y="3725072"/>
            <a:ext cx="11015644" cy="0"/>
          </a:xfrm>
          <a:prstGeom prst="line">
            <a:avLst/>
          </a:prstGeom>
          <a:ln w="19050">
            <a:solidFill>
              <a:srgbClr val="007680"/>
            </a:solidFill>
            <a:prstDash val="dash"/>
          </a:ln>
        </p:spPr>
        <p:style>
          <a:lnRef idx="1">
            <a:schemeClr val="accent1"/>
          </a:lnRef>
          <a:fillRef idx="0">
            <a:schemeClr val="accent1"/>
          </a:fillRef>
          <a:effectRef idx="0">
            <a:schemeClr val="accent1"/>
          </a:effectRef>
          <a:fontRef idx="minor">
            <a:schemeClr val="tx1"/>
          </a:fontRef>
        </p:style>
      </p:cxnSp>
      <p:sp>
        <p:nvSpPr>
          <p:cNvPr id="10" name="文本框 9">
            <a:extLst>
              <a:ext uri="{FF2B5EF4-FFF2-40B4-BE49-F238E27FC236}">
                <a16:creationId xmlns:a16="http://schemas.microsoft.com/office/drawing/2014/main" id="{E5200562-F5E2-B98B-FFEA-C2502E976853}"/>
              </a:ext>
            </a:extLst>
          </p:cNvPr>
          <p:cNvSpPr txBox="1"/>
          <p:nvPr/>
        </p:nvSpPr>
        <p:spPr>
          <a:xfrm>
            <a:off x="2387484" y="2380764"/>
            <a:ext cx="9192943" cy="1017073"/>
          </a:xfrm>
          <a:prstGeom prst="rect">
            <a:avLst/>
          </a:prstGeom>
          <a:noFill/>
        </p:spPr>
        <p:txBody>
          <a:bodyPr wrap="square">
            <a:spAutoFit/>
          </a:bodyPr>
          <a:lstStyle/>
          <a:p>
            <a:pPr>
              <a:lnSpc>
                <a:spcPct val="130000"/>
              </a:lnSpc>
            </a:pPr>
            <a:r>
              <a:rPr lang="zh-CN" altLang="en-US" sz="1600" dirty="0">
                <a:solidFill>
                  <a:prstClr val="black"/>
                </a:solidFill>
                <a:cs typeface="+mn-ea"/>
                <a:sym typeface="+mn-lt"/>
              </a:rPr>
              <a:t>工业硅下游需求维持低位。多晶硅受下游硅片拖累，开工继续下降，产量收缩，对工业硅需求难有增量。有机硅虽有新增产能释放，产量增长，但下游淡季，或影响后续排产。铝合金下游淡季</a:t>
            </a:r>
            <a:r>
              <a:rPr lang="zh-CN" altLang="en-US" sz="1600">
                <a:solidFill>
                  <a:prstClr val="black"/>
                </a:solidFill>
                <a:cs typeface="+mn-ea"/>
                <a:sym typeface="+mn-lt"/>
              </a:rPr>
              <a:t>临近，接货有限，对工业硅刚需采购为主。</a:t>
            </a:r>
            <a:endParaRPr lang="zh-CN" altLang="en-US" sz="1600" dirty="0">
              <a:cs typeface="+mn-ea"/>
              <a:sym typeface="+mn-lt"/>
            </a:endParaRPr>
          </a:p>
        </p:txBody>
      </p:sp>
    </p:spTree>
    <p:custDataLst>
      <p:tags r:id="rId2"/>
    </p:custDataLst>
    <p:extLst>
      <p:ext uri="{BB962C8B-B14F-4D97-AF65-F5344CB8AC3E}">
        <p14:creationId xmlns:p14="http://schemas.microsoft.com/office/powerpoint/2010/main" val="6266182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建筑前的石头上&#10;&#10;低可信度描述已自动生成">
            <a:extLst>
              <a:ext uri="{FF2B5EF4-FFF2-40B4-BE49-F238E27FC236}">
                <a16:creationId xmlns:a16="http://schemas.microsoft.com/office/drawing/2014/main" id="{6DBD075C-0943-EE2B-2D91-E2DB009F29EA}"/>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 y="0"/>
            <a:ext cx="12192000" cy="6857999"/>
          </a:xfrm>
          <a:prstGeom prst="rect">
            <a:avLst/>
          </a:prstGeom>
          <a:gradFill flip="none" rotWithShape="1">
            <a:gsLst>
              <a:gs pos="0">
                <a:schemeClr val="accent6">
                  <a:lumMod val="5000"/>
                  <a:lumOff val="95000"/>
                  <a:alpha val="20000"/>
                </a:schemeClr>
              </a:gs>
              <a:gs pos="100000">
                <a:schemeClr val="accent6">
                  <a:lumMod val="45000"/>
                  <a:lumOff val="55000"/>
                </a:schemeClr>
              </a:gs>
            </a:gsLst>
            <a:lin ang="5400000" scaled="1"/>
            <a:tileRect/>
          </a:gradFill>
        </p:spPr>
      </p:pic>
      <p:sp>
        <p:nvSpPr>
          <p:cNvPr id="7" name="矩形 6">
            <a:extLst>
              <a:ext uri="{FF2B5EF4-FFF2-40B4-BE49-F238E27FC236}">
                <a16:creationId xmlns:a16="http://schemas.microsoft.com/office/drawing/2014/main" id="{E48903F4-EB7E-0F37-9742-1965FB71988B}"/>
              </a:ext>
            </a:extLst>
          </p:cNvPr>
          <p:cNvSpPr/>
          <p:nvPr/>
        </p:nvSpPr>
        <p:spPr>
          <a:xfrm>
            <a:off x="-1" y="-30214"/>
            <a:ext cx="12192000" cy="6888213"/>
          </a:xfrm>
          <a:prstGeom prst="rect">
            <a:avLst/>
          </a:prstGeom>
          <a:gradFill flip="none" rotWithShape="1">
            <a:gsLst>
              <a:gs pos="0">
                <a:schemeClr val="accent6">
                  <a:alpha val="95000"/>
                  <a:lumMod val="0"/>
                  <a:lumOff val="100000"/>
                </a:schemeClr>
              </a:gs>
              <a:gs pos="50000">
                <a:schemeClr val="bg1">
                  <a:lumMod val="85000"/>
                  <a:alpha val="50000"/>
                </a:schemeClr>
              </a:gs>
              <a:gs pos="100000">
                <a:schemeClr val="bg1">
                  <a:lumMod val="90000"/>
                  <a:alpha val="20000"/>
                </a:schemeClr>
              </a:gs>
            </a:gsLst>
            <a:lin ang="5400000" scaled="1"/>
            <a:tileRect/>
          </a:gra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18288" tIns="746252" rIns="1821992" bIns="1697228" numCol="1" spcCol="1270" rtlCol="0" anchor="ctr" anchorCtr="0">
            <a:noAutofit/>
          </a:bodyPr>
          <a:lstStyle/>
          <a:p>
            <a:pPr algn="ctr" defTabSz="800100">
              <a:lnSpc>
                <a:spcPct val="90000"/>
              </a:lnSpc>
              <a:spcBef>
                <a:spcPct val="0"/>
              </a:spcBef>
              <a:spcAft>
                <a:spcPct val="35000"/>
              </a:spcAft>
            </a:pPr>
            <a:endParaRPr lang="zh-CN" altLang="en-US" sz="1600" kern="1200" dirty="0">
              <a:cs typeface="+mn-ea"/>
              <a:sym typeface="+mn-lt"/>
            </a:endParaRPr>
          </a:p>
        </p:txBody>
      </p:sp>
      <p:pic>
        <p:nvPicPr>
          <p:cNvPr id="2" name="Picture 5">
            <a:extLst>
              <a:ext uri="{FF2B5EF4-FFF2-40B4-BE49-F238E27FC236}">
                <a16:creationId xmlns:a16="http://schemas.microsoft.com/office/drawing/2014/main" id="{09740286-9F1E-448B-9D20-07708FB689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85413" y="274638"/>
            <a:ext cx="1296987" cy="35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文本框 3">
            <a:extLst>
              <a:ext uri="{FF2B5EF4-FFF2-40B4-BE49-F238E27FC236}">
                <a16:creationId xmlns:a16="http://schemas.microsoft.com/office/drawing/2014/main" id="{40375E88-3946-155F-B205-B9B2B41E5003}"/>
              </a:ext>
            </a:extLst>
          </p:cNvPr>
          <p:cNvSpPr txBox="1"/>
          <p:nvPr/>
        </p:nvSpPr>
        <p:spPr>
          <a:xfrm>
            <a:off x="84944" y="383570"/>
            <a:ext cx="12022112" cy="6309420"/>
          </a:xfrm>
          <a:prstGeom prst="rect">
            <a:avLst/>
          </a:prstGeom>
          <a:noFill/>
        </p:spPr>
        <p:txBody>
          <a:bodyPr wrap="square">
            <a:spAutoFit/>
          </a:bodyPr>
          <a:lstStyle/>
          <a:p>
            <a:pPr algn="ctr">
              <a:spcAft>
                <a:spcPts val="1200"/>
              </a:spcAft>
            </a:pPr>
            <a:r>
              <a:rPr lang="zh-CN" altLang="en-US" sz="2000" b="1" dirty="0">
                <a:cs typeface="+mn-ea"/>
                <a:sym typeface="+mn-lt"/>
              </a:rPr>
              <a:t>免责声明</a:t>
            </a:r>
            <a:endParaRPr lang="zh-CN" altLang="en-US" dirty="0">
              <a:cs typeface="+mn-ea"/>
              <a:sym typeface="+mn-lt"/>
            </a:endParaRPr>
          </a:p>
          <a:p>
            <a:pPr indent="457200">
              <a:spcAft>
                <a:spcPts val="1200"/>
              </a:spcAft>
            </a:pPr>
            <a:r>
              <a:rPr lang="zh-CN" altLang="en-US" dirty="0">
                <a:cs typeface="+mn-ea"/>
                <a:sym typeface="+mn-lt"/>
              </a:rPr>
              <a:t>本报告由新湖期货股份有限公司（以下简称新湖期货，投资咨询业务许可证号</a:t>
            </a:r>
            <a:r>
              <a:rPr lang="en-US" altLang="zh-CN" dirty="0">
                <a:cs typeface="+mn-ea"/>
                <a:sym typeface="+mn-lt"/>
              </a:rPr>
              <a:t>32090000</a:t>
            </a:r>
            <a:r>
              <a:rPr lang="zh-CN" altLang="en-US" dirty="0">
                <a:cs typeface="+mn-ea"/>
                <a:sym typeface="+mn-lt"/>
              </a:rPr>
              <a:t>）提供，无意针对或打算违反任何地区、国家、城市或其他法律管辖区域内的法律法规。除非另有说明，所有本报告的版权属于新湖期货。未经新湖期货事先书面授权许可，任何机构和个人不得以任何形式翻版、复制、发布。如引用、刊发，须注明出处为新湖期货股份有限公司，且不得对本报告进行有悖原意的引用、删节和修改。本报告的信息均来源于公开资料和</a:t>
            </a:r>
            <a:r>
              <a:rPr lang="en-US" altLang="zh-CN" dirty="0">
                <a:cs typeface="+mn-ea"/>
                <a:sym typeface="+mn-lt"/>
              </a:rPr>
              <a:t>/</a:t>
            </a:r>
            <a:r>
              <a:rPr lang="zh-CN" altLang="en-US" dirty="0">
                <a:cs typeface="+mn-ea"/>
                <a:sym typeface="+mn-lt"/>
              </a:rPr>
              <a:t>或调研资料，所载的全部内容及观点公正，但不保证其内容的准确性和完整性。投资者不应单纯依靠本报告而取代个人的独立判断。本报告所载内容反映的是新湖期货在最初发表本报告日期当日的判断，新湖期货可发出其他与本报告所载内容不一致或有不同结论的报告，但新湖期货没有义务和责任去及时更新本报告涉及的内容并通知更新情况。新湖期货不对因投资者使用本报告而导致的损失负任何责任。新湖期货不需要采取任何行动以确保本报告涉及的内容适合于投资者，新湖期货建议投资者独自进行投资判断。本报告并不构成投资、法律、会计、税务建议或担保任何内容适合投资者，本报告不构成给予投资者投资咨询建议。</a:t>
            </a:r>
          </a:p>
          <a:p>
            <a:pPr indent="457200">
              <a:spcAft>
                <a:spcPts val="1200"/>
              </a:spcAft>
            </a:pPr>
            <a:r>
              <a:rPr lang="zh-CN" altLang="en-US" sz="1400" dirty="0">
                <a:cs typeface="+mn-ea"/>
                <a:sym typeface="+mn-lt"/>
              </a:rPr>
              <a:t>分析师</a:t>
            </a:r>
            <a:r>
              <a:rPr lang="en-US" altLang="zh-CN" sz="1400" dirty="0">
                <a:cs typeface="+mn-ea"/>
                <a:sym typeface="+mn-lt"/>
              </a:rPr>
              <a:t>:</a:t>
            </a:r>
            <a:r>
              <a:rPr lang="zh-CN" altLang="en-US" sz="1400" dirty="0">
                <a:cs typeface="+mn-ea"/>
                <a:sym typeface="+mn-lt"/>
              </a:rPr>
              <a:t>孙匡文</a:t>
            </a:r>
          </a:p>
          <a:p>
            <a:pPr indent="457200">
              <a:spcAft>
                <a:spcPts val="1200"/>
              </a:spcAft>
            </a:pPr>
            <a:r>
              <a:rPr lang="zh-CN" altLang="en-US" sz="1400" dirty="0">
                <a:cs typeface="+mn-ea"/>
                <a:sym typeface="+mn-lt"/>
              </a:rPr>
              <a:t>从业资格号</a:t>
            </a:r>
            <a:r>
              <a:rPr lang="en-US" altLang="zh-CN" sz="1400" dirty="0">
                <a:cs typeface="+mn-ea"/>
                <a:sym typeface="+mn-lt"/>
              </a:rPr>
              <a:t>:</a:t>
            </a:r>
            <a:r>
              <a:rPr lang="af-ZA" altLang="zh-CN" sz="1400" dirty="0">
                <a:cs typeface="+mn-ea"/>
                <a:sym typeface="+mn-lt"/>
              </a:rPr>
              <a:t>F3007423</a:t>
            </a:r>
          </a:p>
          <a:p>
            <a:pPr indent="457200">
              <a:spcAft>
                <a:spcPts val="1200"/>
              </a:spcAft>
            </a:pPr>
            <a:r>
              <a:rPr lang="zh-CN" altLang="en-US" sz="1400" dirty="0">
                <a:cs typeface="+mn-ea"/>
                <a:sym typeface="+mn-lt"/>
              </a:rPr>
              <a:t>投资咨询从业证书号</a:t>
            </a:r>
            <a:r>
              <a:rPr lang="en-US" altLang="zh-CN" sz="1400" dirty="0">
                <a:cs typeface="+mn-ea"/>
                <a:sym typeface="+mn-lt"/>
              </a:rPr>
              <a:t>:</a:t>
            </a:r>
            <a:r>
              <a:rPr lang="af-ZA" altLang="zh-CN" sz="1400" dirty="0">
                <a:cs typeface="+mn-ea"/>
                <a:sym typeface="+mn-lt"/>
              </a:rPr>
              <a:t>Z0014428</a:t>
            </a:r>
          </a:p>
          <a:p>
            <a:pPr indent="457200">
              <a:spcAft>
                <a:spcPts val="1200"/>
              </a:spcAft>
            </a:pPr>
            <a:r>
              <a:rPr lang="zh-CN" altLang="en-US" sz="1400" dirty="0">
                <a:cs typeface="+mn-ea"/>
                <a:sym typeface="+mn-lt"/>
              </a:rPr>
              <a:t>电话</a:t>
            </a:r>
            <a:r>
              <a:rPr lang="en-US" altLang="zh-CN" sz="1400" dirty="0">
                <a:cs typeface="+mn-ea"/>
                <a:sym typeface="+mn-lt"/>
              </a:rPr>
              <a:t>:021-22155609</a:t>
            </a:r>
          </a:p>
          <a:p>
            <a:pPr indent="457200">
              <a:spcAft>
                <a:spcPts val="1200"/>
              </a:spcAft>
            </a:pPr>
            <a:r>
              <a:rPr lang="af-ZA" altLang="zh-CN" sz="1400" dirty="0">
                <a:cs typeface="+mn-ea"/>
                <a:sym typeface="+mn-lt"/>
              </a:rPr>
              <a:t>E-mail:sunkuangwen@xhqh.net.cn</a:t>
            </a:r>
          </a:p>
          <a:p>
            <a:pPr indent="457200">
              <a:spcAft>
                <a:spcPts val="1200"/>
              </a:spcAft>
            </a:pPr>
            <a:r>
              <a:rPr lang="zh-CN" altLang="en-US" sz="1400" dirty="0">
                <a:cs typeface="+mn-ea"/>
                <a:sym typeface="+mn-lt"/>
              </a:rPr>
              <a:t>审核人</a:t>
            </a:r>
            <a:r>
              <a:rPr lang="en-US" altLang="zh-CN" sz="1400" dirty="0">
                <a:cs typeface="+mn-ea"/>
                <a:sym typeface="+mn-lt"/>
              </a:rPr>
              <a:t>:</a:t>
            </a:r>
            <a:r>
              <a:rPr lang="zh-CN" altLang="en-US" sz="1400" dirty="0">
                <a:cs typeface="+mn-ea"/>
                <a:sym typeface="+mn-lt"/>
              </a:rPr>
              <a:t>李强</a:t>
            </a:r>
          </a:p>
          <a:p>
            <a:pPr indent="457200">
              <a:spcAft>
                <a:spcPts val="1200"/>
              </a:spcAft>
            </a:pPr>
            <a:r>
              <a:rPr lang="zh-CN" altLang="en-US" sz="1400" dirty="0">
                <a:cs typeface="+mn-ea"/>
                <a:sym typeface="+mn-lt"/>
              </a:rPr>
              <a:t>资料来源：同花顺、百川盈孚、</a:t>
            </a:r>
            <a:r>
              <a:rPr lang="af-ZA" altLang="zh-CN" sz="1400" dirty="0">
                <a:cs typeface="+mn-ea"/>
                <a:sym typeface="+mn-lt"/>
              </a:rPr>
              <a:t>Mysteel</a:t>
            </a:r>
            <a:r>
              <a:rPr lang="zh-CN" altLang="af-ZA" sz="1400" dirty="0">
                <a:cs typeface="+mn-ea"/>
                <a:sym typeface="+mn-lt"/>
              </a:rPr>
              <a:t>，</a:t>
            </a:r>
            <a:r>
              <a:rPr lang="zh-CN" altLang="en-US" sz="1400" dirty="0">
                <a:cs typeface="+mn-ea"/>
                <a:sym typeface="+mn-lt"/>
              </a:rPr>
              <a:t>百川盈孚（研究报告全部内容不代表协会观点，仅供交流使用，不构成任何投资建议。）</a:t>
            </a:r>
            <a:endParaRPr lang="en-US" altLang="zh-CN" sz="1400" dirty="0">
              <a:cs typeface="+mn-ea"/>
              <a:sym typeface="+mn-lt"/>
            </a:endParaRPr>
          </a:p>
          <a:p>
            <a:pPr indent="457200" algn="r">
              <a:spcAft>
                <a:spcPts val="1200"/>
              </a:spcAft>
            </a:pPr>
            <a:endParaRPr lang="zh-CN" altLang="en-US" sz="1600" b="1" dirty="0">
              <a:cs typeface="+mn-ea"/>
              <a:sym typeface="+mn-lt"/>
            </a:endParaRPr>
          </a:p>
        </p:txBody>
      </p:sp>
    </p:spTree>
    <p:extLst>
      <p:ext uri="{BB962C8B-B14F-4D97-AF65-F5344CB8AC3E}">
        <p14:creationId xmlns:p14="http://schemas.microsoft.com/office/powerpoint/2010/main" val="13592327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10" name="图片 1">
            <a:extLst>
              <a:ext uri="{FF2B5EF4-FFF2-40B4-BE49-F238E27FC236}">
                <a16:creationId xmlns:a16="http://schemas.microsoft.com/office/drawing/2014/main" id="{F56FDAC3-89B9-4E1C-B35F-87C5BC92583D}"/>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2700" y="3213100"/>
            <a:ext cx="12204700" cy="306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3">
            <a:extLst>
              <a:ext uri="{FF2B5EF4-FFF2-40B4-BE49-F238E27FC236}">
                <a16:creationId xmlns:a16="http://schemas.microsoft.com/office/drawing/2014/main" id="{3947EFFD-A9B3-40E7-9234-CFF0BBD7A89A}"/>
              </a:ext>
            </a:extLst>
          </p:cNvPr>
          <p:cNvSpPr txBox="1">
            <a:spLocks noChangeArrowheads="1"/>
          </p:cNvSpPr>
          <p:nvPr/>
        </p:nvSpPr>
        <p:spPr bwMode="auto">
          <a:xfrm>
            <a:off x="1681163" y="2997200"/>
            <a:ext cx="5278437" cy="846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spcAft>
                <a:spcPts val="600"/>
              </a:spcAft>
              <a:buFontTx/>
              <a:buNone/>
            </a:pPr>
            <a:r>
              <a:rPr lang="zh-CN" altLang="en-US" sz="2100">
                <a:solidFill>
                  <a:srgbClr val="215968"/>
                </a:solidFill>
                <a:latin typeface="+mn-lt"/>
                <a:ea typeface="+mn-ea"/>
                <a:cs typeface="+mn-ea"/>
                <a:sym typeface="+mn-lt"/>
              </a:rPr>
              <a:t>一切为了提升客户</a:t>
            </a:r>
            <a:r>
              <a:rPr lang="zh-CN" altLang="en-US" sz="2100" b="1">
                <a:solidFill>
                  <a:srgbClr val="215968"/>
                </a:solidFill>
                <a:latin typeface="+mn-lt"/>
                <a:ea typeface="+mn-ea"/>
                <a:cs typeface="+mn-ea"/>
                <a:sym typeface="+mn-lt"/>
              </a:rPr>
              <a:t>盈利能力</a:t>
            </a:r>
            <a:endParaRPr lang="en-US" altLang="zh-CN" sz="2100" b="1">
              <a:solidFill>
                <a:srgbClr val="215968"/>
              </a:solidFill>
              <a:latin typeface="+mn-lt"/>
              <a:ea typeface="+mn-ea"/>
              <a:cs typeface="+mn-ea"/>
              <a:sym typeface="+mn-lt"/>
            </a:endParaRPr>
          </a:p>
          <a:p>
            <a:pPr eaLnBrk="1" hangingPunct="1">
              <a:spcBef>
                <a:spcPct val="0"/>
              </a:spcBef>
              <a:spcAft>
                <a:spcPts val="600"/>
              </a:spcAft>
              <a:buFontTx/>
              <a:buNone/>
            </a:pPr>
            <a:r>
              <a:rPr lang="zh-CN" altLang="en-US" sz="2100">
                <a:solidFill>
                  <a:srgbClr val="215968"/>
                </a:solidFill>
                <a:latin typeface="+mn-lt"/>
                <a:ea typeface="+mn-ea"/>
                <a:cs typeface="+mn-ea"/>
                <a:sym typeface="+mn-lt"/>
              </a:rPr>
              <a:t>一切为了优秀员工</a:t>
            </a:r>
            <a:r>
              <a:rPr lang="zh-CN" altLang="en-US" sz="2100" b="1">
                <a:solidFill>
                  <a:srgbClr val="215968"/>
                </a:solidFill>
                <a:latin typeface="+mn-lt"/>
                <a:ea typeface="+mn-ea"/>
                <a:cs typeface="+mn-ea"/>
                <a:sym typeface="+mn-lt"/>
              </a:rPr>
              <a:t>持续成长</a:t>
            </a:r>
          </a:p>
        </p:txBody>
      </p:sp>
      <p:sp>
        <p:nvSpPr>
          <p:cNvPr id="4" name="矩形 3">
            <a:extLst>
              <a:ext uri="{FF2B5EF4-FFF2-40B4-BE49-F238E27FC236}">
                <a16:creationId xmlns:a16="http://schemas.microsoft.com/office/drawing/2014/main" id="{12FC042D-0882-4D7C-AD0B-1BE3B64C043E}"/>
              </a:ext>
            </a:extLst>
          </p:cNvPr>
          <p:cNvSpPr/>
          <p:nvPr/>
        </p:nvSpPr>
        <p:spPr>
          <a:xfrm>
            <a:off x="1708150" y="1196975"/>
            <a:ext cx="3811588" cy="1277273"/>
          </a:xfrm>
          <a:prstGeom prst="rect">
            <a:avLst/>
          </a:prstGeom>
          <a:effectLst>
            <a:outerShdw blurRad="50800" dist="38100" dir="5400000" algn="t" rotWithShape="0">
              <a:prstClr val="black">
                <a:alpha val="40000"/>
              </a:prstClr>
            </a:outerShdw>
          </a:effec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spcAft>
                <a:spcPts val="600"/>
              </a:spcAft>
              <a:buFontTx/>
              <a:buNone/>
              <a:defRPr/>
            </a:pPr>
            <a:r>
              <a:rPr lang="zh-CN" altLang="en-US" sz="3600" b="1" dirty="0">
                <a:solidFill>
                  <a:srgbClr val="215968"/>
                </a:solidFill>
                <a:latin typeface="+mn-lt"/>
                <a:ea typeface="+mn-ea"/>
                <a:cs typeface="+mn-ea"/>
                <a:sym typeface="+mn-lt"/>
              </a:rPr>
              <a:t>创新服务</a:t>
            </a:r>
            <a:endParaRPr lang="en-US" altLang="zh-CN" sz="3600" b="1" dirty="0">
              <a:solidFill>
                <a:srgbClr val="215968"/>
              </a:solidFill>
              <a:latin typeface="+mn-lt"/>
              <a:ea typeface="+mn-ea"/>
              <a:cs typeface="+mn-ea"/>
              <a:sym typeface="+mn-lt"/>
            </a:endParaRPr>
          </a:p>
          <a:p>
            <a:pPr eaLnBrk="1" hangingPunct="1">
              <a:spcBef>
                <a:spcPct val="0"/>
              </a:spcBef>
              <a:spcAft>
                <a:spcPts val="600"/>
              </a:spcAft>
              <a:buFontTx/>
              <a:buNone/>
              <a:defRPr/>
            </a:pPr>
            <a:r>
              <a:rPr lang="zh-CN" altLang="en-US" sz="3600" b="1" dirty="0">
                <a:solidFill>
                  <a:srgbClr val="215968"/>
                </a:solidFill>
                <a:latin typeface="+mn-lt"/>
                <a:ea typeface="+mn-ea"/>
                <a:cs typeface="+mn-ea"/>
                <a:sym typeface="+mn-lt"/>
              </a:rPr>
              <a:t>价值共享</a:t>
            </a:r>
          </a:p>
        </p:txBody>
      </p:sp>
    </p:spTree>
    <p:custDataLst>
      <p:tags r:id="rId2"/>
    </p:custDataLst>
  </p:cSld>
  <p:clrMapOvr>
    <a:masterClrMapping/>
  </p:clrMapOvr>
  <p:transition advTm="10000"/>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isľîdè"/>
        <p:cNvGrpSpPr/>
        <p:nvPr/>
      </p:nvGrpSpPr>
      <p:grpSpPr>
        <a:xfrm>
          <a:off x="0" y="0"/>
          <a:ext cx="0" cy="0"/>
          <a:chOff x="0" y="0"/>
          <a:chExt cx="0" cy="0"/>
        </a:xfrm>
      </p:grpSpPr>
      <p:sp>
        <p:nvSpPr>
          <p:cNvPr id="28" name="标题 1">
            <a:extLst>
              <a:ext uri="{FF2B5EF4-FFF2-40B4-BE49-F238E27FC236}">
                <a16:creationId xmlns:a16="http://schemas.microsoft.com/office/drawing/2014/main" id="{B1125B63-AAA1-4940-9756-72405A5C7190}"/>
              </a:ext>
            </a:extLst>
          </p:cNvPr>
          <p:cNvSpPr>
            <a:spLocks noGrp="1"/>
          </p:cNvSpPr>
          <p:nvPr>
            <p:ph type="title"/>
          </p:nvPr>
        </p:nvSpPr>
        <p:spPr>
          <a:xfrm>
            <a:off x="479425" y="274638"/>
            <a:ext cx="11102975" cy="417512"/>
          </a:xfrm>
        </p:spPr>
        <p:txBody>
          <a:bodyPr/>
          <a:lstStyle/>
          <a:p>
            <a:r>
              <a:rPr lang="zh-CN" altLang="en-US" dirty="0">
                <a:latin typeface="+mn-lt"/>
                <a:ea typeface="+mn-ea"/>
                <a:cs typeface="+mn-ea"/>
                <a:sym typeface="+mn-lt"/>
              </a:rPr>
              <a:t>本周要闻回顾</a:t>
            </a:r>
          </a:p>
        </p:txBody>
      </p:sp>
      <p:sp>
        <p:nvSpPr>
          <p:cNvPr id="29" name="灯片编号占位符 2">
            <a:extLst>
              <a:ext uri="{FF2B5EF4-FFF2-40B4-BE49-F238E27FC236}">
                <a16:creationId xmlns:a16="http://schemas.microsoft.com/office/drawing/2014/main" id="{214602C9-6257-4BDD-BBAB-8CB3A1AAAD29}"/>
              </a:ext>
            </a:extLst>
          </p:cNvPr>
          <p:cNvSpPr txBox="1">
            <a:spLocks noChangeArrowheads="1"/>
          </p:cNvSpPr>
          <p:nvPr/>
        </p:nvSpPr>
        <p:spPr bwMode="auto">
          <a:xfrm>
            <a:off x="190499" y="6369050"/>
            <a:ext cx="518393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北极星太阳能光伏网</a:t>
            </a:r>
          </a:p>
        </p:txBody>
      </p:sp>
      <p:cxnSp>
        <p:nvCxnSpPr>
          <p:cNvPr id="144" name="iṧḷíḓè">
            <a:extLst>
              <a:ext uri="{FF2B5EF4-FFF2-40B4-BE49-F238E27FC236}">
                <a16:creationId xmlns:a16="http://schemas.microsoft.com/office/drawing/2014/main" id="{990A91DA-8C2E-48E6-45E7-273CDB01DB2B}"/>
              </a:ext>
            </a:extLst>
          </p:cNvPr>
          <p:cNvCxnSpPr>
            <a:cxnSpLocks/>
          </p:cNvCxnSpPr>
          <p:nvPr/>
        </p:nvCxnSpPr>
        <p:spPr>
          <a:xfrm>
            <a:off x="568032" y="1060718"/>
            <a:ext cx="0" cy="5038725"/>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45" name="ïṩ1iḍê">
            <a:extLst>
              <a:ext uri="{FF2B5EF4-FFF2-40B4-BE49-F238E27FC236}">
                <a16:creationId xmlns:a16="http://schemas.microsoft.com/office/drawing/2014/main" id="{09267060-CA79-F6CE-5DB4-4EB699E1FB0A}"/>
              </a:ext>
            </a:extLst>
          </p:cNvPr>
          <p:cNvSpPr txBox="1"/>
          <p:nvPr/>
        </p:nvSpPr>
        <p:spPr>
          <a:xfrm>
            <a:off x="967780" y="1106369"/>
            <a:ext cx="225000" cy="225000"/>
          </a:xfrm>
          <a:prstGeom prst="rect">
            <a:avLst/>
          </a:prstGeom>
          <a:noFill/>
        </p:spPr>
        <p:txBody>
          <a:bodyPr wrap="none" lIns="90000" tIns="46800" rIns="90000" bIns="46800" rtlCol="0" anchor="ctr" anchorCtr="0">
            <a:prstTxWarp prst="textPlain">
              <a:avLst/>
            </a:prstTxWarp>
            <a:normAutofit fontScale="55000" lnSpcReduction="20000"/>
          </a:bodyPr>
          <a:lstStyle/>
          <a:p>
            <a:pPr algn="ctr"/>
            <a:r>
              <a:rPr lang="en-US" altLang="zh-CN" b="1" dirty="0">
                <a:solidFill>
                  <a:schemeClr val="accent1"/>
                </a:solidFill>
                <a:cs typeface="+mn-ea"/>
                <a:sym typeface="+mn-lt"/>
              </a:rPr>
              <a:t>1.</a:t>
            </a:r>
            <a:endParaRPr lang="zh-CN" altLang="en-US" b="1" dirty="0">
              <a:solidFill>
                <a:schemeClr val="accent1"/>
              </a:solidFill>
              <a:cs typeface="+mn-ea"/>
              <a:sym typeface="+mn-lt"/>
            </a:endParaRPr>
          </a:p>
        </p:txBody>
      </p:sp>
      <p:sp>
        <p:nvSpPr>
          <p:cNvPr id="146" name="îšḻíḓè">
            <a:extLst>
              <a:ext uri="{FF2B5EF4-FFF2-40B4-BE49-F238E27FC236}">
                <a16:creationId xmlns:a16="http://schemas.microsoft.com/office/drawing/2014/main" id="{56BCF7A5-DF5B-66A9-F91C-400C5707EEB0}"/>
              </a:ext>
            </a:extLst>
          </p:cNvPr>
          <p:cNvSpPr/>
          <p:nvPr/>
        </p:nvSpPr>
        <p:spPr>
          <a:xfrm>
            <a:off x="1279601" y="982211"/>
            <a:ext cx="10224000" cy="415050"/>
          </a:xfrm>
          <a:prstGeom prst="snip2SameRect">
            <a:avLst>
              <a:gd name="adj1" fmla="val 0"/>
              <a:gd name="adj2" fmla="val 0"/>
            </a:avLst>
          </a:prstGeom>
          <a:ln>
            <a:noFill/>
          </a:ln>
        </p:spPr>
        <p:txBody>
          <a:bodyPr wrap="square" lIns="91440" tIns="45720" rIns="91440" bIns="45720" anchor="t">
            <a:noAutofit/>
          </a:bodyPr>
          <a:lstStyle/>
          <a:p>
            <a:pPr>
              <a:lnSpc>
                <a:spcPct val="130000"/>
              </a:lnSpc>
            </a:pPr>
            <a:r>
              <a:rPr lang="zh-CN" altLang="en-US" sz="1200" b="0" i="0" dirty="0">
                <a:solidFill>
                  <a:srgbClr val="000000"/>
                </a:solidFill>
                <a:effectLst/>
                <a:latin typeface="Helvetica Neue"/>
              </a:rPr>
              <a:t>国家发展改革委办公厅、住房城乡建设部办公厅发布关于开展污水处理绿色低碳标杆厂遴选工作的通知。通知指出，采取“遴选一批、新改扩建一批”的方式，</a:t>
            </a:r>
            <a:r>
              <a:rPr lang="en-US" altLang="zh-CN" sz="1200" b="0" i="0" dirty="0">
                <a:solidFill>
                  <a:srgbClr val="000000"/>
                </a:solidFill>
                <a:effectLst/>
                <a:latin typeface="Helvetica Neue"/>
              </a:rPr>
              <a:t>2025</a:t>
            </a:r>
            <a:r>
              <a:rPr lang="zh-CN" altLang="en-US" sz="1200" b="0" i="0" dirty="0">
                <a:solidFill>
                  <a:srgbClr val="000000"/>
                </a:solidFill>
                <a:effectLst/>
                <a:latin typeface="Helvetica Neue"/>
              </a:rPr>
              <a:t>年底前，建成</a:t>
            </a:r>
            <a:r>
              <a:rPr lang="en-US" altLang="zh-CN" sz="1200" b="0" i="0" dirty="0">
                <a:solidFill>
                  <a:srgbClr val="000000"/>
                </a:solidFill>
                <a:effectLst/>
                <a:latin typeface="Helvetica Neue"/>
              </a:rPr>
              <a:t>100</a:t>
            </a:r>
            <a:r>
              <a:rPr lang="zh-CN" altLang="en-US" sz="1200" b="0" i="0" dirty="0">
                <a:solidFill>
                  <a:srgbClr val="000000"/>
                </a:solidFill>
                <a:effectLst/>
                <a:latin typeface="Helvetica Neue"/>
              </a:rPr>
              <a:t>座能源资源高效循环利用的污水处理绿色低碳标杆厂，形成可复制可推广经验，推动污水处理行业减污降碳协同增效。</a:t>
            </a:r>
            <a:endParaRPr lang="en-US" altLang="zh-CN" sz="1200" dirty="0">
              <a:cs typeface="+mn-ea"/>
              <a:sym typeface="+mn-lt"/>
            </a:endParaRPr>
          </a:p>
        </p:txBody>
      </p:sp>
      <p:cxnSp>
        <p:nvCxnSpPr>
          <p:cNvPr id="147" name="ïṧlîḋe">
            <a:extLst>
              <a:ext uri="{FF2B5EF4-FFF2-40B4-BE49-F238E27FC236}">
                <a16:creationId xmlns:a16="http://schemas.microsoft.com/office/drawing/2014/main" id="{0806BC7D-08BB-1CA9-923D-CC949F32F52C}"/>
              </a:ext>
            </a:extLst>
          </p:cNvPr>
          <p:cNvCxnSpPr/>
          <p:nvPr/>
        </p:nvCxnSpPr>
        <p:spPr>
          <a:xfrm>
            <a:off x="1378034" y="1551969"/>
            <a:ext cx="10080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48" name="îşḻiďè">
            <a:extLst>
              <a:ext uri="{FF2B5EF4-FFF2-40B4-BE49-F238E27FC236}">
                <a16:creationId xmlns:a16="http://schemas.microsoft.com/office/drawing/2014/main" id="{A776295E-03DF-5F43-EC7C-A1EB80B5390F}"/>
              </a:ext>
            </a:extLst>
          </p:cNvPr>
          <p:cNvSpPr txBox="1"/>
          <p:nvPr/>
        </p:nvSpPr>
        <p:spPr>
          <a:xfrm>
            <a:off x="967780" y="1752707"/>
            <a:ext cx="225000" cy="225000"/>
          </a:xfrm>
          <a:prstGeom prst="rect">
            <a:avLst/>
          </a:prstGeom>
          <a:noFill/>
        </p:spPr>
        <p:txBody>
          <a:bodyPr wrap="none" lIns="90000" tIns="46800" rIns="90000" bIns="46800" rtlCol="0" anchor="ctr" anchorCtr="0">
            <a:prstTxWarp prst="textPlain">
              <a:avLst/>
            </a:prstTxWarp>
            <a:normAutofit fontScale="55000" lnSpcReduction="20000"/>
          </a:bodyPr>
          <a:lstStyle/>
          <a:p>
            <a:pPr algn="ctr"/>
            <a:r>
              <a:rPr lang="en-US" altLang="zh-CN" b="1" dirty="0">
                <a:solidFill>
                  <a:schemeClr val="accent1"/>
                </a:solidFill>
                <a:cs typeface="+mn-ea"/>
                <a:sym typeface="+mn-lt"/>
              </a:rPr>
              <a:t>2.</a:t>
            </a:r>
            <a:endParaRPr lang="zh-CN" altLang="en-US" b="1" dirty="0">
              <a:solidFill>
                <a:schemeClr val="accent1"/>
              </a:solidFill>
              <a:cs typeface="+mn-ea"/>
              <a:sym typeface="+mn-lt"/>
            </a:endParaRPr>
          </a:p>
        </p:txBody>
      </p:sp>
      <p:sp>
        <p:nvSpPr>
          <p:cNvPr id="149" name="îsḷíde">
            <a:extLst>
              <a:ext uri="{FF2B5EF4-FFF2-40B4-BE49-F238E27FC236}">
                <a16:creationId xmlns:a16="http://schemas.microsoft.com/office/drawing/2014/main" id="{03EC226D-77B1-4D4A-0D3E-D376CA4ECDE2}"/>
              </a:ext>
            </a:extLst>
          </p:cNvPr>
          <p:cNvSpPr/>
          <p:nvPr/>
        </p:nvSpPr>
        <p:spPr>
          <a:xfrm>
            <a:off x="1279601" y="1629126"/>
            <a:ext cx="10224000" cy="415050"/>
          </a:xfrm>
          <a:prstGeom prst="snip2SameRect">
            <a:avLst>
              <a:gd name="adj1" fmla="val 0"/>
              <a:gd name="adj2" fmla="val 0"/>
            </a:avLst>
          </a:prstGeom>
          <a:ln>
            <a:noFill/>
          </a:ln>
        </p:spPr>
        <p:txBody>
          <a:bodyPr wrap="square" lIns="91440" tIns="45720" rIns="91440" bIns="45720" anchor="t">
            <a:noAutofit/>
          </a:bodyPr>
          <a:lstStyle/>
          <a:p>
            <a:pPr>
              <a:lnSpc>
                <a:spcPct val="130000"/>
              </a:lnSpc>
            </a:pPr>
            <a:r>
              <a:rPr lang="zh-CN" altLang="en-US" sz="1200" dirty="0">
                <a:cs typeface="+mn-ea"/>
                <a:sym typeface="+mn-lt"/>
              </a:rPr>
              <a:t>国家能源局综合司发布关于进一步加强迎峰度夏期间电力安全风险管控工作的通知。通知指出，适应新型电力系统运行特性变化，滚动校核运行方式，协同防范运行风险，加强对新能源出力大幅波动、极端天气过程等场景的预防预控，确保电网安全运行。</a:t>
            </a:r>
            <a:endParaRPr lang="en-US" altLang="zh-CN" sz="1200" dirty="0">
              <a:cs typeface="+mn-ea"/>
              <a:sym typeface="+mn-lt"/>
            </a:endParaRPr>
          </a:p>
        </p:txBody>
      </p:sp>
      <p:cxnSp>
        <p:nvCxnSpPr>
          <p:cNvPr id="150" name="íşļîdè">
            <a:extLst>
              <a:ext uri="{FF2B5EF4-FFF2-40B4-BE49-F238E27FC236}">
                <a16:creationId xmlns:a16="http://schemas.microsoft.com/office/drawing/2014/main" id="{DFB31C2D-5069-5DA2-F9DD-144B943F00FA}"/>
              </a:ext>
            </a:extLst>
          </p:cNvPr>
          <p:cNvCxnSpPr/>
          <p:nvPr/>
        </p:nvCxnSpPr>
        <p:spPr>
          <a:xfrm>
            <a:off x="1378034" y="2202389"/>
            <a:ext cx="10080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51" name="îsľídè">
            <a:extLst>
              <a:ext uri="{FF2B5EF4-FFF2-40B4-BE49-F238E27FC236}">
                <a16:creationId xmlns:a16="http://schemas.microsoft.com/office/drawing/2014/main" id="{5F991D68-7962-F681-672E-5BE484BFBC42}"/>
              </a:ext>
            </a:extLst>
          </p:cNvPr>
          <p:cNvSpPr txBox="1"/>
          <p:nvPr/>
        </p:nvSpPr>
        <p:spPr>
          <a:xfrm>
            <a:off x="967780" y="2399045"/>
            <a:ext cx="225000" cy="225000"/>
          </a:xfrm>
          <a:prstGeom prst="rect">
            <a:avLst/>
          </a:prstGeom>
          <a:noFill/>
        </p:spPr>
        <p:txBody>
          <a:bodyPr wrap="none" lIns="90000" tIns="46800" rIns="90000" bIns="46800" rtlCol="0" anchor="ctr" anchorCtr="0">
            <a:prstTxWarp prst="textPlain">
              <a:avLst/>
            </a:prstTxWarp>
            <a:normAutofit fontScale="55000" lnSpcReduction="20000"/>
          </a:bodyPr>
          <a:lstStyle/>
          <a:p>
            <a:pPr algn="ctr"/>
            <a:r>
              <a:rPr lang="en-US" altLang="zh-CN" b="1" dirty="0">
                <a:solidFill>
                  <a:schemeClr val="accent1"/>
                </a:solidFill>
                <a:cs typeface="+mn-ea"/>
                <a:sym typeface="+mn-lt"/>
              </a:rPr>
              <a:t>3.</a:t>
            </a:r>
            <a:endParaRPr lang="zh-CN" altLang="en-US" b="1" dirty="0">
              <a:solidFill>
                <a:schemeClr val="accent1"/>
              </a:solidFill>
              <a:cs typeface="+mn-ea"/>
              <a:sym typeface="+mn-lt"/>
            </a:endParaRPr>
          </a:p>
        </p:txBody>
      </p:sp>
      <p:sp>
        <p:nvSpPr>
          <p:cNvPr id="152" name="işľíďe">
            <a:extLst>
              <a:ext uri="{FF2B5EF4-FFF2-40B4-BE49-F238E27FC236}">
                <a16:creationId xmlns:a16="http://schemas.microsoft.com/office/drawing/2014/main" id="{6A70EC5A-92B5-4F0B-2647-7CE8C89F7418}"/>
              </a:ext>
            </a:extLst>
          </p:cNvPr>
          <p:cNvSpPr/>
          <p:nvPr/>
        </p:nvSpPr>
        <p:spPr>
          <a:xfrm>
            <a:off x="1279601" y="2298781"/>
            <a:ext cx="10224000" cy="415050"/>
          </a:xfrm>
          <a:prstGeom prst="snip2SameRect">
            <a:avLst>
              <a:gd name="adj1" fmla="val 0"/>
              <a:gd name="adj2" fmla="val 0"/>
            </a:avLst>
          </a:prstGeom>
          <a:ln>
            <a:noFill/>
          </a:ln>
        </p:spPr>
        <p:txBody>
          <a:bodyPr wrap="square" lIns="91440" tIns="45720" rIns="91440" bIns="45720" anchor="t">
            <a:noAutofit/>
          </a:bodyPr>
          <a:lstStyle/>
          <a:p>
            <a:pPr>
              <a:lnSpc>
                <a:spcPct val="130000"/>
              </a:lnSpc>
            </a:pPr>
            <a:r>
              <a:rPr lang="zh-CN" altLang="en-US" sz="1200" b="0" i="0" dirty="0">
                <a:solidFill>
                  <a:srgbClr val="000000"/>
                </a:solidFill>
                <a:effectLst/>
                <a:latin typeface="Helvetica Neue"/>
              </a:rPr>
              <a:t>近日，黑龙江省发展改革委发布截至</a:t>
            </a:r>
            <a:r>
              <a:rPr lang="en-US" altLang="zh-CN" sz="1200" b="0" i="0" dirty="0">
                <a:solidFill>
                  <a:srgbClr val="000000"/>
                </a:solidFill>
                <a:effectLst/>
                <a:latin typeface="Helvetica Neue"/>
              </a:rPr>
              <a:t>2024</a:t>
            </a:r>
            <a:r>
              <a:rPr lang="zh-CN" altLang="en-US" sz="1200" b="0" i="0" dirty="0">
                <a:solidFill>
                  <a:srgbClr val="000000"/>
                </a:solidFill>
                <a:effectLst/>
                <a:latin typeface="Helvetica Neue"/>
              </a:rPr>
              <a:t>年一季度末全省分布式光伏接入电网承载力评估结果。结果显示：黑龙江全省有</a:t>
            </a:r>
            <a:r>
              <a:rPr lang="en-US" altLang="zh-CN" sz="1200" b="0" i="0" dirty="0">
                <a:solidFill>
                  <a:srgbClr val="000000"/>
                </a:solidFill>
                <a:effectLst/>
                <a:latin typeface="Helvetica Neue"/>
              </a:rPr>
              <a:t>86</a:t>
            </a:r>
            <a:r>
              <a:rPr lang="zh-CN" altLang="en-US" sz="1200" b="0" i="0" dirty="0">
                <a:solidFill>
                  <a:srgbClr val="000000"/>
                </a:solidFill>
                <a:effectLst/>
                <a:latin typeface="Helvetica Neue"/>
              </a:rPr>
              <a:t>个县（区</a:t>
            </a:r>
            <a:r>
              <a:rPr lang="en-US" altLang="zh-CN" sz="1200" b="0" i="0" dirty="0">
                <a:solidFill>
                  <a:srgbClr val="000000"/>
                </a:solidFill>
                <a:effectLst/>
                <a:latin typeface="Helvetica Neue"/>
              </a:rPr>
              <a:t>/</a:t>
            </a:r>
            <a:r>
              <a:rPr lang="zh-CN" altLang="en-US" sz="1200" b="0" i="0" dirty="0">
                <a:solidFill>
                  <a:srgbClr val="000000"/>
                </a:solidFill>
                <a:effectLst/>
                <a:latin typeface="Helvetica Neue"/>
              </a:rPr>
              <a:t>市）为红色等级区域，</a:t>
            </a:r>
            <a:r>
              <a:rPr lang="en-US" altLang="zh-CN" sz="1200" b="0" i="0" dirty="0">
                <a:solidFill>
                  <a:srgbClr val="000000"/>
                </a:solidFill>
                <a:effectLst/>
                <a:latin typeface="Helvetica Neue"/>
              </a:rPr>
              <a:t>21</a:t>
            </a:r>
            <a:r>
              <a:rPr lang="zh-CN" altLang="en-US" sz="1200" b="0" i="0" dirty="0">
                <a:solidFill>
                  <a:srgbClr val="000000"/>
                </a:solidFill>
                <a:effectLst/>
                <a:latin typeface="Helvetica Neue"/>
              </a:rPr>
              <a:t>个县（区</a:t>
            </a:r>
            <a:r>
              <a:rPr lang="en-US" altLang="zh-CN" sz="1200" b="0" i="0" dirty="0">
                <a:solidFill>
                  <a:srgbClr val="000000"/>
                </a:solidFill>
                <a:effectLst/>
                <a:latin typeface="Helvetica Neue"/>
              </a:rPr>
              <a:t>/</a:t>
            </a:r>
            <a:r>
              <a:rPr lang="zh-CN" altLang="en-US" sz="1200" b="0" i="0" dirty="0">
                <a:solidFill>
                  <a:srgbClr val="000000"/>
                </a:solidFill>
                <a:effectLst/>
                <a:latin typeface="Helvetica Neue"/>
              </a:rPr>
              <a:t>市）为黄色等级区域、</a:t>
            </a:r>
            <a:r>
              <a:rPr lang="en-US" altLang="zh-CN" sz="1200" b="0" i="0" dirty="0">
                <a:solidFill>
                  <a:srgbClr val="000000"/>
                </a:solidFill>
                <a:effectLst/>
                <a:latin typeface="Helvetica Neue"/>
              </a:rPr>
              <a:t>16</a:t>
            </a:r>
            <a:r>
              <a:rPr lang="zh-CN" altLang="en-US" sz="1200" b="0" i="0" dirty="0">
                <a:solidFill>
                  <a:srgbClr val="000000"/>
                </a:solidFill>
                <a:effectLst/>
                <a:latin typeface="Helvetica Neue"/>
              </a:rPr>
              <a:t>个县（区</a:t>
            </a:r>
            <a:r>
              <a:rPr lang="en-US" altLang="zh-CN" sz="1200" b="0" i="0" dirty="0">
                <a:solidFill>
                  <a:srgbClr val="000000"/>
                </a:solidFill>
                <a:effectLst/>
                <a:latin typeface="Helvetica Neue"/>
              </a:rPr>
              <a:t>/</a:t>
            </a:r>
            <a:r>
              <a:rPr lang="zh-CN" altLang="en-US" sz="1200" b="0" i="0" dirty="0">
                <a:solidFill>
                  <a:srgbClr val="000000"/>
                </a:solidFill>
                <a:effectLst/>
                <a:latin typeface="Helvetica Neue"/>
              </a:rPr>
              <a:t>市）为绿色等级区域。</a:t>
            </a:r>
            <a:endParaRPr lang="en-US" altLang="zh-CN" sz="1200" dirty="0">
              <a:cs typeface="+mn-ea"/>
              <a:sym typeface="+mn-lt"/>
            </a:endParaRPr>
          </a:p>
        </p:txBody>
      </p:sp>
      <p:cxnSp>
        <p:nvCxnSpPr>
          <p:cNvPr id="153" name="íşlíḋe">
            <a:extLst>
              <a:ext uri="{FF2B5EF4-FFF2-40B4-BE49-F238E27FC236}">
                <a16:creationId xmlns:a16="http://schemas.microsoft.com/office/drawing/2014/main" id="{A850D920-0DCE-17CB-CFC0-7C289E1B5D98}"/>
              </a:ext>
            </a:extLst>
          </p:cNvPr>
          <p:cNvCxnSpPr/>
          <p:nvPr/>
        </p:nvCxnSpPr>
        <p:spPr>
          <a:xfrm>
            <a:off x="1378034" y="2852809"/>
            <a:ext cx="10080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54" name="íSliḓê">
            <a:extLst>
              <a:ext uri="{FF2B5EF4-FFF2-40B4-BE49-F238E27FC236}">
                <a16:creationId xmlns:a16="http://schemas.microsoft.com/office/drawing/2014/main" id="{AD1805C7-851F-863C-EBE1-F40436368123}"/>
              </a:ext>
            </a:extLst>
          </p:cNvPr>
          <p:cNvSpPr txBox="1"/>
          <p:nvPr/>
        </p:nvSpPr>
        <p:spPr>
          <a:xfrm>
            <a:off x="967780" y="3045383"/>
            <a:ext cx="225000" cy="225000"/>
          </a:xfrm>
          <a:prstGeom prst="rect">
            <a:avLst/>
          </a:prstGeom>
          <a:noFill/>
        </p:spPr>
        <p:txBody>
          <a:bodyPr wrap="none" lIns="90000" tIns="46800" rIns="90000" bIns="46800" rtlCol="0" anchor="ctr" anchorCtr="0">
            <a:prstTxWarp prst="textPlain">
              <a:avLst/>
            </a:prstTxWarp>
            <a:normAutofit fontScale="55000" lnSpcReduction="20000"/>
          </a:bodyPr>
          <a:lstStyle/>
          <a:p>
            <a:pPr algn="ctr"/>
            <a:r>
              <a:rPr lang="en-US" altLang="zh-CN" b="1" dirty="0">
                <a:solidFill>
                  <a:schemeClr val="accent1"/>
                </a:solidFill>
                <a:cs typeface="+mn-ea"/>
                <a:sym typeface="+mn-lt"/>
              </a:rPr>
              <a:t>4.</a:t>
            </a:r>
            <a:endParaRPr lang="zh-CN" altLang="en-US" b="1" dirty="0">
              <a:solidFill>
                <a:schemeClr val="accent1"/>
              </a:solidFill>
              <a:cs typeface="+mn-ea"/>
              <a:sym typeface="+mn-lt"/>
            </a:endParaRPr>
          </a:p>
        </p:txBody>
      </p:sp>
      <p:sp>
        <p:nvSpPr>
          <p:cNvPr id="155" name="îṧľïḋè">
            <a:extLst>
              <a:ext uri="{FF2B5EF4-FFF2-40B4-BE49-F238E27FC236}">
                <a16:creationId xmlns:a16="http://schemas.microsoft.com/office/drawing/2014/main" id="{C117F5F1-6EAA-AECB-0F83-75D537ACF438}"/>
              </a:ext>
            </a:extLst>
          </p:cNvPr>
          <p:cNvSpPr/>
          <p:nvPr/>
        </p:nvSpPr>
        <p:spPr>
          <a:xfrm>
            <a:off x="1306034" y="2934917"/>
            <a:ext cx="10224000" cy="415050"/>
          </a:xfrm>
          <a:prstGeom prst="snip2SameRect">
            <a:avLst>
              <a:gd name="adj1" fmla="val 0"/>
              <a:gd name="adj2" fmla="val 0"/>
            </a:avLst>
          </a:prstGeom>
          <a:ln>
            <a:noFill/>
          </a:ln>
        </p:spPr>
        <p:txBody>
          <a:bodyPr wrap="square" lIns="91440" tIns="45720" rIns="91440" bIns="45720" anchor="t">
            <a:noAutofit/>
          </a:bodyPr>
          <a:lstStyle/>
          <a:p>
            <a:pPr>
              <a:lnSpc>
                <a:spcPct val="130000"/>
              </a:lnSpc>
            </a:pPr>
            <a:r>
              <a:rPr lang="en-US" altLang="zh-CN" sz="1200" dirty="0">
                <a:cs typeface="+mn-ea"/>
                <a:sym typeface="+mn-lt"/>
              </a:rPr>
              <a:t>6</a:t>
            </a:r>
            <a:r>
              <a:rPr lang="zh-CN" altLang="en-US" sz="1200" dirty="0">
                <a:cs typeface="+mn-ea"/>
                <a:sym typeface="+mn-lt"/>
              </a:rPr>
              <a:t>月</a:t>
            </a:r>
            <a:r>
              <a:rPr lang="en-US" altLang="zh-CN" sz="1200" dirty="0">
                <a:cs typeface="+mn-ea"/>
                <a:sym typeface="+mn-lt"/>
              </a:rPr>
              <a:t>30</a:t>
            </a:r>
            <a:r>
              <a:rPr lang="zh-CN" altLang="en-US" sz="1200" dirty="0">
                <a:cs typeface="+mn-ea"/>
                <a:sym typeface="+mn-lt"/>
              </a:rPr>
              <a:t>日至</a:t>
            </a:r>
            <a:r>
              <a:rPr lang="en-US" altLang="zh-CN" sz="1200" dirty="0">
                <a:cs typeface="+mn-ea"/>
                <a:sym typeface="+mn-lt"/>
              </a:rPr>
              <a:t>7</a:t>
            </a:r>
            <a:r>
              <a:rPr lang="zh-CN" altLang="en-US" sz="1200" dirty="0">
                <a:cs typeface="+mn-ea"/>
                <a:sym typeface="+mn-lt"/>
              </a:rPr>
              <a:t>月</a:t>
            </a:r>
            <a:r>
              <a:rPr lang="en-US" altLang="zh-CN" sz="1200" dirty="0">
                <a:cs typeface="+mn-ea"/>
                <a:sym typeface="+mn-lt"/>
              </a:rPr>
              <a:t>1</a:t>
            </a:r>
            <a:r>
              <a:rPr lang="zh-CN" altLang="en-US" sz="1200" dirty="0">
                <a:cs typeface="+mn-ea"/>
                <a:sym typeface="+mn-lt"/>
              </a:rPr>
              <a:t>日，云南昆明东川区</a:t>
            </a:r>
            <a:r>
              <a:rPr lang="en-US" altLang="zh-CN" sz="1200" dirty="0">
                <a:cs typeface="+mn-ea"/>
                <a:sym typeface="+mn-lt"/>
              </a:rPr>
              <a:t>5</a:t>
            </a:r>
            <a:r>
              <a:rPr lang="zh-CN" altLang="en-US" sz="1200" dirty="0">
                <a:cs typeface="+mn-ea"/>
                <a:sym typeface="+mn-lt"/>
              </a:rPr>
              <a:t>个项目举行点火（投产）仪式。其中就包含云南宇泽新能源</a:t>
            </a:r>
            <a:r>
              <a:rPr lang="en-US" altLang="zh-CN" sz="1200" dirty="0">
                <a:cs typeface="+mn-ea"/>
                <a:sym typeface="+mn-lt"/>
              </a:rPr>
              <a:t>20GW</a:t>
            </a:r>
            <a:r>
              <a:rPr lang="zh-CN" altLang="en-US" sz="1200" dirty="0">
                <a:cs typeface="+mn-ea"/>
                <a:sym typeface="+mn-lt"/>
              </a:rPr>
              <a:t>单晶硅拉棒项目。据了解，该项目总投资约</a:t>
            </a:r>
            <a:r>
              <a:rPr lang="en-US" altLang="zh-CN" sz="1200" dirty="0">
                <a:cs typeface="+mn-ea"/>
                <a:sym typeface="+mn-lt"/>
              </a:rPr>
              <a:t>50</a:t>
            </a:r>
            <a:r>
              <a:rPr lang="zh-CN" altLang="en-US" sz="1200" dirty="0">
                <a:cs typeface="+mn-ea"/>
                <a:sym typeface="+mn-lt"/>
              </a:rPr>
              <a:t>余亿元，于</a:t>
            </a:r>
            <a:r>
              <a:rPr lang="en-US" altLang="zh-CN" sz="1200" dirty="0">
                <a:cs typeface="+mn-ea"/>
                <a:sym typeface="+mn-lt"/>
              </a:rPr>
              <a:t>2023</a:t>
            </a:r>
            <a:r>
              <a:rPr lang="zh-CN" altLang="en-US" sz="1200" dirty="0">
                <a:cs typeface="+mn-ea"/>
                <a:sym typeface="+mn-lt"/>
              </a:rPr>
              <a:t>年</a:t>
            </a:r>
            <a:r>
              <a:rPr lang="en-US" altLang="zh-CN" sz="1200" dirty="0">
                <a:cs typeface="+mn-ea"/>
                <a:sym typeface="+mn-lt"/>
              </a:rPr>
              <a:t>4</a:t>
            </a:r>
            <a:r>
              <a:rPr lang="zh-CN" altLang="en-US" sz="1200" dirty="0">
                <a:cs typeface="+mn-ea"/>
                <a:sym typeface="+mn-lt"/>
              </a:rPr>
              <a:t>月</a:t>
            </a:r>
            <a:r>
              <a:rPr lang="en-US" altLang="zh-CN" sz="1200" dirty="0">
                <a:cs typeface="+mn-ea"/>
                <a:sym typeface="+mn-lt"/>
              </a:rPr>
              <a:t>18</a:t>
            </a:r>
            <a:r>
              <a:rPr lang="zh-CN" altLang="en-US" sz="1200" dirty="0">
                <a:cs typeface="+mn-ea"/>
                <a:sym typeface="+mn-lt"/>
              </a:rPr>
              <a:t>日开工建设。项目建设分两期进行，一期计划在</a:t>
            </a:r>
            <a:r>
              <a:rPr lang="en-US" altLang="zh-CN" sz="1200" dirty="0">
                <a:cs typeface="+mn-ea"/>
                <a:sym typeface="+mn-lt"/>
              </a:rPr>
              <a:t>2023</a:t>
            </a:r>
            <a:r>
              <a:rPr lang="zh-CN" altLang="en-US" sz="1200" dirty="0">
                <a:cs typeface="+mn-ea"/>
                <a:sym typeface="+mn-lt"/>
              </a:rPr>
              <a:t>年</a:t>
            </a:r>
            <a:r>
              <a:rPr lang="en-US" altLang="zh-CN" sz="1200" dirty="0">
                <a:cs typeface="+mn-ea"/>
                <a:sym typeface="+mn-lt"/>
              </a:rPr>
              <a:t>11</a:t>
            </a:r>
            <a:r>
              <a:rPr lang="zh-CN" altLang="en-US" sz="1200" dirty="0">
                <a:cs typeface="+mn-ea"/>
                <a:sym typeface="+mn-lt"/>
              </a:rPr>
              <a:t>月底投产，二期在</a:t>
            </a:r>
            <a:r>
              <a:rPr lang="en-US" altLang="zh-CN" sz="1200" dirty="0">
                <a:cs typeface="+mn-ea"/>
                <a:sym typeface="+mn-lt"/>
              </a:rPr>
              <a:t>2024</a:t>
            </a:r>
            <a:r>
              <a:rPr lang="zh-CN" altLang="en-US" sz="1200" dirty="0">
                <a:cs typeface="+mn-ea"/>
                <a:sym typeface="+mn-lt"/>
              </a:rPr>
              <a:t>年</a:t>
            </a:r>
            <a:r>
              <a:rPr lang="en-US" altLang="zh-CN" sz="1200" dirty="0">
                <a:cs typeface="+mn-ea"/>
                <a:sym typeface="+mn-lt"/>
              </a:rPr>
              <a:t>6</a:t>
            </a:r>
            <a:r>
              <a:rPr lang="zh-CN" altLang="en-US" sz="1200" dirty="0">
                <a:cs typeface="+mn-ea"/>
                <a:sym typeface="+mn-lt"/>
              </a:rPr>
              <a:t>月建成投产。</a:t>
            </a:r>
          </a:p>
        </p:txBody>
      </p:sp>
      <p:cxnSp>
        <p:nvCxnSpPr>
          <p:cNvPr id="156" name="í$1ídé">
            <a:extLst>
              <a:ext uri="{FF2B5EF4-FFF2-40B4-BE49-F238E27FC236}">
                <a16:creationId xmlns:a16="http://schemas.microsoft.com/office/drawing/2014/main" id="{12921E0D-329C-EEDD-9AEA-704BB9C59E55}"/>
              </a:ext>
            </a:extLst>
          </p:cNvPr>
          <p:cNvCxnSpPr/>
          <p:nvPr/>
        </p:nvCxnSpPr>
        <p:spPr>
          <a:xfrm>
            <a:off x="1378034" y="3503229"/>
            <a:ext cx="10080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57" name="ïṡļïḓê">
            <a:extLst>
              <a:ext uri="{FF2B5EF4-FFF2-40B4-BE49-F238E27FC236}">
                <a16:creationId xmlns:a16="http://schemas.microsoft.com/office/drawing/2014/main" id="{067CCBFB-E708-3EA9-2782-78BC8291122D}"/>
              </a:ext>
            </a:extLst>
          </p:cNvPr>
          <p:cNvSpPr txBox="1"/>
          <p:nvPr/>
        </p:nvSpPr>
        <p:spPr>
          <a:xfrm>
            <a:off x="967780" y="3691721"/>
            <a:ext cx="225000" cy="225000"/>
          </a:xfrm>
          <a:prstGeom prst="rect">
            <a:avLst/>
          </a:prstGeom>
          <a:noFill/>
        </p:spPr>
        <p:txBody>
          <a:bodyPr wrap="none" lIns="90000" tIns="46800" rIns="90000" bIns="46800" rtlCol="0" anchor="ctr" anchorCtr="0">
            <a:prstTxWarp prst="textPlain">
              <a:avLst/>
            </a:prstTxWarp>
            <a:normAutofit fontScale="55000" lnSpcReduction="20000"/>
          </a:bodyPr>
          <a:lstStyle/>
          <a:p>
            <a:pPr algn="ctr"/>
            <a:r>
              <a:rPr lang="en-US" altLang="zh-CN" b="1" dirty="0">
                <a:solidFill>
                  <a:schemeClr val="accent1"/>
                </a:solidFill>
                <a:cs typeface="+mn-ea"/>
                <a:sym typeface="+mn-lt"/>
              </a:rPr>
              <a:t>5.</a:t>
            </a:r>
            <a:endParaRPr lang="zh-CN" altLang="en-US" b="1" dirty="0">
              <a:solidFill>
                <a:schemeClr val="accent1"/>
              </a:solidFill>
              <a:cs typeface="+mn-ea"/>
              <a:sym typeface="+mn-lt"/>
            </a:endParaRPr>
          </a:p>
        </p:txBody>
      </p:sp>
      <p:sp>
        <p:nvSpPr>
          <p:cNvPr id="158" name="í$ḷïḋê">
            <a:extLst>
              <a:ext uri="{FF2B5EF4-FFF2-40B4-BE49-F238E27FC236}">
                <a16:creationId xmlns:a16="http://schemas.microsoft.com/office/drawing/2014/main" id="{ED2697B7-7BD4-D848-A200-70FCA61313E3}"/>
              </a:ext>
            </a:extLst>
          </p:cNvPr>
          <p:cNvSpPr/>
          <p:nvPr/>
        </p:nvSpPr>
        <p:spPr>
          <a:xfrm>
            <a:off x="1279601" y="3567499"/>
            <a:ext cx="10224000" cy="415050"/>
          </a:xfrm>
          <a:prstGeom prst="snip2SameRect">
            <a:avLst>
              <a:gd name="adj1" fmla="val 0"/>
              <a:gd name="adj2" fmla="val 0"/>
            </a:avLst>
          </a:prstGeom>
          <a:ln>
            <a:noFill/>
          </a:ln>
        </p:spPr>
        <p:txBody>
          <a:bodyPr wrap="square" lIns="91440" tIns="45720" rIns="91440" bIns="45720" anchor="t">
            <a:noAutofit/>
          </a:bodyPr>
          <a:lstStyle/>
          <a:p>
            <a:pPr>
              <a:lnSpc>
                <a:spcPct val="130000"/>
              </a:lnSpc>
            </a:pPr>
            <a:r>
              <a:rPr lang="zh-CN" altLang="en-US" sz="1200" dirty="0">
                <a:cs typeface="+mn-ea"/>
                <a:sym typeface="+mn-lt"/>
              </a:rPr>
              <a:t>从卓越鲁电官微获悉，</a:t>
            </a:r>
            <a:r>
              <a:rPr lang="en-US" altLang="zh-CN" sz="1200" dirty="0">
                <a:cs typeface="+mn-ea"/>
                <a:sym typeface="+mn-lt"/>
              </a:rPr>
              <a:t>7</a:t>
            </a:r>
            <a:r>
              <a:rPr lang="zh-CN" altLang="en-US" sz="1200" dirty="0">
                <a:cs typeface="+mn-ea"/>
                <a:sym typeface="+mn-lt"/>
              </a:rPr>
              <a:t>月</a:t>
            </a:r>
            <a:r>
              <a:rPr lang="en-US" altLang="zh-CN" sz="1200" dirty="0">
                <a:cs typeface="+mn-ea"/>
                <a:sym typeface="+mn-lt"/>
              </a:rPr>
              <a:t>2</a:t>
            </a:r>
            <a:r>
              <a:rPr lang="zh-CN" altLang="en-US" sz="1200" dirty="0">
                <a:cs typeface="+mn-ea"/>
                <a:sym typeface="+mn-lt"/>
              </a:rPr>
              <a:t>日，中广核招远海上光伏项目正式并网，成为全国首座并网的集中式海上光伏项目。去年年底，项目正式开工。该项目位于山东省烟台市招远市北部莱州湾海域，项目总容量</a:t>
            </a:r>
            <a:r>
              <a:rPr lang="en-US" altLang="zh-CN" sz="1200" dirty="0">
                <a:cs typeface="+mn-ea"/>
                <a:sym typeface="+mn-lt"/>
              </a:rPr>
              <a:t>40</a:t>
            </a:r>
            <a:r>
              <a:rPr lang="zh-CN" altLang="en-US" sz="1200" dirty="0">
                <a:cs typeface="+mn-ea"/>
                <a:sym typeface="+mn-lt"/>
              </a:rPr>
              <a:t>万千瓦，首批并网</a:t>
            </a:r>
            <a:r>
              <a:rPr lang="en-US" altLang="zh-CN" sz="1200" dirty="0">
                <a:cs typeface="+mn-ea"/>
                <a:sym typeface="+mn-lt"/>
              </a:rPr>
              <a:t>1.2</a:t>
            </a:r>
            <a:r>
              <a:rPr lang="zh-CN" altLang="en-US" sz="1200" dirty="0">
                <a:cs typeface="+mn-ea"/>
                <a:sym typeface="+mn-lt"/>
              </a:rPr>
              <a:t>万千瓦，是全国首个大规模近海桩基固定式海上光伏项目。</a:t>
            </a:r>
          </a:p>
        </p:txBody>
      </p:sp>
      <p:cxnSp>
        <p:nvCxnSpPr>
          <p:cNvPr id="159" name="i$ļíḑé">
            <a:extLst>
              <a:ext uri="{FF2B5EF4-FFF2-40B4-BE49-F238E27FC236}">
                <a16:creationId xmlns:a16="http://schemas.microsoft.com/office/drawing/2014/main" id="{F7B7B15A-8C91-6E05-4E5D-D6611114693A}"/>
              </a:ext>
            </a:extLst>
          </p:cNvPr>
          <p:cNvCxnSpPr/>
          <p:nvPr/>
        </p:nvCxnSpPr>
        <p:spPr>
          <a:xfrm>
            <a:off x="1378034" y="4153649"/>
            <a:ext cx="10080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60" name="íṡḻîḍè">
            <a:extLst>
              <a:ext uri="{FF2B5EF4-FFF2-40B4-BE49-F238E27FC236}">
                <a16:creationId xmlns:a16="http://schemas.microsoft.com/office/drawing/2014/main" id="{97599EE2-52E4-E5AC-E58E-EA64C8D5A7D7}"/>
              </a:ext>
            </a:extLst>
          </p:cNvPr>
          <p:cNvSpPr txBox="1"/>
          <p:nvPr/>
        </p:nvSpPr>
        <p:spPr>
          <a:xfrm>
            <a:off x="967780" y="4338059"/>
            <a:ext cx="225000" cy="225000"/>
          </a:xfrm>
          <a:prstGeom prst="rect">
            <a:avLst/>
          </a:prstGeom>
          <a:noFill/>
        </p:spPr>
        <p:txBody>
          <a:bodyPr wrap="none" lIns="90000" tIns="46800" rIns="90000" bIns="46800" rtlCol="0" anchor="ctr" anchorCtr="0">
            <a:prstTxWarp prst="textPlain">
              <a:avLst/>
            </a:prstTxWarp>
            <a:normAutofit fontScale="55000" lnSpcReduction="20000"/>
          </a:bodyPr>
          <a:lstStyle/>
          <a:p>
            <a:pPr algn="ctr"/>
            <a:r>
              <a:rPr lang="en-US" altLang="zh-CN" b="1" dirty="0">
                <a:solidFill>
                  <a:schemeClr val="accent1"/>
                </a:solidFill>
                <a:cs typeface="+mn-ea"/>
                <a:sym typeface="+mn-lt"/>
              </a:rPr>
              <a:t>6.</a:t>
            </a:r>
            <a:endParaRPr lang="zh-CN" altLang="en-US" b="1" dirty="0">
              <a:solidFill>
                <a:schemeClr val="accent1"/>
              </a:solidFill>
              <a:cs typeface="+mn-ea"/>
              <a:sym typeface="+mn-lt"/>
            </a:endParaRPr>
          </a:p>
        </p:txBody>
      </p:sp>
      <p:sp>
        <p:nvSpPr>
          <p:cNvPr id="161" name="îṣlidé">
            <a:extLst>
              <a:ext uri="{FF2B5EF4-FFF2-40B4-BE49-F238E27FC236}">
                <a16:creationId xmlns:a16="http://schemas.microsoft.com/office/drawing/2014/main" id="{36BD0EE2-F1F4-E4AA-F6BA-05A04FFF8560}"/>
              </a:ext>
            </a:extLst>
          </p:cNvPr>
          <p:cNvSpPr/>
          <p:nvPr/>
        </p:nvSpPr>
        <p:spPr>
          <a:xfrm>
            <a:off x="1279601" y="4237817"/>
            <a:ext cx="10224000" cy="415050"/>
          </a:xfrm>
          <a:prstGeom prst="snip2SameRect">
            <a:avLst>
              <a:gd name="adj1" fmla="val 0"/>
              <a:gd name="adj2" fmla="val 0"/>
            </a:avLst>
          </a:prstGeom>
          <a:ln>
            <a:noFill/>
          </a:ln>
        </p:spPr>
        <p:txBody>
          <a:bodyPr wrap="square" lIns="91440" tIns="45720" rIns="91440" bIns="45720" anchor="t">
            <a:noAutofit/>
          </a:bodyPr>
          <a:lstStyle/>
          <a:p>
            <a:pPr>
              <a:lnSpc>
                <a:spcPct val="130000"/>
              </a:lnSpc>
            </a:pPr>
            <a:r>
              <a:rPr lang="zh-CN" altLang="en-US" sz="1200" dirty="0">
                <a:cs typeface="+mn-ea"/>
                <a:sym typeface="+mn-lt"/>
              </a:rPr>
              <a:t>计署发布</a:t>
            </a:r>
            <a:r>
              <a:rPr lang="en-US" altLang="zh-CN" sz="1200" dirty="0">
                <a:cs typeface="+mn-ea"/>
                <a:sym typeface="+mn-lt"/>
              </a:rPr>
              <a:t>《</a:t>
            </a:r>
            <a:r>
              <a:rPr lang="zh-CN" altLang="en-US" sz="1200" dirty="0">
                <a:cs typeface="+mn-ea"/>
                <a:sym typeface="+mn-lt"/>
              </a:rPr>
              <a:t>国务院关于</a:t>
            </a:r>
            <a:r>
              <a:rPr lang="en-US" altLang="zh-CN" sz="1200" dirty="0">
                <a:cs typeface="+mn-ea"/>
                <a:sym typeface="+mn-lt"/>
              </a:rPr>
              <a:t>2023</a:t>
            </a:r>
            <a:r>
              <a:rPr lang="zh-CN" altLang="en-US" sz="1200" dirty="0">
                <a:cs typeface="+mn-ea"/>
                <a:sym typeface="+mn-lt"/>
              </a:rPr>
              <a:t>年度中央预算执行和其他财政收支的审计工作报告</a:t>
            </a:r>
            <a:r>
              <a:rPr lang="en-US" altLang="zh-CN" sz="1200" dirty="0">
                <a:cs typeface="+mn-ea"/>
                <a:sym typeface="+mn-lt"/>
              </a:rPr>
              <a:t>》</a:t>
            </a:r>
            <a:r>
              <a:rPr lang="zh-CN" altLang="en-US" sz="1200" dirty="0">
                <a:cs typeface="+mn-ea"/>
                <a:sym typeface="+mn-lt"/>
              </a:rPr>
              <a:t>，提及多项问题及审计建议。其中提到，传统能源管理不规范，新能源开发利用缺乏统筹，</a:t>
            </a:r>
            <a:r>
              <a:rPr lang="en-US" altLang="zh-CN" sz="1200" b="0" i="0" dirty="0">
                <a:solidFill>
                  <a:srgbClr val="333333"/>
                </a:solidFill>
                <a:effectLst/>
                <a:latin typeface="Helvetica Neue"/>
              </a:rPr>
              <a:t>50</a:t>
            </a:r>
            <a:r>
              <a:rPr lang="zh-CN" altLang="en-US" sz="1200" b="0" i="0" dirty="0">
                <a:solidFill>
                  <a:srgbClr val="333333"/>
                </a:solidFill>
                <a:effectLst/>
                <a:latin typeface="Helvetica Neue"/>
              </a:rPr>
              <a:t>个“沙戈荒”大型风光基地项目“碎片化”。</a:t>
            </a:r>
          </a:p>
        </p:txBody>
      </p:sp>
      <p:cxnSp>
        <p:nvCxnSpPr>
          <p:cNvPr id="162" name="ï$ḷiďè">
            <a:extLst>
              <a:ext uri="{FF2B5EF4-FFF2-40B4-BE49-F238E27FC236}">
                <a16:creationId xmlns:a16="http://schemas.microsoft.com/office/drawing/2014/main" id="{8D2E100E-EB84-888A-9BC1-4BB82803CA80}"/>
              </a:ext>
            </a:extLst>
          </p:cNvPr>
          <p:cNvCxnSpPr/>
          <p:nvPr/>
        </p:nvCxnSpPr>
        <p:spPr>
          <a:xfrm>
            <a:off x="1378034" y="4804069"/>
            <a:ext cx="10080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63" name="îŝlíḍè">
            <a:extLst>
              <a:ext uri="{FF2B5EF4-FFF2-40B4-BE49-F238E27FC236}">
                <a16:creationId xmlns:a16="http://schemas.microsoft.com/office/drawing/2014/main" id="{E687C9CB-AC53-BE14-4F7C-2866AD42A09F}"/>
              </a:ext>
            </a:extLst>
          </p:cNvPr>
          <p:cNvSpPr txBox="1"/>
          <p:nvPr/>
        </p:nvSpPr>
        <p:spPr>
          <a:xfrm>
            <a:off x="967780" y="4984397"/>
            <a:ext cx="225000" cy="225000"/>
          </a:xfrm>
          <a:prstGeom prst="rect">
            <a:avLst/>
          </a:prstGeom>
          <a:noFill/>
        </p:spPr>
        <p:txBody>
          <a:bodyPr wrap="none" lIns="90000" tIns="46800" rIns="90000" bIns="46800" rtlCol="0" anchor="ctr" anchorCtr="0">
            <a:prstTxWarp prst="textPlain">
              <a:avLst/>
            </a:prstTxWarp>
            <a:normAutofit fontScale="55000" lnSpcReduction="20000"/>
          </a:bodyPr>
          <a:lstStyle/>
          <a:p>
            <a:pPr algn="ctr"/>
            <a:r>
              <a:rPr lang="en-US" altLang="zh-CN" b="1" dirty="0">
                <a:solidFill>
                  <a:schemeClr val="accent1"/>
                </a:solidFill>
                <a:cs typeface="+mn-ea"/>
                <a:sym typeface="+mn-lt"/>
              </a:rPr>
              <a:t>7.</a:t>
            </a:r>
            <a:endParaRPr lang="zh-CN" altLang="en-US" b="1" dirty="0">
              <a:solidFill>
                <a:schemeClr val="accent1"/>
              </a:solidFill>
              <a:cs typeface="+mn-ea"/>
              <a:sym typeface="+mn-lt"/>
            </a:endParaRPr>
          </a:p>
        </p:txBody>
      </p:sp>
      <p:sp>
        <p:nvSpPr>
          <p:cNvPr id="164" name="îšḻiďe">
            <a:extLst>
              <a:ext uri="{FF2B5EF4-FFF2-40B4-BE49-F238E27FC236}">
                <a16:creationId xmlns:a16="http://schemas.microsoft.com/office/drawing/2014/main" id="{3A9253A3-9FD1-4509-D041-A321EC79D245}"/>
              </a:ext>
            </a:extLst>
          </p:cNvPr>
          <p:cNvSpPr/>
          <p:nvPr/>
        </p:nvSpPr>
        <p:spPr>
          <a:xfrm>
            <a:off x="1279601" y="4853026"/>
            <a:ext cx="10224000" cy="415050"/>
          </a:xfrm>
          <a:prstGeom prst="snip2SameRect">
            <a:avLst>
              <a:gd name="adj1" fmla="val 0"/>
              <a:gd name="adj2" fmla="val 0"/>
            </a:avLst>
          </a:prstGeom>
          <a:ln>
            <a:noFill/>
          </a:ln>
        </p:spPr>
        <p:txBody>
          <a:bodyPr wrap="square" lIns="91440" tIns="45720" rIns="91440" bIns="45720" anchor="t">
            <a:noAutofit/>
          </a:bodyPr>
          <a:lstStyle/>
          <a:p>
            <a:pPr>
              <a:lnSpc>
                <a:spcPct val="130000"/>
              </a:lnSpc>
            </a:pPr>
            <a:r>
              <a:rPr lang="zh-CN" altLang="en-US" sz="1200" dirty="0">
                <a:cs typeface="+mn-ea"/>
                <a:sym typeface="+mn-lt"/>
              </a:rPr>
              <a:t>月</a:t>
            </a:r>
            <a:r>
              <a:rPr lang="en-US" altLang="zh-CN" sz="1200" dirty="0">
                <a:cs typeface="+mn-ea"/>
                <a:sym typeface="+mn-lt"/>
              </a:rPr>
              <a:t>3</a:t>
            </a:r>
            <a:r>
              <a:rPr lang="zh-CN" altLang="en-US" sz="1200" dirty="0">
                <a:cs typeface="+mn-ea"/>
                <a:sym typeface="+mn-lt"/>
              </a:rPr>
              <a:t>日，江西省能源局关于做好新能源消纳基础数据按月填报工作的通知。根据通知，各风电、光伏发电项目业主和省级电网企业、增量配电网企业等应及时访问填报系统，自行注册账户，并于每月</a:t>
            </a:r>
            <a:r>
              <a:rPr lang="en-US" altLang="zh-CN" sz="1200" dirty="0">
                <a:cs typeface="+mn-ea"/>
                <a:sym typeface="+mn-lt"/>
              </a:rPr>
              <a:t>15</a:t>
            </a:r>
            <a:r>
              <a:rPr lang="zh-CN" altLang="en-US" sz="1200" dirty="0">
                <a:cs typeface="+mn-ea"/>
                <a:sym typeface="+mn-lt"/>
              </a:rPr>
              <a:t>日前按系统要求填报运行数据。</a:t>
            </a:r>
            <a:endParaRPr lang="en-US" altLang="zh-CN" sz="1200" dirty="0">
              <a:cs typeface="+mn-ea"/>
              <a:sym typeface="+mn-lt"/>
            </a:endParaRPr>
          </a:p>
        </p:txBody>
      </p:sp>
      <p:cxnSp>
        <p:nvCxnSpPr>
          <p:cNvPr id="165" name="išḻîḑé">
            <a:extLst>
              <a:ext uri="{FF2B5EF4-FFF2-40B4-BE49-F238E27FC236}">
                <a16:creationId xmlns:a16="http://schemas.microsoft.com/office/drawing/2014/main" id="{08F4A798-F7D4-B09A-2523-CF0400A99DF6}"/>
              </a:ext>
            </a:extLst>
          </p:cNvPr>
          <p:cNvCxnSpPr/>
          <p:nvPr/>
        </p:nvCxnSpPr>
        <p:spPr>
          <a:xfrm>
            <a:off x="1378034" y="5378288"/>
            <a:ext cx="10080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66" name="íSļiḋe">
            <a:extLst>
              <a:ext uri="{FF2B5EF4-FFF2-40B4-BE49-F238E27FC236}">
                <a16:creationId xmlns:a16="http://schemas.microsoft.com/office/drawing/2014/main" id="{2CA36F73-E674-A4E5-3372-0898A4BF3DE8}"/>
              </a:ext>
            </a:extLst>
          </p:cNvPr>
          <p:cNvSpPr txBox="1"/>
          <p:nvPr/>
        </p:nvSpPr>
        <p:spPr>
          <a:xfrm>
            <a:off x="967780" y="5630732"/>
            <a:ext cx="225000" cy="225000"/>
          </a:xfrm>
          <a:prstGeom prst="rect">
            <a:avLst/>
          </a:prstGeom>
          <a:noFill/>
        </p:spPr>
        <p:txBody>
          <a:bodyPr wrap="none" lIns="90000" tIns="46800" rIns="90000" bIns="46800" rtlCol="0" anchor="ctr" anchorCtr="0">
            <a:prstTxWarp prst="textPlain">
              <a:avLst/>
            </a:prstTxWarp>
            <a:normAutofit fontScale="55000" lnSpcReduction="20000"/>
          </a:bodyPr>
          <a:lstStyle/>
          <a:p>
            <a:pPr algn="ctr"/>
            <a:r>
              <a:rPr lang="en-US" altLang="zh-CN" b="1" dirty="0">
                <a:solidFill>
                  <a:schemeClr val="accent1"/>
                </a:solidFill>
                <a:cs typeface="+mn-ea"/>
                <a:sym typeface="+mn-lt"/>
              </a:rPr>
              <a:t>8.</a:t>
            </a:r>
            <a:endParaRPr lang="zh-CN" altLang="en-US" b="1" dirty="0">
              <a:solidFill>
                <a:schemeClr val="accent1"/>
              </a:solidFill>
              <a:cs typeface="+mn-ea"/>
              <a:sym typeface="+mn-lt"/>
            </a:endParaRPr>
          </a:p>
        </p:txBody>
      </p:sp>
      <p:sp>
        <p:nvSpPr>
          <p:cNvPr id="167" name="ís1ïḋè">
            <a:extLst>
              <a:ext uri="{FF2B5EF4-FFF2-40B4-BE49-F238E27FC236}">
                <a16:creationId xmlns:a16="http://schemas.microsoft.com/office/drawing/2014/main" id="{4EECD827-1BA6-978A-2CAE-C273A961426B}"/>
              </a:ext>
            </a:extLst>
          </p:cNvPr>
          <p:cNvSpPr/>
          <p:nvPr/>
        </p:nvSpPr>
        <p:spPr>
          <a:xfrm>
            <a:off x="1279600" y="5497202"/>
            <a:ext cx="10302797" cy="415050"/>
          </a:xfrm>
          <a:prstGeom prst="snip2SameRect">
            <a:avLst>
              <a:gd name="adj1" fmla="val 0"/>
              <a:gd name="adj2" fmla="val 0"/>
            </a:avLst>
          </a:prstGeom>
          <a:ln>
            <a:noFill/>
          </a:ln>
        </p:spPr>
        <p:txBody>
          <a:bodyPr wrap="square" lIns="91440" tIns="45720" rIns="91440" bIns="45720" anchor="t">
            <a:noAutofit/>
          </a:bodyPr>
          <a:lstStyle/>
          <a:p>
            <a:pPr>
              <a:lnSpc>
                <a:spcPct val="130000"/>
              </a:lnSpc>
            </a:pPr>
            <a:r>
              <a:rPr lang="zh-CN" altLang="en-US" sz="1200" b="0" i="0" dirty="0">
                <a:effectLst/>
                <a:latin typeface="Helvetica Neue"/>
              </a:rPr>
              <a:t>新疆师市</a:t>
            </a:r>
            <a:r>
              <a:rPr lang="en-US" altLang="zh-CN" sz="1200" b="0" i="0" dirty="0">
                <a:effectLst/>
                <a:latin typeface="Helvetica Neue"/>
              </a:rPr>
              <a:t>2024</a:t>
            </a:r>
            <a:r>
              <a:rPr lang="zh-CN" altLang="en-US" sz="1200" b="0" i="0" dirty="0">
                <a:effectLst/>
                <a:latin typeface="Helvetica Neue"/>
              </a:rPr>
              <a:t>年重大项目集中开工仪式在石河子开发区、十户滩化工新材料产业园隆重举行。大全新能源年产</a:t>
            </a:r>
            <a:r>
              <a:rPr lang="en-US" altLang="zh-CN" sz="1200" b="0" i="0" dirty="0">
                <a:effectLst/>
                <a:latin typeface="Helvetica Neue"/>
              </a:rPr>
              <a:t>30</a:t>
            </a:r>
            <a:r>
              <a:rPr lang="zh-CN" altLang="en-US" sz="1200" b="0" i="0" dirty="0">
                <a:effectLst/>
                <a:latin typeface="Helvetica Neue"/>
              </a:rPr>
              <a:t>万吨工业硅、</a:t>
            </a:r>
            <a:r>
              <a:rPr lang="en-US" altLang="zh-CN" sz="1200" b="0" i="0" dirty="0">
                <a:effectLst/>
                <a:latin typeface="Helvetica Neue"/>
              </a:rPr>
              <a:t>10</a:t>
            </a:r>
            <a:r>
              <a:rPr lang="zh-CN" altLang="en-US" sz="1200" b="0" i="0" dirty="0">
                <a:effectLst/>
                <a:latin typeface="Helvetica Neue"/>
              </a:rPr>
              <a:t>万吨多晶硅、</a:t>
            </a:r>
            <a:r>
              <a:rPr lang="en-US" altLang="zh-CN" sz="1200" b="0" i="0" dirty="0">
                <a:effectLst/>
                <a:latin typeface="Helvetica Neue"/>
              </a:rPr>
              <a:t>2000</a:t>
            </a:r>
            <a:r>
              <a:rPr lang="zh-CN" altLang="en-US" sz="1200" b="0" i="0" dirty="0">
                <a:effectLst/>
                <a:latin typeface="Helvetica Neue"/>
              </a:rPr>
              <a:t>台箱变逆变器项目，天山铝业</a:t>
            </a:r>
            <a:r>
              <a:rPr lang="en-US" altLang="zh-CN" sz="1200" b="0" i="0" dirty="0">
                <a:effectLst/>
                <a:latin typeface="Helvetica Neue"/>
              </a:rPr>
              <a:t>140</a:t>
            </a:r>
            <a:r>
              <a:rPr lang="zh-CN" altLang="en-US" sz="1200" b="0" i="0" dirty="0">
                <a:effectLst/>
                <a:latin typeface="Helvetica Neue"/>
              </a:rPr>
              <a:t>万吨电解铝绿色低碳能效提升项目，中清光伏年产</a:t>
            </a:r>
            <a:r>
              <a:rPr lang="en-US" altLang="zh-CN" sz="1200" b="0" i="0" dirty="0">
                <a:effectLst/>
                <a:latin typeface="Helvetica Neue"/>
              </a:rPr>
              <a:t>6GW</a:t>
            </a:r>
            <a:r>
              <a:rPr lang="zh-CN" altLang="en-US" sz="1200" b="0" i="0" dirty="0">
                <a:effectLst/>
                <a:latin typeface="Helvetica Neue"/>
              </a:rPr>
              <a:t>光伏电池项目等</a:t>
            </a:r>
            <a:r>
              <a:rPr lang="en-US" altLang="zh-CN" sz="1200" b="0" i="0" dirty="0">
                <a:effectLst/>
                <a:latin typeface="Helvetica Neue"/>
              </a:rPr>
              <a:t>21</a:t>
            </a:r>
            <a:r>
              <a:rPr lang="zh-CN" altLang="en-US" sz="1200" b="0" i="0" dirty="0">
                <a:effectLst/>
                <a:latin typeface="Helvetica Neue"/>
              </a:rPr>
              <a:t>个重大项目集中开工，项目总投资</a:t>
            </a:r>
            <a:r>
              <a:rPr lang="en-US" altLang="zh-CN" sz="1200" b="0" i="0" dirty="0">
                <a:effectLst/>
                <a:latin typeface="Helvetica Neue"/>
              </a:rPr>
              <a:t>343.7</a:t>
            </a:r>
            <a:r>
              <a:rPr lang="zh-CN" altLang="en-US" sz="1200" b="0" i="0" dirty="0">
                <a:effectLst/>
                <a:latin typeface="Helvetica Neue"/>
              </a:rPr>
              <a:t>亿元。</a:t>
            </a:r>
            <a:endParaRPr lang="en-US" altLang="zh-CN" sz="1200" dirty="0">
              <a:cs typeface="+mn-ea"/>
              <a:sym typeface="+mn-lt"/>
            </a:endParaRPr>
          </a:p>
        </p:txBody>
      </p:sp>
      <p:cxnSp>
        <p:nvCxnSpPr>
          <p:cNvPr id="168" name="îṡ1îdê">
            <a:extLst>
              <a:ext uri="{FF2B5EF4-FFF2-40B4-BE49-F238E27FC236}">
                <a16:creationId xmlns:a16="http://schemas.microsoft.com/office/drawing/2014/main" id="{B419A1C1-3C1B-4A85-F6B7-9B6D57FC6853}"/>
              </a:ext>
            </a:extLst>
          </p:cNvPr>
          <p:cNvCxnSpPr/>
          <p:nvPr/>
        </p:nvCxnSpPr>
        <p:spPr>
          <a:xfrm>
            <a:off x="1378034" y="6076332"/>
            <a:ext cx="10080000"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625585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图片 1">
            <a:extLst>
              <a:ext uri="{FF2B5EF4-FFF2-40B4-BE49-F238E27FC236}">
                <a16:creationId xmlns:a16="http://schemas.microsoft.com/office/drawing/2014/main" id="{ED4BC1EB-63AF-4906-9A5F-B5B6FD8AC0F9}"/>
              </a:ext>
            </a:extLst>
          </p:cNvPr>
          <p:cNvPicPr>
            <a:picLocks noChangeAspect="1"/>
          </p:cNvPicPr>
          <p:nvPr/>
        </p:nvPicPr>
        <p:blipFill>
          <a:blip r:embed="rId11">
            <a:extLst>
              <a:ext uri="{28A0092B-C50C-407E-A947-70E740481C1C}">
                <a14:useLocalDpi xmlns:a14="http://schemas.microsoft.com/office/drawing/2010/main" val="0"/>
              </a:ext>
            </a:extLst>
          </a:blip>
          <a:srcRect l="35039"/>
          <a:stretch>
            <a:fillRect/>
          </a:stretch>
        </p:blipFill>
        <p:spPr bwMode="auto">
          <a:xfrm>
            <a:off x="0" y="1211263"/>
            <a:ext cx="3790950" cy="473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ext Placeholder 2">
            <a:extLst>
              <a:ext uri="{FF2B5EF4-FFF2-40B4-BE49-F238E27FC236}">
                <a16:creationId xmlns:a16="http://schemas.microsoft.com/office/drawing/2014/main" id="{79749A57-C681-44A6-A162-5737EF4EC6C8}"/>
              </a:ext>
            </a:extLst>
          </p:cNvPr>
          <p:cNvSpPr>
            <a:spLocks noGrp="1"/>
          </p:cNvSpPr>
          <p:nvPr>
            <p:custDataLst>
              <p:tags r:id="rId3"/>
            </p:custDataLst>
          </p:nvPr>
        </p:nvSpPr>
        <p:spPr bwMode="gray">
          <a:xfrm>
            <a:off x="4457700" y="2517664"/>
            <a:ext cx="5967412" cy="719138"/>
          </a:xfrm>
          <a:prstGeom prst="rect">
            <a:avLst/>
          </a:prstGeom>
          <a:solidFill>
            <a:srgbClr val="007680"/>
          </a:solid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chemeClr val="bg1"/>
                </a:solidFill>
                <a:latin typeface="+mn-lt"/>
                <a:ea typeface="+mn-ea"/>
                <a:cs typeface="+mn-ea"/>
                <a:sym typeface="+mn-lt"/>
              </a:rPr>
              <a:t>现货与期货价格</a:t>
            </a:r>
            <a:endParaRPr lang="en-US" altLang="zh-CN" sz="2000" b="1" dirty="0">
              <a:solidFill>
                <a:schemeClr val="bg1"/>
              </a:solidFill>
              <a:latin typeface="+mn-lt"/>
              <a:ea typeface="+mn-ea"/>
              <a:cs typeface="+mn-ea"/>
              <a:sym typeface="+mn-lt"/>
            </a:endParaRPr>
          </a:p>
        </p:txBody>
      </p:sp>
      <p:sp>
        <p:nvSpPr>
          <p:cNvPr id="6148" name="标题 1">
            <a:extLst>
              <a:ext uri="{FF2B5EF4-FFF2-40B4-BE49-F238E27FC236}">
                <a16:creationId xmlns:a16="http://schemas.microsoft.com/office/drawing/2014/main" id="{08C718D0-164A-401F-831C-2638993756F3}"/>
              </a:ext>
            </a:extLst>
          </p:cNvPr>
          <p:cNvSpPr txBox="1">
            <a:spLocks noChangeArrowheads="1"/>
          </p:cNvSpPr>
          <p:nvPr/>
        </p:nvSpPr>
        <p:spPr bwMode="auto">
          <a:xfrm>
            <a:off x="4457700" y="404813"/>
            <a:ext cx="7886700" cy="132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lnSpc>
                <a:spcPct val="90000"/>
              </a:lnSpc>
              <a:spcBef>
                <a:spcPct val="0"/>
              </a:spcBef>
              <a:buFontTx/>
              <a:buNone/>
            </a:pPr>
            <a:r>
              <a:rPr lang="zh-CN" altLang="en-US" sz="2800" b="1">
                <a:solidFill>
                  <a:srgbClr val="007680"/>
                </a:solidFill>
                <a:latin typeface="+mn-lt"/>
                <a:ea typeface="+mn-ea"/>
                <a:cs typeface="+mn-ea"/>
                <a:sym typeface="+mn-lt"/>
              </a:rPr>
              <a:t>目录</a:t>
            </a:r>
            <a:endParaRPr lang="en-US" altLang="zh-CN" sz="2800" b="1">
              <a:solidFill>
                <a:srgbClr val="007680"/>
              </a:solidFill>
              <a:latin typeface="+mn-lt"/>
              <a:ea typeface="+mn-ea"/>
              <a:cs typeface="+mn-ea"/>
              <a:sym typeface="+mn-lt"/>
            </a:endParaRPr>
          </a:p>
        </p:txBody>
      </p:sp>
      <p:sp>
        <p:nvSpPr>
          <p:cNvPr id="6149" name="Text Placeholder 2">
            <a:extLst>
              <a:ext uri="{FF2B5EF4-FFF2-40B4-BE49-F238E27FC236}">
                <a16:creationId xmlns:a16="http://schemas.microsoft.com/office/drawing/2014/main" id="{6645C107-EAB8-4096-A57C-AA15FA7E38FB}"/>
              </a:ext>
            </a:extLst>
          </p:cNvPr>
          <p:cNvSpPr>
            <a:spLocks noGrp="1" noChangeArrowheads="1"/>
          </p:cNvSpPr>
          <p:nvPr>
            <p:custDataLst>
              <p:tags r:id="rId4"/>
            </p:custDataLst>
          </p:nvPr>
        </p:nvSpPr>
        <p:spPr bwMode="gray">
          <a:xfrm>
            <a:off x="4457700" y="3235629"/>
            <a:ext cx="5967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供应情况</a:t>
            </a:r>
            <a:endParaRPr lang="en-US" altLang="zh-CN" sz="2000" b="1" dirty="0">
              <a:solidFill>
                <a:srgbClr val="007680"/>
              </a:solidFill>
              <a:latin typeface="+mn-lt"/>
              <a:ea typeface="+mn-ea"/>
              <a:cs typeface="+mn-ea"/>
              <a:sym typeface="+mn-lt"/>
            </a:endParaRPr>
          </a:p>
        </p:txBody>
      </p:sp>
      <p:sp>
        <p:nvSpPr>
          <p:cNvPr id="6150" name="Text Placeholder 2">
            <a:extLst>
              <a:ext uri="{FF2B5EF4-FFF2-40B4-BE49-F238E27FC236}">
                <a16:creationId xmlns:a16="http://schemas.microsoft.com/office/drawing/2014/main" id="{753CE32B-266E-44D7-B284-27428EF974FE}"/>
              </a:ext>
            </a:extLst>
          </p:cNvPr>
          <p:cNvSpPr>
            <a:spLocks noGrp="1" noChangeArrowheads="1"/>
          </p:cNvSpPr>
          <p:nvPr>
            <p:custDataLst>
              <p:tags r:id="rId5"/>
            </p:custDataLst>
          </p:nvPr>
        </p:nvSpPr>
        <p:spPr bwMode="gray">
          <a:xfrm>
            <a:off x="4457700" y="3955181"/>
            <a:ext cx="5967412"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需求情况</a:t>
            </a:r>
            <a:endParaRPr lang="en-US" altLang="zh-CN" sz="2000" b="1" dirty="0">
              <a:solidFill>
                <a:srgbClr val="007680"/>
              </a:solidFill>
              <a:latin typeface="+mn-lt"/>
              <a:ea typeface="+mn-ea"/>
              <a:cs typeface="+mn-ea"/>
              <a:sym typeface="+mn-lt"/>
            </a:endParaRPr>
          </a:p>
        </p:txBody>
      </p:sp>
      <p:sp>
        <p:nvSpPr>
          <p:cNvPr id="6151" name="Text Placeholder 2">
            <a:extLst>
              <a:ext uri="{FF2B5EF4-FFF2-40B4-BE49-F238E27FC236}">
                <a16:creationId xmlns:a16="http://schemas.microsoft.com/office/drawing/2014/main" id="{2BAC68A4-92B8-4CEA-BE34-8D5038007401}"/>
              </a:ext>
            </a:extLst>
          </p:cNvPr>
          <p:cNvSpPr>
            <a:spLocks noGrp="1" noChangeArrowheads="1"/>
          </p:cNvSpPr>
          <p:nvPr>
            <p:custDataLst>
              <p:tags r:id="rId6"/>
            </p:custDataLst>
          </p:nvPr>
        </p:nvSpPr>
        <p:spPr bwMode="gray">
          <a:xfrm>
            <a:off x="4457700" y="4673146"/>
            <a:ext cx="5967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库存情况</a:t>
            </a:r>
            <a:endParaRPr lang="en-US" altLang="zh-CN" sz="2000" b="1" dirty="0">
              <a:solidFill>
                <a:srgbClr val="007680"/>
              </a:solidFill>
              <a:latin typeface="+mn-lt"/>
              <a:ea typeface="+mn-ea"/>
              <a:cs typeface="+mn-ea"/>
              <a:sym typeface="+mn-lt"/>
            </a:endParaRPr>
          </a:p>
        </p:txBody>
      </p:sp>
      <p:sp>
        <p:nvSpPr>
          <p:cNvPr id="6153" name="灯片编号占位符 1">
            <a:extLst>
              <a:ext uri="{FF2B5EF4-FFF2-40B4-BE49-F238E27FC236}">
                <a16:creationId xmlns:a16="http://schemas.microsoft.com/office/drawing/2014/main" id="{FB454E3B-C50C-4196-9B11-779975A80A2A}"/>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fld id="{C6595CE2-4FFC-466C-9857-5B197AF4AF3E}" type="slidenum">
              <a:rPr lang="zh-CN" altLang="en-US" sz="1200" smtClean="0">
                <a:solidFill>
                  <a:srgbClr val="898989"/>
                </a:solidFill>
                <a:latin typeface="+mn-lt"/>
                <a:ea typeface="+mn-ea"/>
                <a:cs typeface="+mn-ea"/>
                <a:sym typeface="+mn-lt"/>
              </a:rPr>
              <a:pPr>
                <a:spcBef>
                  <a:spcPct val="0"/>
                </a:spcBef>
                <a:buFontTx/>
                <a:buNone/>
              </a:pPr>
              <a:t>4</a:t>
            </a:fld>
            <a:endParaRPr lang="zh-CN" altLang="en-US" sz="1200">
              <a:solidFill>
                <a:srgbClr val="898989"/>
              </a:solidFill>
              <a:latin typeface="+mn-lt"/>
              <a:ea typeface="+mn-ea"/>
              <a:cs typeface="+mn-ea"/>
              <a:sym typeface="+mn-lt"/>
            </a:endParaRPr>
          </a:p>
        </p:txBody>
      </p:sp>
      <p:sp>
        <p:nvSpPr>
          <p:cNvPr id="9" name="Text Placeholder 2">
            <a:extLst>
              <a:ext uri="{FF2B5EF4-FFF2-40B4-BE49-F238E27FC236}">
                <a16:creationId xmlns:a16="http://schemas.microsoft.com/office/drawing/2014/main" id="{A10AECED-F4FD-46F5-B9F3-AB5F5DD25C1F}"/>
              </a:ext>
            </a:extLst>
          </p:cNvPr>
          <p:cNvSpPr>
            <a:spLocks noGrp="1"/>
          </p:cNvSpPr>
          <p:nvPr>
            <p:custDataLst>
              <p:tags r:id="rId7"/>
            </p:custDataLst>
          </p:nvPr>
        </p:nvSpPr>
        <p:spPr bwMode="gray">
          <a:xfrm>
            <a:off x="4457700" y="1799699"/>
            <a:ext cx="5967412" cy="719138"/>
          </a:xfrm>
          <a:prstGeom prst="rect">
            <a:avLst/>
          </a:prstGeom>
          <a:no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政策与要闻</a:t>
            </a:r>
            <a:endParaRPr lang="en-US" altLang="zh-CN" sz="2000" b="1" dirty="0">
              <a:solidFill>
                <a:srgbClr val="007680"/>
              </a:solidFill>
              <a:latin typeface="+mn-lt"/>
              <a:ea typeface="+mn-ea"/>
              <a:cs typeface="+mn-ea"/>
              <a:sym typeface="+mn-lt"/>
            </a:endParaRPr>
          </a:p>
        </p:txBody>
      </p:sp>
      <p:sp>
        <p:nvSpPr>
          <p:cNvPr id="10" name="Text Placeholder 2">
            <a:extLst>
              <a:ext uri="{FF2B5EF4-FFF2-40B4-BE49-F238E27FC236}">
                <a16:creationId xmlns:a16="http://schemas.microsoft.com/office/drawing/2014/main" id="{5FDD16B3-299C-4B7C-8ED2-3CFA88CC1BF0}"/>
              </a:ext>
            </a:extLst>
          </p:cNvPr>
          <p:cNvSpPr>
            <a:spLocks noGrp="1" noChangeArrowheads="1"/>
          </p:cNvSpPr>
          <p:nvPr>
            <p:custDataLst>
              <p:tags r:id="rId8"/>
            </p:custDataLst>
          </p:nvPr>
        </p:nvSpPr>
        <p:spPr bwMode="gray">
          <a:xfrm>
            <a:off x="4457700" y="5396966"/>
            <a:ext cx="5967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结论</a:t>
            </a:r>
            <a:endParaRPr lang="en-US" altLang="zh-CN" sz="2000" b="1" dirty="0">
              <a:solidFill>
                <a:srgbClr val="007680"/>
              </a:solidFill>
              <a:latin typeface="+mn-lt"/>
              <a:ea typeface="+mn-ea"/>
              <a:cs typeface="+mn-ea"/>
              <a:sym typeface="+mn-lt"/>
            </a:endParaRPr>
          </a:p>
        </p:txBody>
      </p:sp>
    </p:spTree>
    <p:custDataLst>
      <p:tags r:id="rId2"/>
    </p:custDataLst>
    <p:extLst>
      <p:ext uri="{BB962C8B-B14F-4D97-AF65-F5344CB8AC3E}">
        <p14:creationId xmlns:p14="http://schemas.microsoft.com/office/powerpoint/2010/main" val="2223269901"/>
      </p:ext>
    </p:extLst>
  </p:cSld>
  <p:clrMapOvr>
    <a:masterClrMapping/>
  </p:clrMapOvr>
  <p:transition advTm="10000"/>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23D996C-F1F9-4F96-9D52-48392285102A}"/>
              </a:ext>
            </a:extLst>
          </p:cNvPr>
          <p:cNvSpPr>
            <a:spLocks noGrp="1"/>
          </p:cNvSpPr>
          <p:nvPr>
            <p:ph type="title"/>
          </p:nvPr>
        </p:nvSpPr>
        <p:spPr/>
        <p:txBody>
          <a:bodyPr/>
          <a:lstStyle/>
          <a:p>
            <a:r>
              <a:rPr lang="zh-CN" altLang="en-US" dirty="0">
                <a:latin typeface="+mn-lt"/>
                <a:ea typeface="+mn-ea"/>
                <a:cs typeface="+mn-ea"/>
                <a:sym typeface="+mn-lt"/>
              </a:rPr>
              <a:t>工业硅期货主力合约底部震荡；现货价格维持弱势</a:t>
            </a:r>
          </a:p>
        </p:txBody>
      </p:sp>
      <p:sp>
        <p:nvSpPr>
          <p:cNvPr id="3" name="灯片编号占位符 2">
            <a:extLst>
              <a:ext uri="{FF2B5EF4-FFF2-40B4-BE49-F238E27FC236}">
                <a16:creationId xmlns:a16="http://schemas.microsoft.com/office/drawing/2014/main" id="{76A46041-87C1-42DC-97D7-1C236CD38739}"/>
              </a:ext>
            </a:extLst>
          </p:cNvPr>
          <p:cNvSpPr>
            <a:spLocks noGrp="1"/>
          </p:cNvSpPr>
          <p:nvPr>
            <p:ph type="sldNum" sz="quarter" idx="11"/>
          </p:nvPr>
        </p:nvSpPr>
        <p:spPr/>
        <p:txBody>
          <a:bodyPr/>
          <a:lstStyle/>
          <a:p>
            <a:pPr>
              <a:defRPr/>
            </a:pPr>
            <a:fld id="{8E2C30CB-4307-4BB9-B24E-988C520472CC}" type="slidenum">
              <a:rPr lang="zh-CN" altLang="en-US" smtClean="0">
                <a:latin typeface="+mn-lt"/>
                <a:ea typeface="+mn-ea"/>
                <a:cs typeface="+mn-ea"/>
                <a:sym typeface="+mn-lt"/>
              </a:rPr>
              <a:pPr>
                <a:defRPr/>
              </a:pPr>
              <a:t>5</a:t>
            </a:fld>
            <a:endParaRPr lang="zh-CN" altLang="en-US">
              <a:latin typeface="+mn-lt"/>
              <a:ea typeface="+mn-ea"/>
              <a:cs typeface="+mn-ea"/>
              <a:sym typeface="+mn-lt"/>
            </a:endParaRPr>
          </a:p>
        </p:txBody>
      </p:sp>
      <p:sp>
        <p:nvSpPr>
          <p:cNvPr id="5" name="文本框 14">
            <a:extLst>
              <a:ext uri="{FF2B5EF4-FFF2-40B4-BE49-F238E27FC236}">
                <a16:creationId xmlns:a16="http://schemas.microsoft.com/office/drawing/2014/main" id="{634812D7-BA33-4B10-8AE3-BCDF5FD38D94}"/>
              </a:ext>
            </a:extLst>
          </p:cNvPr>
          <p:cNvSpPr txBox="1">
            <a:spLocks noChangeArrowheads="1"/>
          </p:cNvSpPr>
          <p:nvPr/>
        </p:nvSpPr>
        <p:spPr bwMode="auto">
          <a:xfrm>
            <a:off x="259080" y="1273818"/>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8" name="灯片编号占位符 2">
            <a:extLst>
              <a:ext uri="{FF2B5EF4-FFF2-40B4-BE49-F238E27FC236}">
                <a16:creationId xmlns:a16="http://schemas.microsoft.com/office/drawing/2014/main" id="{12B26DB2-ABCC-4DCB-86E4-D0B63533CFB4}"/>
              </a:ext>
            </a:extLst>
          </p:cNvPr>
          <p:cNvSpPr txBox="1">
            <a:spLocks noChangeArrowheads="1"/>
          </p:cNvSpPr>
          <p:nvPr/>
        </p:nvSpPr>
        <p:spPr bwMode="auto">
          <a:xfrm>
            <a:off x="190500" y="6369050"/>
            <a:ext cx="396761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同花顺，</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新湖研究所</a:t>
            </a:r>
          </a:p>
        </p:txBody>
      </p:sp>
      <p:sp>
        <p:nvSpPr>
          <p:cNvPr id="11" name="文本框 14">
            <a:extLst>
              <a:ext uri="{FF2B5EF4-FFF2-40B4-BE49-F238E27FC236}">
                <a16:creationId xmlns:a16="http://schemas.microsoft.com/office/drawing/2014/main" id="{252B1A0F-CA9A-495C-B918-D929D93ECE45}"/>
              </a:ext>
            </a:extLst>
          </p:cNvPr>
          <p:cNvSpPr txBox="1">
            <a:spLocks noChangeArrowheads="1"/>
          </p:cNvSpPr>
          <p:nvPr/>
        </p:nvSpPr>
        <p:spPr bwMode="auto">
          <a:xfrm>
            <a:off x="6030958" y="1273818"/>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graphicFrame>
        <p:nvGraphicFramePr>
          <p:cNvPr id="4" name="图表 3">
            <a:extLst>
              <a:ext uri="{FF2B5EF4-FFF2-40B4-BE49-F238E27FC236}">
                <a16:creationId xmlns:a16="http://schemas.microsoft.com/office/drawing/2014/main" id="{0DDE9CB5-5533-85EE-CF25-F07D0361F1D6}"/>
              </a:ext>
            </a:extLst>
          </p:cNvPr>
          <p:cNvGraphicFramePr>
            <a:graphicFrameLocks/>
          </p:cNvGraphicFramePr>
          <p:nvPr>
            <p:extLst>
              <p:ext uri="{D42A27DB-BD31-4B8C-83A1-F6EECF244321}">
                <p14:modId xmlns:p14="http://schemas.microsoft.com/office/powerpoint/2010/main" val="1895021806"/>
              </p:ext>
            </p:extLst>
          </p:nvPr>
        </p:nvGraphicFramePr>
        <p:xfrm>
          <a:off x="259079" y="1173707"/>
          <a:ext cx="5836921" cy="49515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图表 5">
            <a:extLst>
              <a:ext uri="{FF2B5EF4-FFF2-40B4-BE49-F238E27FC236}">
                <a16:creationId xmlns:a16="http://schemas.microsoft.com/office/drawing/2014/main" id="{00000000-0008-0000-0700-000003000000}"/>
              </a:ext>
            </a:extLst>
          </p:cNvPr>
          <p:cNvGraphicFramePr>
            <a:graphicFrameLocks/>
          </p:cNvGraphicFramePr>
          <p:nvPr>
            <p:extLst>
              <p:ext uri="{D42A27DB-BD31-4B8C-83A1-F6EECF244321}">
                <p14:modId xmlns:p14="http://schemas.microsoft.com/office/powerpoint/2010/main" val="1263365928"/>
              </p:ext>
            </p:extLst>
          </p:nvPr>
        </p:nvGraphicFramePr>
        <p:xfrm>
          <a:off x="5996140" y="1173707"/>
          <a:ext cx="5836921" cy="507014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88370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AC2FA77-83F6-3679-CF5E-6D3B6862A32E}"/>
              </a:ext>
            </a:extLst>
          </p:cNvPr>
          <p:cNvSpPr>
            <a:spLocks noGrp="1"/>
          </p:cNvSpPr>
          <p:nvPr>
            <p:ph type="title"/>
          </p:nvPr>
        </p:nvSpPr>
        <p:spPr/>
        <p:txBody>
          <a:bodyPr/>
          <a:lstStyle/>
          <a:p>
            <a:r>
              <a:rPr lang="zh-CN" altLang="en-US" dirty="0">
                <a:latin typeface="+mn-lt"/>
                <a:ea typeface="+mn-ea"/>
                <a:cs typeface="+mn-ea"/>
                <a:sym typeface="+mn-lt"/>
              </a:rPr>
              <a:t>高低品价差走阔；低品南北价差收窄，高品南北价差小幅收缩；通氧不通氧价差减小</a:t>
            </a:r>
          </a:p>
        </p:txBody>
      </p:sp>
      <p:sp>
        <p:nvSpPr>
          <p:cNvPr id="3" name="灯片编号占位符 2">
            <a:extLst>
              <a:ext uri="{FF2B5EF4-FFF2-40B4-BE49-F238E27FC236}">
                <a16:creationId xmlns:a16="http://schemas.microsoft.com/office/drawing/2014/main" id="{0AEBAF77-E741-5BF8-ED31-CACD19EC072A}"/>
              </a:ext>
            </a:extLst>
          </p:cNvPr>
          <p:cNvSpPr>
            <a:spLocks noGrp="1"/>
          </p:cNvSpPr>
          <p:nvPr>
            <p:ph type="sldNum" sz="quarter" idx="11"/>
          </p:nvPr>
        </p:nvSpPr>
        <p:spPr/>
        <p:txBody>
          <a:bodyPr/>
          <a:lstStyle/>
          <a:p>
            <a:pPr>
              <a:defRPr/>
            </a:pPr>
            <a:fld id="{8E2C30CB-4307-4BB9-B24E-988C520472CC}" type="slidenum">
              <a:rPr lang="zh-CN" altLang="en-US" smtClean="0">
                <a:latin typeface="+mn-lt"/>
                <a:ea typeface="+mn-ea"/>
                <a:cs typeface="+mn-ea"/>
                <a:sym typeface="+mn-lt"/>
              </a:rPr>
              <a:pPr>
                <a:defRPr/>
              </a:pPr>
              <a:t>6</a:t>
            </a:fld>
            <a:endParaRPr lang="zh-CN" altLang="en-US">
              <a:latin typeface="+mn-lt"/>
              <a:ea typeface="+mn-ea"/>
              <a:cs typeface="+mn-ea"/>
              <a:sym typeface="+mn-lt"/>
            </a:endParaRPr>
          </a:p>
        </p:txBody>
      </p:sp>
      <p:grpSp>
        <p:nvGrpSpPr>
          <p:cNvPr id="15" name="组合 14">
            <a:extLst>
              <a:ext uri="{FF2B5EF4-FFF2-40B4-BE49-F238E27FC236}">
                <a16:creationId xmlns:a16="http://schemas.microsoft.com/office/drawing/2014/main" id="{54C66939-4734-86AA-076B-DE36F3E405A5}"/>
              </a:ext>
            </a:extLst>
          </p:cNvPr>
          <p:cNvGrpSpPr/>
          <p:nvPr/>
        </p:nvGrpSpPr>
        <p:grpSpPr>
          <a:xfrm>
            <a:off x="189689" y="873860"/>
            <a:ext cx="11478639" cy="5332387"/>
            <a:chOff x="809016" y="873860"/>
            <a:chExt cx="9360000" cy="5040000"/>
          </a:xfrm>
        </p:grpSpPr>
        <p:graphicFrame>
          <p:nvGraphicFramePr>
            <p:cNvPr id="8" name="图表 7">
              <a:extLst>
                <a:ext uri="{FF2B5EF4-FFF2-40B4-BE49-F238E27FC236}">
                  <a16:creationId xmlns:a16="http://schemas.microsoft.com/office/drawing/2014/main" id="{D3F23559-E27D-7BC0-F598-1FA5628C5ECE}"/>
                </a:ext>
              </a:extLst>
            </p:cNvPr>
            <p:cNvGraphicFramePr>
              <a:graphicFrameLocks/>
            </p:cNvGraphicFramePr>
            <p:nvPr>
              <p:extLst>
                <p:ext uri="{D42A27DB-BD31-4B8C-83A1-F6EECF244321}">
                  <p14:modId xmlns:p14="http://schemas.microsoft.com/office/powerpoint/2010/main" val="601738855"/>
                </p:ext>
              </p:extLst>
            </p:nvPr>
          </p:nvGraphicFramePr>
          <p:xfrm>
            <a:off x="5489016" y="3393860"/>
            <a:ext cx="4680000" cy="25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图表 9">
              <a:extLst>
                <a:ext uri="{FF2B5EF4-FFF2-40B4-BE49-F238E27FC236}">
                  <a16:creationId xmlns:a16="http://schemas.microsoft.com/office/drawing/2014/main" id="{00000000-0008-0000-2000-000002000000}"/>
                </a:ext>
              </a:extLst>
            </p:cNvPr>
            <p:cNvGraphicFramePr>
              <a:graphicFrameLocks/>
            </p:cNvGraphicFramePr>
            <p:nvPr>
              <p:extLst>
                <p:ext uri="{D42A27DB-BD31-4B8C-83A1-F6EECF244321}">
                  <p14:modId xmlns:p14="http://schemas.microsoft.com/office/powerpoint/2010/main" val="3364675387"/>
                </p:ext>
              </p:extLst>
            </p:nvPr>
          </p:nvGraphicFramePr>
          <p:xfrm>
            <a:off x="809016" y="3393860"/>
            <a:ext cx="4680000" cy="252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图表 13">
              <a:extLst>
                <a:ext uri="{FF2B5EF4-FFF2-40B4-BE49-F238E27FC236}">
                  <a16:creationId xmlns:a16="http://schemas.microsoft.com/office/drawing/2014/main" id="{00000000-0008-0000-2000-000003000000}"/>
                </a:ext>
              </a:extLst>
            </p:cNvPr>
            <p:cNvGraphicFramePr>
              <a:graphicFrameLocks/>
            </p:cNvGraphicFramePr>
            <p:nvPr>
              <p:extLst>
                <p:ext uri="{D42A27DB-BD31-4B8C-83A1-F6EECF244321}">
                  <p14:modId xmlns:p14="http://schemas.microsoft.com/office/powerpoint/2010/main" val="3442466910"/>
                </p:ext>
              </p:extLst>
            </p:nvPr>
          </p:nvGraphicFramePr>
          <p:xfrm>
            <a:off x="5489016" y="873860"/>
            <a:ext cx="4680000" cy="2520000"/>
          </p:xfrm>
          <a:graphic>
            <a:graphicData uri="http://schemas.openxmlformats.org/drawingml/2006/chart">
              <c:chart xmlns:c="http://schemas.openxmlformats.org/drawingml/2006/chart" xmlns:r="http://schemas.openxmlformats.org/officeDocument/2006/relationships" r:id="rId5"/>
            </a:graphicData>
          </a:graphic>
        </p:graphicFrame>
      </p:grpSp>
      <p:graphicFrame>
        <p:nvGraphicFramePr>
          <p:cNvPr id="16" name="图表 15">
            <a:extLst>
              <a:ext uri="{FF2B5EF4-FFF2-40B4-BE49-F238E27FC236}">
                <a16:creationId xmlns:a16="http://schemas.microsoft.com/office/drawing/2014/main" id="{4602D644-0602-0188-2D3F-2AD977EC7683}"/>
              </a:ext>
            </a:extLst>
          </p:cNvPr>
          <p:cNvGraphicFramePr>
            <a:graphicFrameLocks/>
          </p:cNvGraphicFramePr>
          <p:nvPr>
            <p:extLst>
              <p:ext uri="{D42A27DB-BD31-4B8C-83A1-F6EECF244321}">
                <p14:modId xmlns:p14="http://schemas.microsoft.com/office/powerpoint/2010/main" val="557637583"/>
              </p:ext>
            </p:extLst>
          </p:nvPr>
        </p:nvGraphicFramePr>
        <p:xfrm>
          <a:off x="292410" y="872453"/>
          <a:ext cx="5738400" cy="2667600"/>
        </p:xfrm>
        <a:graphic>
          <a:graphicData uri="http://schemas.openxmlformats.org/drawingml/2006/chart">
            <c:chart xmlns:c="http://schemas.openxmlformats.org/drawingml/2006/chart" xmlns:r="http://schemas.openxmlformats.org/officeDocument/2006/relationships" r:id="rId6"/>
          </a:graphicData>
        </a:graphic>
      </p:graphicFrame>
      <p:sp>
        <p:nvSpPr>
          <p:cNvPr id="4" name="灯片编号占位符 2">
            <a:extLst>
              <a:ext uri="{FF2B5EF4-FFF2-40B4-BE49-F238E27FC236}">
                <a16:creationId xmlns:a16="http://schemas.microsoft.com/office/drawing/2014/main" id="{F0019435-7EC5-6150-18BA-1520FCAAD614}"/>
              </a:ext>
            </a:extLst>
          </p:cNvPr>
          <p:cNvSpPr txBox="1">
            <a:spLocks noChangeArrowheads="1"/>
          </p:cNvSpPr>
          <p:nvPr/>
        </p:nvSpPr>
        <p:spPr bwMode="auto">
          <a:xfrm>
            <a:off x="190500" y="6369050"/>
            <a:ext cx="396761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同花顺，</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新湖研究所</a:t>
            </a:r>
          </a:p>
        </p:txBody>
      </p:sp>
    </p:spTree>
    <p:extLst>
      <p:ext uri="{BB962C8B-B14F-4D97-AF65-F5344CB8AC3E}">
        <p14:creationId xmlns:p14="http://schemas.microsoft.com/office/powerpoint/2010/main" val="35200221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B30B59D-1DC1-40C6-863B-4FF7DEB9A80A}"/>
              </a:ext>
            </a:extLst>
          </p:cNvPr>
          <p:cNvSpPr>
            <a:spLocks noGrp="1"/>
          </p:cNvSpPr>
          <p:nvPr>
            <p:ph type="title"/>
          </p:nvPr>
        </p:nvSpPr>
        <p:spPr/>
        <p:txBody>
          <a:bodyPr/>
          <a:lstStyle/>
          <a:p>
            <a:r>
              <a:rPr lang="zh-CN" altLang="en-US" dirty="0">
                <a:latin typeface="+mn-lt"/>
                <a:ea typeface="+mn-ea"/>
                <a:cs typeface="+mn-ea"/>
                <a:sym typeface="+mn-lt"/>
              </a:rPr>
              <a:t>本周工业硅主力合约基差环比收缩</a:t>
            </a:r>
          </a:p>
        </p:txBody>
      </p:sp>
      <p:sp>
        <p:nvSpPr>
          <p:cNvPr id="3" name="灯片编号占位符 2">
            <a:extLst>
              <a:ext uri="{FF2B5EF4-FFF2-40B4-BE49-F238E27FC236}">
                <a16:creationId xmlns:a16="http://schemas.microsoft.com/office/drawing/2014/main" id="{1D7A9239-CA4D-4DFA-82E3-F02D51D4D608}"/>
              </a:ext>
            </a:extLst>
          </p:cNvPr>
          <p:cNvSpPr>
            <a:spLocks noGrp="1"/>
          </p:cNvSpPr>
          <p:nvPr>
            <p:ph type="sldNum" sz="quarter" idx="11"/>
          </p:nvPr>
        </p:nvSpPr>
        <p:spPr/>
        <p:txBody>
          <a:bodyPr/>
          <a:lstStyle/>
          <a:p>
            <a:pPr>
              <a:defRPr/>
            </a:pPr>
            <a:fld id="{8E2C30CB-4307-4BB9-B24E-988C520472CC}" type="slidenum">
              <a:rPr lang="zh-CN" altLang="en-US" smtClean="0">
                <a:latin typeface="+mn-lt"/>
                <a:ea typeface="+mn-ea"/>
                <a:cs typeface="+mn-ea"/>
                <a:sym typeface="+mn-lt"/>
              </a:rPr>
              <a:pPr>
                <a:defRPr/>
              </a:pPr>
              <a:t>7</a:t>
            </a:fld>
            <a:endParaRPr lang="zh-CN" altLang="en-US" dirty="0">
              <a:latin typeface="+mn-lt"/>
              <a:ea typeface="+mn-ea"/>
              <a:cs typeface="+mn-ea"/>
              <a:sym typeface="+mn-lt"/>
            </a:endParaRPr>
          </a:p>
        </p:txBody>
      </p:sp>
      <p:sp>
        <p:nvSpPr>
          <p:cNvPr id="14" name="文本框 14">
            <a:extLst>
              <a:ext uri="{FF2B5EF4-FFF2-40B4-BE49-F238E27FC236}">
                <a16:creationId xmlns:a16="http://schemas.microsoft.com/office/drawing/2014/main" id="{11408643-4F82-4D6B-AA1A-BFFB9DF5D321}"/>
              </a:ext>
            </a:extLst>
          </p:cNvPr>
          <p:cNvSpPr txBox="1">
            <a:spLocks noChangeArrowheads="1"/>
          </p:cNvSpPr>
          <p:nvPr/>
        </p:nvSpPr>
        <p:spPr bwMode="auto">
          <a:xfrm>
            <a:off x="190500" y="1049519"/>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8" name="文本框 14">
            <a:extLst>
              <a:ext uri="{FF2B5EF4-FFF2-40B4-BE49-F238E27FC236}">
                <a16:creationId xmlns:a16="http://schemas.microsoft.com/office/drawing/2014/main" id="{79EF7A73-110F-0A7F-372C-4C818441740D}"/>
              </a:ext>
            </a:extLst>
          </p:cNvPr>
          <p:cNvSpPr txBox="1">
            <a:spLocks noChangeArrowheads="1"/>
          </p:cNvSpPr>
          <p:nvPr/>
        </p:nvSpPr>
        <p:spPr bwMode="auto">
          <a:xfrm>
            <a:off x="5971730" y="1049518"/>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0" name="文本框 14">
            <a:extLst>
              <a:ext uri="{FF2B5EF4-FFF2-40B4-BE49-F238E27FC236}">
                <a16:creationId xmlns:a16="http://schemas.microsoft.com/office/drawing/2014/main" id="{73AF3109-82E4-C886-6D75-2A0823887CBE}"/>
              </a:ext>
            </a:extLst>
          </p:cNvPr>
          <p:cNvSpPr txBox="1">
            <a:spLocks noChangeArrowheads="1"/>
          </p:cNvSpPr>
          <p:nvPr/>
        </p:nvSpPr>
        <p:spPr bwMode="auto">
          <a:xfrm>
            <a:off x="5971730" y="3679711"/>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1" name="文本框 14">
            <a:extLst>
              <a:ext uri="{FF2B5EF4-FFF2-40B4-BE49-F238E27FC236}">
                <a16:creationId xmlns:a16="http://schemas.microsoft.com/office/drawing/2014/main" id="{8DA7F531-D36E-D003-4DF6-E5AB72C66D20}"/>
              </a:ext>
            </a:extLst>
          </p:cNvPr>
          <p:cNvSpPr txBox="1">
            <a:spLocks noChangeArrowheads="1"/>
          </p:cNvSpPr>
          <p:nvPr/>
        </p:nvSpPr>
        <p:spPr bwMode="auto">
          <a:xfrm>
            <a:off x="228066" y="3651814"/>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2" name="灯片编号占位符 2">
            <a:extLst>
              <a:ext uri="{FF2B5EF4-FFF2-40B4-BE49-F238E27FC236}">
                <a16:creationId xmlns:a16="http://schemas.microsoft.com/office/drawing/2014/main" id="{40ED2879-D5BA-113C-BDDE-1395F671AFA8}"/>
              </a:ext>
            </a:extLst>
          </p:cNvPr>
          <p:cNvSpPr txBox="1">
            <a:spLocks noChangeArrowheads="1"/>
          </p:cNvSpPr>
          <p:nvPr/>
        </p:nvSpPr>
        <p:spPr bwMode="auto">
          <a:xfrm>
            <a:off x="190500" y="6369050"/>
            <a:ext cx="396761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同花顺，</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新湖研究所</a:t>
            </a:r>
          </a:p>
        </p:txBody>
      </p:sp>
      <p:graphicFrame>
        <p:nvGraphicFramePr>
          <p:cNvPr id="5" name="图表 4">
            <a:extLst>
              <a:ext uri="{FF2B5EF4-FFF2-40B4-BE49-F238E27FC236}">
                <a16:creationId xmlns:a16="http://schemas.microsoft.com/office/drawing/2014/main" id="{25A00D72-4898-57B0-CA30-B59AAC632F1E}"/>
              </a:ext>
            </a:extLst>
          </p:cNvPr>
          <p:cNvGraphicFramePr>
            <a:graphicFrameLocks/>
          </p:cNvGraphicFramePr>
          <p:nvPr>
            <p:extLst>
              <p:ext uri="{D42A27DB-BD31-4B8C-83A1-F6EECF244321}">
                <p14:modId xmlns:p14="http://schemas.microsoft.com/office/powerpoint/2010/main" val="1778815556"/>
              </p:ext>
            </p:extLst>
          </p:nvPr>
        </p:nvGraphicFramePr>
        <p:xfrm>
          <a:off x="190500" y="3556204"/>
          <a:ext cx="5743664" cy="267935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图表 8">
            <a:extLst>
              <a:ext uri="{FF2B5EF4-FFF2-40B4-BE49-F238E27FC236}">
                <a16:creationId xmlns:a16="http://schemas.microsoft.com/office/drawing/2014/main" id="{00000000-0008-0000-0900-000002000000}"/>
              </a:ext>
            </a:extLst>
          </p:cNvPr>
          <p:cNvGraphicFramePr>
            <a:graphicFrameLocks/>
          </p:cNvGraphicFramePr>
          <p:nvPr>
            <p:extLst>
              <p:ext uri="{D42A27DB-BD31-4B8C-83A1-F6EECF244321}">
                <p14:modId xmlns:p14="http://schemas.microsoft.com/office/powerpoint/2010/main" val="3295720312"/>
              </p:ext>
            </p:extLst>
          </p:nvPr>
        </p:nvGraphicFramePr>
        <p:xfrm>
          <a:off x="5981878" y="3572033"/>
          <a:ext cx="5648236" cy="27302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图表 3">
            <a:extLst>
              <a:ext uri="{FF2B5EF4-FFF2-40B4-BE49-F238E27FC236}">
                <a16:creationId xmlns:a16="http://schemas.microsoft.com/office/drawing/2014/main" id="{00000000-0008-0000-0900-000003000000}"/>
              </a:ext>
            </a:extLst>
          </p:cNvPr>
          <p:cNvGraphicFramePr>
            <a:graphicFrameLocks/>
          </p:cNvGraphicFramePr>
          <p:nvPr>
            <p:extLst>
              <p:ext uri="{D42A27DB-BD31-4B8C-83A1-F6EECF244321}">
                <p14:modId xmlns:p14="http://schemas.microsoft.com/office/powerpoint/2010/main" val="797513957"/>
              </p:ext>
            </p:extLst>
          </p:nvPr>
        </p:nvGraphicFramePr>
        <p:xfrm>
          <a:off x="5934164" y="911335"/>
          <a:ext cx="5648237" cy="266069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 name="图表 5">
            <a:extLst>
              <a:ext uri="{FF2B5EF4-FFF2-40B4-BE49-F238E27FC236}">
                <a16:creationId xmlns:a16="http://schemas.microsoft.com/office/drawing/2014/main" id="{00000000-0008-0000-0900-000005000000}"/>
              </a:ext>
            </a:extLst>
          </p:cNvPr>
          <p:cNvGraphicFramePr>
            <a:graphicFrameLocks/>
          </p:cNvGraphicFramePr>
          <p:nvPr>
            <p:extLst>
              <p:ext uri="{D42A27DB-BD31-4B8C-83A1-F6EECF244321}">
                <p14:modId xmlns:p14="http://schemas.microsoft.com/office/powerpoint/2010/main" val="3138510267"/>
              </p:ext>
            </p:extLst>
          </p:nvPr>
        </p:nvGraphicFramePr>
        <p:xfrm>
          <a:off x="145915" y="929536"/>
          <a:ext cx="5788250" cy="272279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891336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36E5F21-105C-4F17-86AA-F392234ADF6D}"/>
              </a:ext>
            </a:extLst>
          </p:cNvPr>
          <p:cNvSpPr>
            <a:spLocks noGrp="1"/>
          </p:cNvSpPr>
          <p:nvPr>
            <p:ph type="title"/>
          </p:nvPr>
        </p:nvSpPr>
        <p:spPr/>
        <p:txBody>
          <a:bodyPr/>
          <a:lstStyle/>
          <a:p>
            <a:r>
              <a:rPr lang="zh-CN" altLang="en-US" dirty="0">
                <a:latin typeface="+mn-lt"/>
                <a:ea typeface="+mn-ea"/>
                <a:cs typeface="+mn-ea"/>
                <a:sym typeface="+mn-lt"/>
              </a:rPr>
              <a:t>本周主力合约月间差小幅扩大</a:t>
            </a:r>
          </a:p>
        </p:txBody>
      </p:sp>
      <p:sp>
        <p:nvSpPr>
          <p:cNvPr id="3" name="灯片编号占位符 2">
            <a:extLst>
              <a:ext uri="{FF2B5EF4-FFF2-40B4-BE49-F238E27FC236}">
                <a16:creationId xmlns:a16="http://schemas.microsoft.com/office/drawing/2014/main" id="{7EAF402A-AFEC-42D1-BFE8-808CDE4D7BBC}"/>
              </a:ext>
            </a:extLst>
          </p:cNvPr>
          <p:cNvSpPr>
            <a:spLocks noGrp="1"/>
          </p:cNvSpPr>
          <p:nvPr>
            <p:ph type="sldNum" sz="quarter" idx="11"/>
          </p:nvPr>
        </p:nvSpPr>
        <p:spPr/>
        <p:txBody>
          <a:bodyPr/>
          <a:lstStyle/>
          <a:p>
            <a:pPr>
              <a:defRPr/>
            </a:pPr>
            <a:fld id="{8E2C30CB-4307-4BB9-B24E-988C520472CC}" type="slidenum">
              <a:rPr lang="zh-CN" altLang="en-US" smtClean="0">
                <a:latin typeface="+mn-lt"/>
                <a:ea typeface="+mn-ea"/>
                <a:cs typeface="+mn-ea"/>
                <a:sym typeface="+mn-lt"/>
              </a:rPr>
              <a:pPr>
                <a:defRPr/>
              </a:pPr>
              <a:t>8</a:t>
            </a:fld>
            <a:endParaRPr lang="zh-CN" altLang="en-US">
              <a:latin typeface="+mn-lt"/>
              <a:ea typeface="+mn-ea"/>
              <a:cs typeface="+mn-ea"/>
              <a:sym typeface="+mn-lt"/>
            </a:endParaRPr>
          </a:p>
        </p:txBody>
      </p:sp>
      <p:sp>
        <p:nvSpPr>
          <p:cNvPr id="16" name="文本框 14">
            <a:extLst>
              <a:ext uri="{FF2B5EF4-FFF2-40B4-BE49-F238E27FC236}">
                <a16:creationId xmlns:a16="http://schemas.microsoft.com/office/drawing/2014/main" id="{DAE51B2C-ADC5-25C5-88D7-F7267A92B332}"/>
              </a:ext>
            </a:extLst>
          </p:cNvPr>
          <p:cNvSpPr txBox="1">
            <a:spLocks noChangeArrowheads="1"/>
          </p:cNvSpPr>
          <p:nvPr/>
        </p:nvSpPr>
        <p:spPr bwMode="auto">
          <a:xfrm>
            <a:off x="224620" y="1042695"/>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7" name="文本框 14">
            <a:extLst>
              <a:ext uri="{FF2B5EF4-FFF2-40B4-BE49-F238E27FC236}">
                <a16:creationId xmlns:a16="http://schemas.microsoft.com/office/drawing/2014/main" id="{20725533-2BE8-50DC-31A3-DF05514FA2B7}"/>
              </a:ext>
            </a:extLst>
          </p:cNvPr>
          <p:cNvSpPr txBox="1">
            <a:spLocks noChangeArrowheads="1"/>
          </p:cNvSpPr>
          <p:nvPr/>
        </p:nvSpPr>
        <p:spPr bwMode="auto">
          <a:xfrm>
            <a:off x="5971730" y="1049518"/>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8" name="文本框 14">
            <a:extLst>
              <a:ext uri="{FF2B5EF4-FFF2-40B4-BE49-F238E27FC236}">
                <a16:creationId xmlns:a16="http://schemas.microsoft.com/office/drawing/2014/main" id="{2AFD11CE-BFF0-5A9A-8AF5-2460DCC64C8F}"/>
              </a:ext>
            </a:extLst>
          </p:cNvPr>
          <p:cNvSpPr txBox="1">
            <a:spLocks noChangeArrowheads="1"/>
          </p:cNvSpPr>
          <p:nvPr/>
        </p:nvSpPr>
        <p:spPr bwMode="auto">
          <a:xfrm>
            <a:off x="5971730" y="3644543"/>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19" name="文本框 14">
            <a:extLst>
              <a:ext uri="{FF2B5EF4-FFF2-40B4-BE49-F238E27FC236}">
                <a16:creationId xmlns:a16="http://schemas.microsoft.com/office/drawing/2014/main" id="{E894B276-AF8F-3BCB-70E1-60D927EE22F8}"/>
              </a:ext>
            </a:extLst>
          </p:cNvPr>
          <p:cNvSpPr txBox="1">
            <a:spLocks noChangeArrowheads="1"/>
          </p:cNvSpPr>
          <p:nvPr/>
        </p:nvSpPr>
        <p:spPr bwMode="auto">
          <a:xfrm>
            <a:off x="228066" y="3651814"/>
            <a:ext cx="19659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r>
              <a:rPr lang="zh-CN" altLang="en-US" sz="1000" dirty="0">
                <a:latin typeface="+mn-lt"/>
                <a:ea typeface="+mn-ea"/>
                <a:cs typeface="+mn-ea"/>
                <a:sym typeface="+mn-lt"/>
              </a:rPr>
              <a:t>单位：元</a:t>
            </a:r>
            <a:r>
              <a:rPr lang="en-US" altLang="zh-CN" sz="1000" dirty="0">
                <a:latin typeface="+mn-lt"/>
                <a:ea typeface="+mn-ea"/>
                <a:cs typeface="+mn-ea"/>
                <a:sym typeface="+mn-lt"/>
              </a:rPr>
              <a:t>/</a:t>
            </a:r>
            <a:r>
              <a:rPr lang="zh-CN" altLang="en-US" sz="1000" dirty="0">
                <a:latin typeface="+mn-lt"/>
                <a:ea typeface="+mn-ea"/>
                <a:cs typeface="+mn-ea"/>
                <a:sym typeface="+mn-lt"/>
              </a:rPr>
              <a:t>吨</a:t>
            </a:r>
          </a:p>
        </p:txBody>
      </p:sp>
      <p:sp>
        <p:nvSpPr>
          <p:cNvPr id="4" name="灯片编号占位符 2">
            <a:extLst>
              <a:ext uri="{FF2B5EF4-FFF2-40B4-BE49-F238E27FC236}">
                <a16:creationId xmlns:a16="http://schemas.microsoft.com/office/drawing/2014/main" id="{F20ED52D-0A22-E7A9-303C-E329FDBBB484}"/>
              </a:ext>
            </a:extLst>
          </p:cNvPr>
          <p:cNvSpPr txBox="1">
            <a:spLocks noChangeArrowheads="1"/>
          </p:cNvSpPr>
          <p:nvPr/>
        </p:nvSpPr>
        <p:spPr bwMode="auto">
          <a:xfrm>
            <a:off x="190500" y="6369050"/>
            <a:ext cx="3967614"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Tx/>
              <a:buNone/>
            </a:pPr>
            <a:r>
              <a:rPr lang="zh-CN" altLang="en-US" sz="1200" dirty="0">
                <a:solidFill>
                  <a:srgbClr val="898989"/>
                </a:solidFill>
                <a:latin typeface="+mn-lt"/>
                <a:ea typeface="+mn-ea"/>
                <a:cs typeface="+mn-ea"/>
                <a:sym typeface="+mn-lt"/>
              </a:rPr>
              <a:t>资料来源：同花顺，</a:t>
            </a:r>
            <a:r>
              <a:rPr lang="en-US" altLang="zh-CN" sz="1200" dirty="0">
                <a:solidFill>
                  <a:srgbClr val="898989"/>
                </a:solidFill>
                <a:latin typeface="+mn-lt"/>
                <a:ea typeface="+mn-ea"/>
                <a:cs typeface="+mn-ea"/>
                <a:sym typeface="+mn-lt"/>
              </a:rPr>
              <a:t>Mysteel</a:t>
            </a:r>
            <a:r>
              <a:rPr lang="zh-CN" altLang="en-US" sz="1200" dirty="0">
                <a:solidFill>
                  <a:srgbClr val="898989"/>
                </a:solidFill>
                <a:latin typeface="+mn-lt"/>
                <a:ea typeface="+mn-ea"/>
                <a:cs typeface="+mn-ea"/>
                <a:sym typeface="+mn-lt"/>
              </a:rPr>
              <a:t>，百川盈孚，新湖研究所</a:t>
            </a:r>
          </a:p>
        </p:txBody>
      </p:sp>
      <p:graphicFrame>
        <p:nvGraphicFramePr>
          <p:cNvPr id="8" name="图表 7">
            <a:extLst>
              <a:ext uri="{FF2B5EF4-FFF2-40B4-BE49-F238E27FC236}">
                <a16:creationId xmlns:a16="http://schemas.microsoft.com/office/drawing/2014/main" id="{2F2891F7-4F6B-F32E-3A59-228034C026BD}"/>
              </a:ext>
            </a:extLst>
          </p:cNvPr>
          <p:cNvGraphicFramePr>
            <a:graphicFrameLocks/>
          </p:cNvGraphicFramePr>
          <p:nvPr>
            <p:extLst>
              <p:ext uri="{D42A27DB-BD31-4B8C-83A1-F6EECF244321}">
                <p14:modId xmlns:p14="http://schemas.microsoft.com/office/powerpoint/2010/main" val="572180556"/>
              </p:ext>
            </p:extLst>
          </p:nvPr>
        </p:nvGraphicFramePr>
        <p:xfrm>
          <a:off x="224620" y="3522532"/>
          <a:ext cx="5480145" cy="274183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图表 10">
            <a:extLst>
              <a:ext uri="{FF2B5EF4-FFF2-40B4-BE49-F238E27FC236}">
                <a16:creationId xmlns:a16="http://schemas.microsoft.com/office/drawing/2014/main" id="{756349A7-EBF8-3176-F318-C2608199C2E6}"/>
              </a:ext>
            </a:extLst>
          </p:cNvPr>
          <p:cNvGraphicFramePr>
            <a:graphicFrameLocks/>
          </p:cNvGraphicFramePr>
          <p:nvPr>
            <p:extLst>
              <p:ext uri="{D42A27DB-BD31-4B8C-83A1-F6EECF244321}">
                <p14:modId xmlns:p14="http://schemas.microsoft.com/office/powerpoint/2010/main" val="1342964701"/>
              </p:ext>
            </p:extLst>
          </p:nvPr>
        </p:nvGraphicFramePr>
        <p:xfrm>
          <a:off x="6033568" y="3519809"/>
          <a:ext cx="5677786" cy="274456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图表 6">
            <a:extLst>
              <a:ext uri="{FF2B5EF4-FFF2-40B4-BE49-F238E27FC236}">
                <a16:creationId xmlns:a16="http://schemas.microsoft.com/office/drawing/2014/main" id="{00000000-0008-0000-0800-000004000000}"/>
              </a:ext>
            </a:extLst>
          </p:cNvPr>
          <p:cNvGraphicFramePr>
            <a:graphicFrameLocks/>
          </p:cNvGraphicFramePr>
          <p:nvPr>
            <p:extLst>
              <p:ext uri="{D42A27DB-BD31-4B8C-83A1-F6EECF244321}">
                <p14:modId xmlns:p14="http://schemas.microsoft.com/office/powerpoint/2010/main" val="2822025995"/>
              </p:ext>
            </p:extLst>
          </p:nvPr>
        </p:nvGraphicFramePr>
        <p:xfrm>
          <a:off x="232511" y="914064"/>
          <a:ext cx="5472253" cy="274592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图表 8">
            <a:extLst>
              <a:ext uri="{FF2B5EF4-FFF2-40B4-BE49-F238E27FC236}">
                <a16:creationId xmlns:a16="http://schemas.microsoft.com/office/drawing/2014/main" id="{99FE0F18-E6E9-6FD1-A1B5-D0954C373CAD}"/>
              </a:ext>
            </a:extLst>
          </p:cNvPr>
          <p:cNvGraphicFramePr>
            <a:graphicFrameLocks/>
          </p:cNvGraphicFramePr>
          <p:nvPr>
            <p:extLst>
              <p:ext uri="{D42A27DB-BD31-4B8C-83A1-F6EECF244321}">
                <p14:modId xmlns:p14="http://schemas.microsoft.com/office/powerpoint/2010/main" val="2812976359"/>
              </p:ext>
            </p:extLst>
          </p:nvPr>
        </p:nvGraphicFramePr>
        <p:xfrm>
          <a:off x="5971730" y="914582"/>
          <a:ext cx="5677786" cy="27432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117265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图片 1">
            <a:extLst>
              <a:ext uri="{FF2B5EF4-FFF2-40B4-BE49-F238E27FC236}">
                <a16:creationId xmlns:a16="http://schemas.microsoft.com/office/drawing/2014/main" id="{ED4BC1EB-63AF-4906-9A5F-B5B6FD8AC0F9}"/>
              </a:ext>
            </a:extLst>
          </p:cNvPr>
          <p:cNvPicPr>
            <a:picLocks noChangeAspect="1"/>
          </p:cNvPicPr>
          <p:nvPr/>
        </p:nvPicPr>
        <p:blipFill>
          <a:blip r:embed="rId11">
            <a:extLst>
              <a:ext uri="{28A0092B-C50C-407E-A947-70E740481C1C}">
                <a14:useLocalDpi xmlns:a14="http://schemas.microsoft.com/office/drawing/2010/main" val="0"/>
              </a:ext>
            </a:extLst>
          </a:blip>
          <a:srcRect l="35039"/>
          <a:stretch>
            <a:fillRect/>
          </a:stretch>
        </p:blipFill>
        <p:spPr bwMode="auto">
          <a:xfrm>
            <a:off x="0" y="1211263"/>
            <a:ext cx="3790950" cy="473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Text Placeholder 2">
            <a:extLst>
              <a:ext uri="{FF2B5EF4-FFF2-40B4-BE49-F238E27FC236}">
                <a16:creationId xmlns:a16="http://schemas.microsoft.com/office/drawing/2014/main" id="{79749A57-C681-44A6-A162-5737EF4EC6C8}"/>
              </a:ext>
            </a:extLst>
          </p:cNvPr>
          <p:cNvSpPr>
            <a:spLocks noGrp="1"/>
          </p:cNvSpPr>
          <p:nvPr>
            <p:custDataLst>
              <p:tags r:id="rId3"/>
            </p:custDataLst>
          </p:nvPr>
        </p:nvSpPr>
        <p:spPr bwMode="gray">
          <a:xfrm>
            <a:off x="4457700" y="2517664"/>
            <a:ext cx="5967412" cy="719138"/>
          </a:xfrm>
          <a:prstGeom prst="rect">
            <a:avLst/>
          </a:prstGeom>
          <a:no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现货与期货价格</a:t>
            </a:r>
            <a:endParaRPr lang="en-US" altLang="zh-CN" sz="2000" b="1" dirty="0">
              <a:solidFill>
                <a:srgbClr val="007680"/>
              </a:solidFill>
              <a:latin typeface="+mn-lt"/>
              <a:ea typeface="+mn-ea"/>
              <a:cs typeface="+mn-ea"/>
              <a:sym typeface="+mn-lt"/>
            </a:endParaRPr>
          </a:p>
        </p:txBody>
      </p:sp>
      <p:sp>
        <p:nvSpPr>
          <p:cNvPr id="6148" name="标题 1">
            <a:extLst>
              <a:ext uri="{FF2B5EF4-FFF2-40B4-BE49-F238E27FC236}">
                <a16:creationId xmlns:a16="http://schemas.microsoft.com/office/drawing/2014/main" id="{08C718D0-164A-401F-831C-2638993756F3}"/>
              </a:ext>
            </a:extLst>
          </p:cNvPr>
          <p:cNvSpPr txBox="1">
            <a:spLocks noChangeArrowheads="1"/>
          </p:cNvSpPr>
          <p:nvPr/>
        </p:nvSpPr>
        <p:spPr bwMode="auto">
          <a:xfrm>
            <a:off x="4457700" y="404813"/>
            <a:ext cx="7886700" cy="132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lnSpc>
                <a:spcPct val="90000"/>
              </a:lnSpc>
              <a:spcBef>
                <a:spcPct val="0"/>
              </a:spcBef>
              <a:buFontTx/>
              <a:buNone/>
            </a:pPr>
            <a:r>
              <a:rPr lang="zh-CN" altLang="en-US" sz="2800" b="1">
                <a:solidFill>
                  <a:srgbClr val="007680"/>
                </a:solidFill>
                <a:latin typeface="+mn-lt"/>
                <a:ea typeface="+mn-ea"/>
                <a:cs typeface="+mn-ea"/>
                <a:sym typeface="+mn-lt"/>
              </a:rPr>
              <a:t>目录</a:t>
            </a:r>
            <a:endParaRPr lang="en-US" altLang="zh-CN" sz="2800" b="1">
              <a:solidFill>
                <a:srgbClr val="007680"/>
              </a:solidFill>
              <a:latin typeface="+mn-lt"/>
              <a:ea typeface="+mn-ea"/>
              <a:cs typeface="+mn-ea"/>
              <a:sym typeface="+mn-lt"/>
            </a:endParaRPr>
          </a:p>
        </p:txBody>
      </p:sp>
      <p:sp>
        <p:nvSpPr>
          <p:cNvPr id="6149" name="Text Placeholder 2">
            <a:extLst>
              <a:ext uri="{FF2B5EF4-FFF2-40B4-BE49-F238E27FC236}">
                <a16:creationId xmlns:a16="http://schemas.microsoft.com/office/drawing/2014/main" id="{6645C107-EAB8-4096-A57C-AA15FA7E38FB}"/>
              </a:ext>
            </a:extLst>
          </p:cNvPr>
          <p:cNvSpPr>
            <a:spLocks noGrp="1" noChangeArrowheads="1"/>
          </p:cNvSpPr>
          <p:nvPr>
            <p:custDataLst>
              <p:tags r:id="rId4"/>
            </p:custDataLst>
          </p:nvPr>
        </p:nvSpPr>
        <p:spPr bwMode="gray">
          <a:xfrm>
            <a:off x="4457700" y="3235629"/>
            <a:ext cx="5967412" cy="720725"/>
          </a:xfrm>
          <a:prstGeom prst="rect">
            <a:avLst/>
          </a:prstGeom>
          <a:solidFill>
            <a:srgbClr val="007680"/>
          </a:solidFill>
          <a:ln>
            <a:noFill/>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chemeClr val="bg1"/>
                </a:solidFill>
                <a:latin typeface="+mn-lt"/>
                <a:ea typeface="+mn-ea"/>
                <a:cs typeface="+mn-ea"/>
                <a:sym typeface="+mn-lt"/>
              </a:rPr>
              <a:t>供应情况</a:t>
            </a:r>
            <a:endParaRPr lang="en-US" altLang="zh-CN" sz="2000" b="1" dirty="0">
              <a:solidFill>
                <a:schemeClr val="bg1"/>
              </a:solidFill>
              <a:latin typeface="+mn-lt"/>
              <a:ea typeface="+mn-ea"/>
              <a:cs typeface="+mn-ea"/>
              <a:sym typeface="+mn-lt"/>
            </a:endParaRPr>
          </a:p>
        </p:txBody>
      </p:sp>
      <p:sp>
        <p:nvSpPr>
          <p:cNvPr id="6150" name="Text Placeholder 2">
            <a:extLst>
              <a:ext uri="{FF2B5EF4-FFF2-40B4-BE49-F238E27FC236}">
                <a16:creationId xmlns:a16="http://schemas.microsoft.com/office/drawing/2014/main" id="{753CE32B-266E-44D7-B284-27428EF974FE}"/>
              </a:ext>
            </a:extLst>
          </p:cNvPr>
          <p:cNvSpPr>
            <a:spLocks noGrp="1" noChangeArrowheads="1"/>
          </p:cNvSpPr>
          <p:nvPr>
            <p:custDataLst>
              <p:tags r:id="rId5"/>
            </p:custDataLst>
          </p:nvPr>
        </p:nvSpPr>
        <p:spPr bwMode="gray">
          <a:xfrm>
            <a:off x="4457700" y="3955181"/>
            <a:ext cx="5967412"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需求情况</a:t>
            </a:r>
            <a:endParaRPr lang="en-US" altLang="zh-CN" sz="2000" b="1" dirty="0">
              <a:solidFill>
                <a:srgbClr val="007680"/>
              </a:solidFill>
              <a:latin typeface="+mn-lt"/>
              <a:ea typeface="+mn-ea"/>
              <a:cs typeface="+mn-ea"/>
              <a:sym typeface="+mn-lt"/>
            </a:endParaRPr>
          </a:p>
        </p:txBody>
      </p:sp>
      <p:sp>
        <p:nvSpPr>
          <p:cNvPr id="6151" name="Text Placeholder 2">
            <a:extLst>
              <a:ext uri="{FF2B5EF4-FFF2-40B4-BE49-F238E27FC236}">
                <a16:creationId xmlns:a16="http://schemas.microsoft.com/office/drawing/2014/main" id="{2BAC68A4-92B8-4CEA-BE34-8D5038007401}"/>
              </a:ext>
            </a:extLst>
          </p:cNvPr>
          <p:cNvSpPr>
            <a:spLocks noGrp="1" noChangeArrowheads="1"/>
          </p:cNvSpPr>
          <p:nvPr>
            <p:custDataLst>
              <p:tags r:id="rId6"/>
            </p:custDataLst>
          </p:nvPr>
        </p:nvSpPr>
        <p:spPr bwMode="gray">
          <a:xfrm>
            <a:off x="4457700" y="4673146"/>
            <a:ext cx="5967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库存情况</a:t>
            </a:r>
            <a:endParaRPr lang="en-US" altLang="zh-CN" sz="2000" b="1" dirty="0">
              <a:solidFill>
                <a:srgbClr val="007680"/>
              </a:solidFill>
              <a:latin typeface="+mn-lt"/>
              <a:ea typeface="+mn-ea"/>
              <a:cs typeface="+mn-ea"/>
              <a:sym typeface="+mn-lt"/>
            </a:endParaRPr>
          </a:p>
        </p:txBody>
      </p:sp>
      <p:sp>
        <p:nvSpPr>
          <p:cNvPr id="6153" name="灯片编号占位符 1">
            <a:extLst>
              <a:ext uri="{FF2B5EF4-FFF2-40B4-BE49-F238E27FC236}">
                <a16:creationId xmlns:a16="http://schemas.microsoft.com/office/drawing/2014/main" id="{FB454E3B-C50C-4196-9B11-779975A80A2A}"/>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a:spcBef>
                <a:spcPct val="0"/>
              </a:spcBef>
              <a:buFontTx/>
              <a:buNone/>
            </a:pPr>
            <a:fld id="{C6595CE2-4FFC-466C-9857-5B197AF4AF3E}" type="slidenum">
              <a:rPr lang="zh-CN" altLang="en-US" sz="1200" smtClean="0">
                <a:solidFill>
                  <a:srgbClr val="898989"/>
                </a:solidFill>
                <a:latin typeface="+mn-lt"/>
                <a:ea typeface="+mn-ea"/>
                <a:cs typeface="+mn-ea"/>
                <a:sym typeface="+mn-lt"/>
              </a:rPr>
              <a:pPr>
                <a:spcBef>
                  <a:spcPct val="0"/>
                </a:spcBef>
                <a:buFontTx/>
                <a:buNone/>
              </a:pPr>
              <a:t>9</a:t>
            </a:fld>
            <a:endParaRPr lang="zh-CN" altLang="en-US" sz="1200">
              <a:solidFill>
                <a:srgbClr val="898989"/>
              </a:solidFill>
              <a:latin typeface="+mn-lt"/>
              <a:ea typeface="+mn-ea"/>
              <a:cs typeface="+mn-ea"/>
              <a:sym typeface="+mn-lt"/>
            </a:endParaRPr>
          </a:p>
        </p:txBody>
      </p:sp>
      <p:sp>
        <p:nvSpPr>
          <p:cNvPr id="9" name="Text Placeholder 2">
            <a:extLst>
              <a:ext uri="{FF2B5EF4-FFF2-40B4-BE49-F238E27FC236}">
                <a16:creationId xmlns:a16="http://schemas.microsoft.com/office/drawing/2014/main" id="{A10AECED-F4FD-46F5-B9F3-AB5F5DD25C1F}"/>
              </a:ext>
            </a:extLst>
          </p:cNvPr>
          <p:cNvSpPr>
            <a:spLocks noGrp="1"/>
          </p:cNvSpPr>
          <p:nvPr>
            <p:custDataLst>
              <p:tags r:id="rId7"/>
            </p:custDataLst>
          </p:nvPr>
        </p:nvSpPr>
        <p:spPr bwMode="gray">
          <a:xfrm>
            <a:off x="4457700" y="1799699"/>
            <a:ext cx="5967412" cy="719138"/>
          </a:xfrm>
          <a:prstGeom prst="rect">
            <a:avLst/>
          </a:prstGeom>
          <a:noFill/>
          <a:ln w="25400">
            <a:noFill/>
            <a:miter lim="800000"/>
            <a:headEnd/>
            <a:tailEnd/>
          </a:ln>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Font typeface="Arial" panose="020B0604020202020204" pitchFamily="34" charset="0"/>
              <a:buNone/>
            </a:pPr>
            <a:r>
              <a:rPr lang="zh-CN" altLang="en-US" sz="2000" b="1" dirty="0">
                <a:solidFill>
                  <a:srgbClr val="007680"/>
                </a:solidFill>
                <a:latin typeface="+mn-lt"/>
                <a:ea typeface="+mn-ea"/>
                <a:cs typeface="+mn-ea"/>
                <a:sym typeface="+mn-lt"/>
              </a:rPr>
              <a:t>政策与要闻</a:t>
            </a:r>
            <a:endParaRPr lang="en-US" altLang="zh-CN" sz="2000" b="1" dirty="0">
              <a:solidFill>
                <a:srgbClr val="007680"/>
              </a:solidFill>
              <a:latin typeface="+mn-lt"/>
              <a:ea typeface="+mn-ea"/>
              <a:cs typeface="+mn-ea"/>
              <a:sym typeface="+mn-lt"/>
            </a:endParaRPr>
          </a:p>
        </p:txBody>
      </p:sp>
      <p:sp>
        <p:nvSpPr>
          <p:cNvPr id="10" name="Text Placeholder 2">
            <a:extLst>
              <a:ext uri="{FF2B5EF4-FFF2-40B4-BE49-F238E27FC236}">
                <a16:creationId xmlns:a16="http://schemas.microsoft.com/office/drawing/2014/main" id="{5714088C-A6AC-4E2D-B15B-811C8B522B67}"/>
              </a:ext>
            </a:extLst>
          </p:cNvPr>
          <p:cNvSpPr>
            <a:spLocks noGrp="1" noChangeArrowheads="1"/>
          </p:cNvSpPr>
          <p:nvPr>
            <p:custDataLst>
              <p:tags r:id="rId8"/>
            </p:custDataLst>
          </p:nvPr>
        </p:nvSpPr>
        <p:spPr bwMode="gray">
          <a:xfrm>
            <a:off x="4457700" y="5396966"/>
            <a:ext cx="5967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lIns="142875" tIns="142875" rIns="0" bIns="141288"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defRPr>
            </a:lvl1pPr>
            <a:lvl2pPr marL="685800" indent="-228600">
              <a:spcBef>
                <a:spcPct val="20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9pPr>
          </a:lstStyle>
          <a:p>
            <a:pPr eaLnBrk="1" hangingPunct="1">
              <a:spcBef>
                <a:spcPct val="0"/>
              </a:spcBef>
              <a:buNone/>
            </a:pPr>
            <a:r>
              <a:rPr lang="zh-CN" altLang="en-US" sz="2000" b="1" dirty="0">
                <a:solidFill>
                  <a:srgbClr val="007680"/>
                </a:solidFill>
                <a:latin typeface="+mn-lt"/>
                <a:ea typeface="+mn-ea"/>
                <a:cs typeface="+mn-ea"/>
                <a:sym typeface="+mn-lt"/>
              </a:rPr>
              <a:t>结论</a:t>
            </a:r>
            <a:endParaRPr lang="en-US" altLang="zh-CN" sz="2000" b="1" dirty="0">
              <a:solidFill>
                <a:srgbClr val="007680"/>
              </a:solidFill>
              <a:latin typeface="+mn-lt"/>
              <a:ea typeface="+mn-ea"/>
              <a:cs typeface="+mn-ea"/>
              <a:sym typeface="+mn-lt"/>
            </a:endParaRPr>
          </a:p>
        </p:txBody>
      </p:sp>
    </p:spTree>
    <p:custDataLst>
      <p:tags r:id="rId2"/>
    </p:custDataLst>
    <p:extLst>
      <p:ext uri="{BB962C8B-B14F-4D97-AF65-F5344CB8AC3E}">
        <p14:creationId xmlns:p14="http://schemas.microsoft.com/office/powerpoint/2010/main" val="89142528"/>
      </p:ext>
    </p:extLst>
  </p:cSld>
  <p:clrMapOvr>
    <a:masterClrMapping/>
  </p:clrMapOvr>
  <p:transition advTm="10000"/>
</p:sld>
</file>

<file path=ppt/tags/tag1.xml><?xml version="1.0" encoding="utf-8"?>
<p:tagLst xmlns:a="http://schemas.openxmlformats.org/drawingml/2006/main" xmlns:r="http://schemas.openxmlformats.org/officeDocument/2006/relationships" xmlns:p="http://schemas.openxmlformats.org/presentationml/2006/main">
  <p:tag name="ISLIDE.PICTURE" val="#792639;#792609;"/>
</p:tagLst>
</file>

<file path=ppt/tags/tag10.xml><?xml version="1.0" encoding="utf-8"?>
<p:tagLst xmlns:a="http://schemas.openxmlformats.org/drawingml/2006/main" xmlns:r="http://schemas.openxmlformats.org/officeDocument/2006/relationships" xmlns:p="http://schemas.openxmlformats.org/presentationml/2006/main">
  <p:tag name="ISLIDE.PICTURE" val="#58758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17.xml><?xml version="1.0" encoding="utf-8"?>
<p:tagLst xmlns:a="http://schemas.openxmlformats.org/drawingml/2006/main" xmlns:r="http://schemas.openxmlformats.org/officeDocument/2006/relationships" xmlns:p="http://schemas.openxmlformats.org/presentationml/2006/main">
  <p:tag name="ISLIDE.PICTURE" val="#587616;"/>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2.xml><?xml version="1.0" encoding="utf-8"?>
<p:tagLst xmlns:a="http://schemas.openxmlformats.org/drawingml/2006/main" xmlns:r="http://schemas.openxmlformats.org/officeDocument/2006/relationships" xmlns:p="http://schemas.openxmlformats.org/presentationml/2006/main">
  <p:tag name="ISLIDE.PICTURE" val="#227515;#587616;"/>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30.xml><?xml version="1.0" encoding="utf-8"?>
<p:tagLst xmlns:a="http://schemas.openxmlformats.org/drawingml/2006/main" xmlns:r="http://schemas.openxmlformats.org/officeDocument/2006/relationships" xmlns:p="http://schemas.openxmlformats.org/presentationml/2006/main">
  <p:tag name="ISLIDE.PICTURE" val="#792631;#792624;"/>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37.xml><?xml version="1.0" encoding="utf-8"?>
<p:tagLst xmlns:a="http://schemas.openxmlformats.org/drawingml/2006/main" xmlns:r="http://schemas.openxmlformats.org/officeDocument/2006/relationships" xmlns:p="http://schemas.openxmlformats.org/presentationml/2006/main">
  <p:tag name="ISLIDE.PICTURE" val="#792632;"/>
  <p:tag name="ISLIDE.VECTOR" val="#792195;"/>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44.xml><?xml version="1.0" encoding="utf-8"?>
<p:tagLst xmlns:a="http://schemas.openxmlformats.org/drawingml/2006/main" xmlns:r="http://schemas.openxmlformats.org/officeDocument/2006/relationships" xmlns:p="http://schemas.openxmlformats.org/presentationml/2006/main">
  <p:tag name="ISLIDE.DIAGRAM" val="#648554;"/>
</p:tagLst>
</file>

<file path=ppt/tags/tag45.xml><?xml version="1.0" encoding="utf-8"?>
<p:tagLst xmlns:a="http://schemas.openxmlformats.org/drawingml/2006/main" xmlns:r="http://schemas.openxmlformats.org/officeDocument/2006/relationships" xmlns:p="http://schemas.openxmlformats.org/presentationml/2006/main">
  <p:tag name="ISLIDE.PICTURE" val="#19436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6Uck86IQS6zXjqAkq58Vg"/>
</p:tagLst>
</file>

<file path=ppt/tags/tag9.xml><?xml version="1.0" encoding="utf-8"?>
<p:tagLst xmlns:a="http://schemas.openxmlformats.org/drawingml/2006/main" xmlns:r="http://schemas.openxmlformats.org/officeDocument/2006/relationships" xmlns:p="http://schemas.openxmlformats.org/presentationml/2006/main">
  <p:tag name="ISLIDE.DIAGRAM" val="#473312;"/>
  <p:tag name="ISLIDE.PICTURE" val="#792619;"/>
  <p:tag name="ISLIDE.VECTOR" val="#797870;"/>
</p:tagLst>
</file>

<file path=ppt/theme/theme1.xml><?xml version="1.0" encoding="utf-8"?>
<a:theme xmlns:a="http://schemas.openxmlformats.org/drawingml/2006/main" name="新湖期货ppt-1014">
  <a:themeElements>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fontScheme name="wy2izzzb">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spcFirstLastPara="0" vert="horz" wrap="square" lIns="418288" tIns="746252" rIns="1821992" bIns="1697228" numCol="1" spcCol="1270" anchor="ctr" anchorCtr="0">
        <a:noAutofit/>
      </a:bodyPr>
      <a:lstStyle>
        <a:defPPr algn="ctr" defTabSz="800100">
          <a:lnSpc>
            <a:spcPct val="90000"/>
          </a:lnSpc>
          <a:spcBef>
            <a:spcPct val="0"/>
          </a:spcBef>
          <a:spcAft>
            <a:spcPct val="35000"/>
          </a:spcAft>
          <a:defRPr sz="1600" kern="1200" dirty="0" smtClean="0">
            <a:latin typeface="Microsoft YaHei" charset="-122"/>
            <a:ea typeface="Microsoft YaHei" charset="-122"/>
            <a:cs typeface="Microsoft YaHei" charset="-122"/>
          </a:defRPr>
        </a:defPPr>
      </a:lstStyle>
      <a: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a:style>
    </a:spDef>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10.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11.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12.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13.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14.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15.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16.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17.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18.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19.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2.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20.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21.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22.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3.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4.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5.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6.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7.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8.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ppt/theme/themeOverride9.xml><?xml version="1.0" encoding="utf-8"?>
<a:themeOverride xmlns:a="http://schemas.openxmlformats.org/drawingml/2006/main">
  <a:clrScheme name="Office">
    <a:dk1>
      <a:srgbClr val="000000"/>
    </a:dk1>
    <a:lt1>
      <a:srgbClr val="FFFFFF"/>
    </a:lt1>
    <a:dk2>
      <a:srgbClr val="778495"/>
    </a:dk2>
    <a:lt2>
      <a:srgbClr val="F0F0F0"/>
    </a:lt2>
    <a:accent1>
      <a:srgbClr val="00727D"/>
    </a:accent1>
    <a:accent2>
      <a:srgbClr val="277E85"/>
    </a:accent2>
    <a:accent3>
      <a:srgbClr val="308D94"/>
    </a:accent3>
    <a:accent4>
      <a:srgbClr val="55A5AB"/>
    </a:accent4>
    <a:accent5>
      <a:srgbClr val="DC9643"/>
    </a:accent5>
    <a:accent6>
      <a:srgbClr val="7F7F7F"/>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289982</TotalTime>
  <Words>2040</Words>
  <Application>Microsoft Office PowerPoint</Application>
  <PresentationFormat>宽屏</PresentationFormat>
  <Paragraphs>261</Paragraphs>
  <Slides>23</Slides>
  <Notes>18</Notes>
  <HiddenSlides>0</HiddenSlides>
  <MMClips>0</MMClips>
  <ScaleCrop>false</ScaleCrop>
  <HeadingPairs>
    <vt:vector size="6" baseType="variant">
      <vt:variant>
        <vt:lpstr>已用的字体</vt:lpstr>
      </vt:variant>
      <vt:variant>
        <vt:i4>6</vt:i4>
      </vt:variant>
      <vt:variant>
        <vt:lpstr>主题</vt:lpstr>
      </vt:variant>
      <vt:variant>
        <vt:i4>1</vt:i4>
      </vt:variant>
      <vt:variant>
        <vt:lpstr>幻灯片标题</vt:lpstr>
      </vt:variant>
      <vt:variant>
        <vt:i4>23</vt:i4>
      </vt:variant>
    </vt:vector>
  </HeadingPairs>
  <TitlesOfParts>
    <vt:vector size="30" baseType="lpstr">
      <vt:lpstr>Helvetica Neue</vt:lpstr>
      <vt:lpstr>等线</vt:lpstr>
      <vt:lpstr>黑体</vt:lpstr>
      <vt:lpstr>微软雅黑</vt:lpstr>
      <vt:lpstr>Arial</vt:lpstr>
      <vt:lpstr>Calibri</vt:lpstr>
      <vt:lpstr>新湖期货ppt-1014</vt:lpstr>
      <vt:lpstr>PowerPoint 演示文稿</vt:lpstr>
      <vt:lpstr>PowerPoint 演示文稿</vt:lpstr>
      <vt:lpstr>本周要闻回顾</vt:lpstr>
      <vt:lpstr>PowerPoint 演示文稿</vt:lpstr>
      <vt:lpstr>工业硅期货主力合约底部震荡；现货价格维持弱势</vt:lpstr>
      <vt:lpstr>高低品价差走阔；低品南北价差收窄，高品南北价差小幅收缩；通氧不通氧价差减小</vt:lpstr>
      <vt:lpstr>本周工业硅主力合约基差环比收缩</vt:lpstr>
      <vt:lpstr>本周主力合约月间差小幅扩大</vt:lpstr>
      <vt:lpstr>PowerPoint 演示文稿</vt:lpstr>
      <vt:lpstr>各原材料价格暂稳</vt:lpstr>
      <vt:lpstr>本周电价整体持稳</vt:lpstr>
      <vt:lpstr>工业硅成本弱稳，各主产地成本均有下移；行业利润小幅改善，处华北外各产地毛利均有改善</vt:lpstr>
      <vt:lpstr>云南开炉数继续走高，西南产量保持增长，工业供给攀升至新高</vt:lpstr>
      <vt:lpstr>PowerPoint 演示文稿</vt:lpstr>
      <vt:lpstr>多晶硅产量再度回落，行业利润持稳，成本保持小幅下移，价格趋稳</vt:lpstr>
      <vt:lpstr>有机硅开工回升，产量继续增长，行业亏损轻微增加，市场价格平稳运行</vt:lpstr>
      <vt:lpstr>下游淡季临近，铝合金价格回落</vt:lpstr>
      <vt:lpstr>PowerPoint 演示文稿</vt:lpstr>
      <vt:lpstr>工业硅行业库存高位累库，市场库存暂稳，工厂库存加速累增，交割库库存保持增长</vt:lpstr>
      <vt:lpstr>PowerPoint 演示文稿</vt:lpstr>
      <vt:lpstr>工业硅观点</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Jie Zhang</dc:creator>
  <cp:lastModifiedBy>Jie Zhang</cp:lastModifiedBy>
  <cp:revision>2270</cp:revision>
  <dcterms:created xsi:type="dcterms:W3CDTF">2021-07-20T03:03:55Z</dcterms:created>
  <dcterms:modified xsi:type="dcterms:W3CDTF">2024-07-05T08:58:28Z</dcterms:modified>
</cp:coreProperties>
</file>